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notesSlides/notesSlide10.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ppt/charts/chart3.xml" ContentType="application/vnd.openxmlformats-officedocument.drawingml.chart+xml"/>
  <Override PartName="/ppt/theme/themeOverride1.xml" ContentType="application/vnd.openxmlformats-officedocument.themeOverride+xml"/>
  <Override PartName="/ppt/charts/chart4.xml" ContentType="application/vnd.openxmlformats-officedocument.drawingml.chart+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Override PartName="/ppt/charts/colors3.xml" ContentType="application/vnd.ms-office.chartcolorstyle+xml"/>
  <Override PartName="/ppt/charts/style3.xml" ContentType="application/vnd.ms-office.chartstyle+xml"/>
  <Override PartName="/ppt/charts/colors4.xml" ContentType="application/vnd.ms-office.chartcolorstyle+xml"/>
  <Override PartName="/ppt/charts/style4.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5" r:id="rId2"/>
    <p:sldMasterId id="2147483685" r:id="rId3"/>
  </p:sldMasterIdLst>
  <p:notesMasterIdLst>
    <p:notesMasterId r:id="rId38"/>
  </p:notesMasterIdLst>
  <p:sldIdLst>
    <p:sldId id="521" r:id="rId4"/>
    <p:sldId id="523" r:id="rId5"/>
    <p:sldId id="544" r:id="rId6"/>
    <p:sldId id="536" r:id="rId7"/>
    <p:sldId id="549" r:id="rId8"/>
    <p:sldId id="548" r:id="rId9"/>
    <p:sldId id="550" r:id="rId10"/>
    <p:sldId id="541" r:id="rId11"/>
    <p:sldId id="540" r:id="rId12"/>
    <p:sldId id="539" r:id="rId13"/>
    <p:sldId id="537" r:id="rId14"/>
    <p:sldId id="555" r:id="rId15"/>
    <p:sldId id="553" r:id="rId16"/>
    <p:sldId id="556" r:id="rId17"/>
    <p:sldId id="565" r:id="rId18"/>
    <p:sldId id="558" r:id="rId19"/>
    <p:sldId id="531" r:id="rId20"/>
    <p:sldId id="559" r:id="rId21"/>
    <p:sldId id="560" r:id="rId22"/>
    <p:sldId id="571" r:id="rId23"/>
    <p:sldId id="575" r:id="rId24"/>
    <p:sldId id="572" r:id="rId25"/>
    <p:sldId id="573" r:id="rId26"/>
    <p:sldId id="574" r:id="rId27"/>
    <p:sldId id="576" r:id="rId28"/>
    <p:sldId id="577" r:id="rId29"/>
    <p:sldId id="578" r:id="rId30"/>
    <p:sldId id="579" r:id="rId31"/>
    <p:sldId id="543" r:id="rId32"/>
    <p:sldId id="580" r:id="rId33"/>
    <p:sldId id="581" r:id="rId34"/>
    <p:sldId id="582" r:id="rId35"/>
    <p:sldId id="278" r:id="rId36"/>
    <p:sldId id="263" r:id="rId37"/>
  </p:sldIdLst>
  <p:sldSz cx="100584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168">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798863" initials="a" lastIdx="4"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65" autoAdjust="0"/>
    <p:restoredTop sz="94679"/>
  </p:normalViewPr>
  <p:slideViewPr>
    <p:cSldViewPr snapToGrid="0" snapToObjects="1">
      <p:cViewPr>
        <p:scale>
          <a:sx n="80" d="100"/>
          <a:sy n="80" d="100"/>
        </p:scale>
        <p:origin x="53" y="917"/>
      </p:cViewPr>
      <p:guideLst>
        <p:guide orient="horz" pos="2160"/>
        <p:guide pos="3168"/>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_____Microsoft_Excel1.xlsx"/></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openxmlformats.org/officeDocument/2006/relationships/chartUserShapes" Target="../drawings/drawing1.xml"/><Relationship Id="rId1" Type="http://schemas.openxmlformats.org/officeDocument/2006/relationships/oleObject" Target="../embeddings/oleObject2.bin"/><Relationship Id="rId4" Type="http://schemas.microsoft.com/office/2011/relationships/chartStyle" Target="style2.xml"/></Relationships>
</file>

<file path=ppt/charts/_rels/chart3.xml.rels><?xml version="1.0" encoding="UTF-8" standalone="yes"?>
<Relationships xmlns="http://schemas.openxmlformats.org/package/2006/relationships"><Relationship Id="rId3" Type="http://schemas.microsoft.com/office/2011/relationships/chartColorStyle" Target="colors3.xml"/><Relationship Id="rId2" Type="http://schemas.openxmlformats.org/officeDocument/2006/relationships/package" Target="../embeddings/_____Microsoft_Excel2.xlsx"/><Relationship Id="rId1" Type="http://schemas.openxmlformats.org/officeDocument/2006/relationships/themeOverride" Target="../theme/themeOverride1.xml"/><Relationship Id="rId4" Type="http://schemas.microsoft.com/office/2011/relationships/chartStyle" Target="style3.xml"/></Relationships>
</file>

<file path=ppt/charts/_rels/chart4.xml.rels><?xml version="1.0" encoding="UTF-8" standalone="yes"?>
<Relationships xmlns="http://schemas.openxmlformats.org/package/2006/relationships"><Relationship Id="rId3" Type="http://schemas.microsoft.com/office/2011/relationships/chartColorStyle" Target="colors4.xml"/><Relationship Id="rId2" Type="http://schemas.openxmlformats.org/officeDocument/2006/relationships/package" Target="../embeddings/_____Microsoft_Excel3.xlsx"/><Relationship Id="rId1" Type="http://schemas.openxmlformats.org/officeDocument/2006/relationships/themeOverride" Target="../theme/themeOverride2.xml"/><Relationship Id="rId4"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483526067365193"/>
          <c:y val="0.12952686318020656"/>
          <c:w val="0.88230696525436048"/>
          <c:h val="0.83333294341004294"/>
        </c:manualLayout>
      </c:layout>
      <c:barChart>
        <c:barDir val="col"/>
        <c:grouping val="clustered"/>
        <c:varyColors val="0"/>
        <c:ser>
          <c:idx val="0"/>
          <c:order val="0"/>
          <c:tx>
            <c:v>Scale-Cyclic</c:v>
          </c:tx>
          <c:spPr>
            <a:solidFill>
              <a:schemeClr val="accent2">
                <a:lumMod val="20000"/>
                <a:lumOff val="80000"/>
              </a:schemeClr>
            </a:solidFill>
            <a:ln w="9525" cap="flat" cmpd="sng" algn="ctr">
              <a:solidFill>
                <a:schemeClr val="accent2">
                  <a:lumMod val="20000"/>
                  <a:lumOff val="80000"/>
                </a:schemeClr>
              </a:solidFill>
              <a:round/>
            </a:ln>
            <a:effectLst/>
            <a:scene3d>
              <a:camera prst="orthographicFront"/>
              <a:lightRig rig="threePt" dir="t"/>
            </a:scene3d>
            <a:sp3d>
              <a:bevelT w="139700" h="139700"/>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2">
                        <a:lumMod val="60000"/>
                        <a:lumOff val="40000"/>
                      </a:schemeClr>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C$27:$C$31</c:f>
              <c:strCache>
                <c:ptCount val="5"/>
                <c:pt idx="0">
                  <c:v>T6-Untreated</c:v>
                </c:pt>
                <c:pt idx="1">
                  <c:v>1x Wash18A </c:v>
                </c:pt>
                <c:pt idx="2">
                  <c:v>5x Wash18A =X</c:v>
                </c:pt>
                <c:pt idx="3">
                  <c:v>5x Base wash X away</c:v>
                </c:pt>
                <c:pt idx="4">
                  <c:v>10x Base wash X away</c:v>
                </c:pt>
              </c:strCache>
            </c:strRef>
          </c:cat>
          <c:val>
            <c:numRef>
              <c:f>Sheet1!$E$27:$E$31</c:f>
              <c:numCache>
                <c:formatCode>General</c:formatCode>
                <c:ptCount val="5"/>
                <c:pt idx="0">
                  <c:v>1691</c:v>
                </c:pt>
                <c:pt idx="1">
                  <c:v>3312</c:v>
                </c:pt>
                <c:pt idx="2">
                  <c:v>5072</c:v>
                </c:pt>
                <c:pt idx="3">
                  <c:v>4556</c:v>
                </c:pt>
                <c:pt idx="4">
                  <c:v>4455</c:v>
                </c:pt>
              </c:numCache>
            </c:numRef>
          </c:val>
          <c:extLst xmlns:c16r2="http://schemas.microsoft.com/office/drawing/2015/06/chart">
            <c:ext xmlns:c16="http://schemas.microsoft.com/office/drawing/2014/chart" uri="{C3380CC4-5D6E-409C-BE32-E72D297353CC}">
              <c16:uniqueId val="{00000000-B4CD-4C6D-B8E4-381431BB63F1}"/>
            </c:ext>
          </c:extLst>
        </c:ser>
        <c:dLbls>
          <c:showLegendKey val="0"/>
          <c:showVal val="0"/>
          <c:showCatName val="0"/>
          <c:showSerName val="0"/>
          <c:showPercent val="0"/>
          <c:showBubbleSize val="0"/>
        </c:dLbls>
        <c:gapWidth val="100"/>
        <c:overlap val="-24"/>
        <c:axId val="184796672"/>
        <c:axId val="184798208"/>
      </c:barChart>
      <c:catAx>
        <c:axId val="184796672"/>
        <c:scaling>
          <c:orientation val="minMax"/>
        </c:scaling>
        <c:delete val="1"/>
        <c:axPos val="b"/>
        <c:numFmt formatCode="General" sourceLinked="1"/>
        <c:majorTickMark val="none"/>
        <c:minorTickMark val="none"/>
        <c:tickLblPos val="nextTo"/>
        <c:crossAx val="184798208"/>
        <c:crosses val="autoZero"/>
        <c:auto val="1"/>
        <c:lblAlgn val="ctr"/>
        <c:lblOffset val="100"/>
        <c:noMultiLvlLbl val="0"/>
      </c:catAx>
      <c:valAx>
        <c:axId val="18479820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1" i="0" u="none" strike="noStrike" kern="1200" cap="all" baseline="0">
                    <a:solidFill>
                      <a:sysClr val="windowText" lastClr="000000"/>
                    </a:solidFill>
                    <a:latin typeface="+mn-lt"/>
                    <a:ea typeface="+mn-ea"/>
                    <a:cs typeface="+mn-cs"/>
                  </a:defRPr>
                </a:pPr>
                <a:r>
                  <a:rPr lang="ru-RU" b="1" dirty="0">
                    <a:solidFill>
                      <a:sysClr val="windowText" lastClr="000000"/>
                    </a:solidFill>
                  </a:rPr>
                  <a:t>Количество циклов на разрыв</a:t>
                </a:r>
                <a:endParaRPr lang="en-AU" b="1" dirty="0">
                  <a:solidFill>
                    <a:sysClr val="windowText" lastClr="000000"/>
                  </a:solidFill>
                </a:endParaRPr>
              </a:p>
            </c:rich>
          </c:tx>
          <c:layout>
            <c:manualLayout>
              <c:xMode val="edge"/>
              <c:yMode val="edge"/>
              <c:x val="1.0752686351251147E-2"/>
              <c:y val="0.29278871967517828"/>
            </c:manualLayout>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ru-RU"/>
          </a:p>
        </c:txPr>
        <c:crossAx val="184796672"/>
        <c:crosses val="autoZero"/>
        <c:crossBetween val="between"/>
      </c:valAx>
      <c:spPr>
        <a:noFill/>
        <a:ln>
          <a:noFill/>
        </a:ln>
        <a:effectLst/>
      </c:spPr>
    </c:plotArea>
    <c:legend>
      <c:legendPos val="t"/>
      <c:layout>
        <c:manualLayout>
          <c:xMode val="edge"/>
          <c:yMode val="edge"/>
          <c:x val="0.24722948992811955"/>
          <c:y val="2.2284116045850299E-2"/>
          <c:w val="0.41951936000010848"/>
          <c:h val="6.2674515042655657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97213809812235"/>
          <c:y val="0.11808786348536152"/>
          <c:w val="0.85015603818753438"/>
          <c:h val="0.73212561753823979"/>
        </c:manualLayout>
      </c:layout>
      <c:lineChart>
        <c:grouping val="standard"/>
        <c:varyColors val="0"/>
        <c:ser>
          <c:idx val="0"/>
          <c:order val="0"/>
          <c:tx>
            <c:strRef>
              <c:f>'[Polymer 129 (modified) RO evaluation.xlsx]Sheet2'!$K$3</c:f>
              <c:strCache>
                <c:ptCount val="1"/>
                <c:pt idx="0">
                  <c:v>Shampo &amp; Conditioner without ChromoHance 113</c:v>
                </c:pt>
              </c:strCache>
            </c:strRef>
          </c:tx>
          <c:spPr>
            <a:ln w="44450" cap="rnd" cmpd="sng" algn="ctr">
              <a:solidFill>
                <a:schemeClr val="accent6"/>
              </a:solidFill>
              <a:prstDash val="solid"/>
              <a:round/>
            </a:ln>
            <a:effectLst/>
          </c:spPr>
          <c:marker>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6350" cap="flat" cmpd="sng" algn="ctr">
                <a:solidFill>
                  <a:schemeClr val="accent6"/>
                </a:solidFill>
                <a:prstDash val="solid"/>
                <a:round/>
              </a:ln>
              <a:effectLst>
                <a:outerShdw blurRad="57150" dist="19050" dir="5400000" algn="ctr" rotWithShape="0">
                  <a:srgbClr val="000000">
                    <a:alpha val="63000"/>
                  </a:srgbClr>
                </a:outerShdw>
              </a:effectLst>
            </c:spPr>
          </c:marker>
          <c:cat>
            <c:strRef>
              <c:f>'[Polymer 129 (modified) RO evaluation.xlsx]Sheet2'!$J$4:$J$6</c:f>
              <c:strCache>
                <c:ptCount val="3"/>
                <c:pt idx="0">
                  <c:v>1x</c:v>
                </c:pt>
                <c:pt idx="1">
                  <c:v>5x</c:v>
                </c:pt>
                <c:pt idx="2">
                  <c:v>10x</c:v>
                </c:pt>
              </c:strCache>
            </c:strRef>
          </c:cat>
          <c:val>
            <c:numRef>
              <c:f>'[Polymer 129 (modified) RO evaluation.xlsx]Sheet2'!$K$4:$K$6</c:f>
              <c:numCache>
                <c:formatCode>0.00</c:formatCode>
                <c:ptCount val="3"/>
                <c:pt idx="0">
                  <c:v>9.6233333333333331</c:v>
                </c:pt>
                <c:pt idx="1">
                  <c:v>16.753333333333334</c:v>
                </c:pt>
                <c:pt idx="2">
                  <c:v>19.096666666666668</c:v>
                </c:pt>
              </c:numCache>
            </c:numRef>
          </c:val>
          <c:smooth val="0"/>
          <c:extLst xmlns:c16r2="http://schemas.microsoft.com/office/drawing/2015/06/chart">
            <c:ext xmlns:c16="http://schemas.microsoft.com/office/drawing/2014/chart" uri="{C3380CC4-5D6E-409C-BE32-E72D297353CC}">
              <c16:uniqueId val="{00000000-679F-4519-8B0C-2B3D1B7BBE13}"/>
            </c:ext>
          </c:extLst>
        </c:ser>
        <c:ser>
          <c:idx val="7"/>
          <c:order val="1"/>
          <c:tx>
            <c:strRef>
              <c:f>'[Polymer 129 (modified) RO evaluation.xlsx]Sheet2'!$R$3</c:f>
              <c:strCache>
                <c:ptCount val="1"/>
                <c:pt idx="0">
                  <c:v>Shampoo &amp; Conditioner with 1% active ChromoHance 113</c:v>
                </c:pt>
              </c:strCache>
            </c:strRef>
          </c:tx>
          <c:spPr>
            <a:ln w="44450" cap="rnd" cmpd="sng" algn="ctr">
              <a:solidFill>
                <a:schemeClr val="accent5">
                  <a:lumMod val="80000"/>
                  <a:lumOff val="20000"/>
                </a:schemeClr>
              </a:solidFill>
              <a:prstDash val="solid"/>
              <a:round/>
            </a:ln>
            <a:effectLst/>
          </c:spPr>
          <c:marker>
            <c:symbol val="x"/>
            <c:size val="13"/>
            <c:spPr>
              <a:noFill/>
              <a:ln w="6350" cap="flat" cmpd="sng" algn="ctr">
                <a:solidFill>
                  <a:schemeClr val="accent5">
                    <a:lumMod val="80000"/>
                    <a:lumOff val="20000"/>
                  </a:schemeClr>
                </a:solidFill>
                <a:prstDash val="solid"/>
                <a:round/>
              </a:ln>
              <a:effectLst>
                <a:outerShdw blurRad="57150" dist="19050" dir="5400000" algn="ctr" rotWithShape="0">
                  <a:srgbClr val="000000">
                    <a:alpha val="63000"/>
                  </a:srgbClr>
                </a:outerShdw>
              </a:effectLst>
            </c:spPr>
          </c:marker>
          <c:cat>
            <c:strRef>
              <c:f>'[Polymer 129 (modified) RO evaluation.xlsx]Sheet2'!$J$4:$J$6</c:f>
              <c:strCache>
                <c:ptCount val="3"/>
                <c:pt idx="0">
                  <c:v>1x</c:v>
                </c:pt>
                <c:pt idx="1">
                  <c:v>5x</c:v>
                </c:pt>
                <c:pt idx="2">
                  <c:v>10x</c:v>
                </c:pt>
              </c:strCache>
            </c:strRef>
          </c:cat>
          <c:val>
            <c:numRef>
              <c:f>'[Polymer 129 (modified) RO evaluation.xlsx]Sheet2'!$R$4:$R$6</c:f>
              <c:numCache>
                <c:formatCode>0.00</c:formatCode>
                <c:ptCount val="3"/>
                <c:pt idx="0">
                  <c:v>5.52</c:v>
                </c:pt>
                <c:pt idx="1">
                  <c:v>13.076666666666666</c:v>
                </c:pt>
                <c:pt idx="2">
                  <c:v>15.31</c:v>
                </c:pt>
              </c:numCache>
            </c:numRef>
          </c:val>
          <c:smooth val="0"/>
          <c:extLst xmlns:c16r2="http://schemas.microsoft.com/office/drawing/2015/06/chart">
            <c:ext xmlns:c16="http://schemas.microsoft.com/office/drawing/2014/chart" uri="{C3380CC4-5D6E-409C-BE32-E72D297353CC}">
              <c16:uniqueId val="{00000001-679F-4519-8B0C-2B3D1B7BBE13}"/>
            </c:ext>
          </c:extLst>
        </c:ser>
        <c:dLbls>
          <c:showLegendKey val="0"/>
          <c:showVal val="0"/>
          <c:showCatName val="0"/>
          <c:showSerName val="0"/>
          <c:showPercent val="0"/>
          <c:showBubbleSize val="0"/>
        </c:dLbls>
        <c:hiLowLines>
          <c:spPr>
            <a:ln w="6350" cap="flat" cmpd="sng" algn="ctr">
              <a:noFill/>
              <a:prstDash val="solid"/>
              <a:round/>
            </a:ln>
            <a:effectLst/>
          </c:spPr>
        </c:hiLowLines>
        <c:marker val="1"/>
        <c:smooth val="0"/>
        <c:axId val="187587584"/>
        <c:axId val="187589760"/>
      </c:lineChart>
      <c:catAx>
        <c:axId val="187587584"/>
        <c:scaling>
          <c:orientation val="minMax"/>
        </c:scaling>
        <c:delete val="0"/>
        <c:axPos val="b"/>
        <c:title>
          <c:tx>
            <c:rich>
              <a:bodyPr rot="0" spcFirstLastPara="1" vertOverflow="ellipsis" vert="horz" wrap="square" anchor="ctr" anchorCtr="1"/>
              <a:lstStyle/>
              <a:p>
                <a:pPr>
                  <a:defRPr sz="1800" b="1" i="0" u="none" strike="noStrike" kern="1200" baseline="0">
                    <a:solidFill>
                      <a:schemeClr val="tx1"/>
                    </a:solidFill>
                    <a:latin typeface="Century Gothic" panose="020B0502020202020204" pitchFamily="34" charset="0"/>
                    <a:ea typeface="+mn-ea"/>
                    <a:cs typeface="+mn-cs"/>
                  </a:defRPr>
                </a:pPr>
                <a:r>
                  <a:rPr lang="ru-RU" sz="1600" dirty="0">
                    <a:latin typeface="Century Gothic" panose="020B0502020202020204" pitchFamily="34" charset="0"/>
                  </a:rPr>
                  <a:t>Кол-во циклов смывания</a:t>
                </a:r>
                <a:endParaRPr lang="en-US" sz="1600" dirty="0">
                  <a:latin typeface="Century Gothic" panose="020B0502020202020204" pitchFamily="34" charset="0"/>
                </a:endParaRPr>
              </a:p>
            </c:rich>
          </c:tx>
          <c:layout>
            <c:manualLayout>
              <c:xMode val="edge"/>
              <c:yMode val="edge"/>
              <c:x val="0.43985444580648342"/>
              <c:y val="0.93763339423224668"/>
            </c:manualLayout>
          </c:layout>
          <c:overlay val="0"/>
          <c:spPr>
            <a:noFill/>
            <a:ln>
              <a:noFill/>
            </a:ln>
            <a:effectLst/>
          </c:spPr>
        </c:title>
        <c:numFmt formatCode="General" sourceLinked="0"/>
        <c:majorTickMark val="none"/>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ru-RU"/>
          </a:p>
        </c:txPr>
        <c:crossAx val="187589760"/>
        <c:crosses val="autoZero"/>
        <c:auto val="1"/>
        <c:lblAlgn val="ctr"/>
        <c:lblOffset val="100"/>
        <c:noMultiLvlLbl val="0"/>
      </c:catAx>
      <c:valAx>
        <c:axId val="187589760"/>
        <c:scaling>
          <c:orientation val="minMax"/>
          <c:max val="20"/>
        </c:scaling>
        <c:delete val="0"/>
        <c:axPos val="l"/>
        <c:majorGridlines>
          <c:spPr>
            <a:ln w="6350" cap="flat" cmpd="sng" algn="ctr">
              <a:solidFill>
                <a:schemeClr val="tx1">
                  <a:tint val="75000"/>
                </a:schemeClr>
              </a:solidFill>
              <a:prstDash val="solid"/>
              <a:round/>
            </a:ln>
            <a:effectLst/>
          </c:spPr>
        </c:majorGridlines>
        <c:title>
          <c:tx>
            <c:rich>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dirty="0">
                    <a:latin typeface="Symbol" panose="05050102010706020507" pitchFamily="18" charset="2"/>
                  </a:rPr>
                  <a:t>D</a:t>
                </a:r>
                <a:r>
                  <a:rPr lang="en-US" dirty="0"/>
                  <a:t>E*</a:t>
                </a:r>
              </a:p>
            </c:rich>
          </c:tx>
          <c:layout>
            <c:manualLayout>
              <c:xMode val="edge"/>
              <c:yMode val="edge"/>
              <c:x val="1.4829591644424226E-3"/>
              <c:y val="0.4301369977979384"/>
            </c:manualLayout>
          </c:layout>
          <c:overlay val="0"/>
          <c:spPr>
            <a:noFill/>
            <a:ln>
              <a:noFill/>
            </a:ln>
            <a:effectLst/>
          </c:spPr>
        </c:title>
        <c:numFmt formatCode="0.0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ru-RU"/>
          </a:p>
        </c:txPr>
        <c:crossAx val="187587584"/>
        <c:crossesAt val="1"/>
        <c:crossBetween val="midCat"/>
      </c:valAx>
      <c:spPr>
        <a:noFill/>
        <a:ln>
          <a:noFill/>
        </a:ln>
        <a:effectLst/>
      </c:spPr>
    </c:plotArea>
    <c:legend>
      <c:legendPos val="r"/>
      <c:layout>
        <c:manualLayout>
          <c:xMode val="edge"/>
          <c:yMode val="edge"/>
          <c:x val="0.65785284531741228"/>
          <c:y val="0.34350355978573782"/>
          <c:w val="0.33335594589137896"/>
          <c:h val="0.13687197845438384"/>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Century Gothic" panose="020B0502020202020204" pitchFamily="34" charset="0"/>
              <a:ea typeface="+mn-ea"/>
              <a:cs typeface="+mn-cs"/>
            </a:defRPr>
          </a:pPr>
          <a:endParaRPr lang="ru-RU"/>
        </a:p>
      </c:txPr>
    </c:legend>
    <c:plotVisOnly val="1"/>
    <c:dispBlanksAs val="gap"/>
    <c:showDLblsOverMax val="0"/>
  </c:chart>
  <c:spPr>
    <a:noFill/>
    <a:ln w="6350" cap="flat" cmpd="sng" algn="ctr">
      <a:noFill/>
      <a:prstDash val="solid"/>
      <a:miter lim="800000"/>
    </a:ln>
    <a:effectLst/>
  </c:spPr>
  <c:txPr>
    <a:bodyPr/>
    <a:lstStyle/>
    <a:p>
      <a:pPr>
        <a:defRPr sz="1800"/>
      </a:pPr>
      <a:endParaRPr lang="ru-RU"/>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manualLayout>
          <c:xMode val="edge"/>
          <c:yMode val="edge"/>
          <c:x val="2.4084131841316369E-3"/>
          <c:y val="0.40058585817716141"/>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lumMod val="50000"/>
                </a:schemeClr>
              </a:solidFill>
              <a:latin typeface="Century Gothic Pro" panose="020B0502020202020204" pitchFamily="34" charset="0"/>
              <a:ea typeface="+mn-ea"/>
              <a:cs typeface="+mn-cs"/>
            </a:defRPr>
          </a:pPr>
          <a:endParaRPr lang="ru-RU"/>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8.0004291863310539E-2"/>
          <c:y val="0.15849591323958562"/>
          <c:w val="0.88755126525343864"/>
          <c:h val="0.40856959530901699"/>
        </c:manualLayout>
      </c:layout>
      <c:bar3DChart>
        <c:barDir val="col"/>
        <c:grouping val="clustered"/>
        <c:varyColors val="0"/>
        <c:ser>
          <c:idx val="0"/>
          <c:order val="0"/>
          <c:tx>
            <c:strRef>
              <c:f>'% T,600nm'!$B$12</c:f>
              <c:strCache>
                <c:ptCount val="1"/>
                <c:pt idx="0">
                  <c:v>Clarity % T,</c:v>
                </c:pt>
              </c:strCache>
            </c:strRef>
          </c:tx>
          <c:spPr>
            <a:solidFill>
              <a:srgbClr val="4CCEDE"/>
            </a:solidFill>
            <a:ln>
              <a:noFill/>
            </a:ln>
            <a:effectLst/>
            <a:sp3d/>
          </c:spPr>
          <c:invertIfNegative val="0"/>
          <c:cat>
            <c:strRef>
              <c:f>'% T,600nm'!$C$11:$F$11</c:f>
              <c:strCache>
                <c:ptCount val="4"/>
                <c:pt idx="0">
                  <c:v>ClearHanceTM C</c:v>
                </c:pt>
                <c:pt idx="1">
                  <c:v>HPGuarhydroxypropyltrimonium chloride</c:v>
                </c:pt>
                <c:pt idx="2">
                  <c:v>Guarhydroxypropyltrimonium chloride</c:v>
                </c:pt>
                <c:pt idx="3">
                  <c:v>PQ10</c:v>
                </c:pt>
              </c:strCache>
            </c:strRef>
          </c:cat>
          <c:val>
            <c:numRef>
              <c:f>'% T,600nm'!$C$12:$F$12</c:f>
              <c:numCache>
                <c:formatCode>General</c:formatCode>
                <c:ptCount val="4"/>
                <c:pt idx="0" formatCode="0.000">
                  <c:v>97.760999999999996</c:v>
                </c:pt>
                <c:pt idx="1">
                  <c:v>87.147000000000006</c:v>
                </c:pt>
                <c:pt idx="2">
                  <c:v>82.46</c:v>
                </c:pt>
                <c:pt idx="3">
                  <c:v>98.507999999999996</c:v>
                </c:pt>
              </c:numCache>
            </c:numRef>
          </c:val>
          <c:extLst xmlns:c16r2="http://schemas.microsoft.com/office/drawing/2015/06/chart">
            <c:ext xmlns:c16="http://schemas.microsoft.com/office/drawing/2014/chart" uri="{C3380CC4-5D6E-409C-BE32-E72D297353CC}">
              <c16:uniqueId val="{00000000-15C9-44F7-B6CD-4266411D034B}"/>
            </c:ext>
          </c:extLst>
        </c:ser>
        <c:dLbls>
          <c:showLegendKey val="0"/>
          <c:showVal val="0"/>
          <c:showCatName val="0"/>
          <c:showSerName val="0"/>
          <c:showPercent val="0"/>
          <c:showBubbleSize val="0"/>
        </c:dLbls>
        <c:gapWidth val="150"/>
        <c:shape val="box"/>
        <c:axId val="187545856"/>
        <c:axId val="187559936"/>
        <c:axId val="0"/>
      </c:bar3DChart>
      <c:catAx>
        <c:axId val="18754585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lumMod val="50000"/>
                  </a:schemeClr>
                </a:solidFill>
                <a:latin typeface="Century Gothic Pro" panose="020B0502020202020204" pitchFamily="34" charset="0"/>
                <a:ea typeface="+mn-ea"/>
                <a:cs typeface="+mn-cs"/>
              </a:defRPr>
            </a:pPr>
            <a:endParaRPr lang="ru-RU"/>
          </a:p>
        </c:txPr>
        <c:crossAx val="187559936"/>
        <c:crosses val="autoZero"/>
        <c:auto val="1"/>
        <c:lblAlgn val="ctr"/>
        <c:lblOffset val="100"/>
        <c:noMultiLvlLbl val="0"/>
      </c:catAx>
      <c:valAx>
        <c:axId val="187559936"/>
        <c:scaling>
          <c:orientation val="minMax"/>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lumMod val="50000"/>
                  </a:schemeClr>
                </a:solidFill>
                <a:latin typeface="Century Gothic Pro" panose="020B0502020202020204" pitchFamily="34" charset="0"/>
                <a:ea typeface="+mn-ea"/>
                <a:cs typeface="+mn-cs"/>
              </a:defRPr>
            </a:pPr>
            <a:endParaRPr lang="ru-RU"/>
          </a:p>
        </c:txPr>
        <c:crossAx val="187545856"/>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lumMod val="50000"/>
            </a:schemeClr>
          </a:solidFill>
          <a:latin typeface="Century Gothic Pro" panose="020B0502020202020204" pitchFamily="34" charset="0"/>
        </a:defRPr>
      </a:pPr>
      <a:endParaRPr lang="ru-RU"/>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ru-RU"/>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 T,600nm'!$B$33</c:f>
              <c:strCache>
                <c:ptCount val="1"/>
                <c:pt idx="0">
                  <c:v>Combing force gf-mm</c:v>
                </c:pt>
              </c:strCache>
            </c:strRef>
          </c:tx>
          <c:spPr>
            <a:solidFill>
              <a:srgbClr val="4CCEDE"/>
            </a:solidFill>
            <a:ln>
              <a:noFill/>
            </a:ln>
            <a:effectLst/>
            <a:sp3d/>
          </c:spPr>
          <c:invertIfNegative val="0"/>
          <c:cat>
            <c:strRef>
              <c:f>'% T,600nm'!$C$32:$F$32</c:f>
              <c:strCache>
                <c:ptCount val="4"/>
                <c:pt idx="0">
                  <c:v>ClearHanceTM C</c:v>
                </c:pt>
                <c:pt idx="1">
                  <c:v>HPGuarhydroxypropyltrimonium chloride</c:v>
                </c:pt>
                <c:pt idx="2">
                  <c:v>Guarhydroxypropyltrimonium chloride</c:v>
                </c:pt>
                <c:pt idx="3">
                  <c:v>PQ10</c:v>
                </c:pt>
              </c:strCache>
            </c:strRef>
          </c:cat>
          <c:val>
            <c:numRef>
              <c:f>'% T,600nm'!$C$33:$F$33</c:f>
              <c:numCache>
                <c:formatCode>General</c:formatCode>
                <c:ptCount val="4"/>
                <c:pt idx="0">
                  <c:v>13752</c:v>
                </c:pt>
                <c:pt idx="1">
                  <c:v>44497</c:v>
                </c:pt>
                <c:pt idx="2">
                  <c:v>35459</c:v>
                </c:pt>
                <c:pt idx="3">
                  <c:v>31008</c:v>
                </c:pt>
              </c:numCache>
            </c:numRef>
          </c:val>
          <c:extLst xmlns:c16r2="http://schemas.microsoft.com/office/drawing/2015/06/chart">
            <c:ext xmlns:c16="http://schemas.microsoft.com/office/drawing/2014/chart" uri="{C3380CC4-5D6E-409C-BE32-E72D297353CC}">
              <c16:uniqueId val="{00000000-6173-4185-A2AB-8C3AA830D6B4}"/>
            </c:ext>
          </c:extLst>
        </c:ser>
        <c:dLbls>
          <c:showLegendKey val="0"/>
          <c:showVal val="0"/>
          <c:showCatName val="0"/>
          <c:showSerName val="0"/>
          <c:showPercent val="0"/>
          <c:showBubbleSize val="0"/>
        </c:dLbls>
        <c:gapWidth val="150"/>
        <c:shape val="box"/>
        <c:axId val="186989568"/>
        <c:axId val="186999552"/>
        <c:axId val="0"/>
      </c:bar3DChart>
      <c:catAx>
        <c:axId val="186989568"/>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ru-RU"/>
          </a:p>
        </c:txPr>
        <c:crossAx val="186999552"/>
        <c:crosses val="autoZero"/>
        <c:auto val="1"/>
        <c:lblAlgn val="ctr"/>
        <c:lblOffset val="100"/>
        <c:noMultiLvlLbl val="0"/>
      </c:catAx>
      <c:valAx>
        <c:axId val="1869995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ru-RU"/>
          </a:p>
        </c:txPr>
        <c:crossAx val="18698956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lumMod val="65000"/>
              <a:lumOff val="35000"/>
            </a:schemeClr>
          </a:solidFill>
        </a:defRPr>
      </a:pPr>
      <a:endParaRPr lang="ru-RU"/>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126">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tx1"/>
    </cs:fontRef>
  </cs:dataPoint>
  <cs:dataPoint3D>
    <cs:lnRef idx="0"/>
    <cs:fillRef idx="3">
      <cs:styleClr val="auto"/>
    </cs:fillRef>
    <cs:effectRef idx="3">
      <a:schemeClr val="dk1"/>
    </cs:effectRef>
    <cs:fontRef idx="minor">
      <a:schemeClr val="tx1"/>
    </cs:fontRef>
  </cs:dataPoint3D>
  <cs:dataPointLine>
    <cs:lnRef idx="1">
      <cs:styleClr val="auto"/>
    </cs:lnRef>
    <cs:lineWidthScale>7</cs:lineWidthScale>
    <cs:fillRef idx="0"/>
    <cs:effectRef idx="0"/>
    <cs:fontRef idx="minor">
      <a:schemeClr val="tx1"/>
    </cs:fontRef>
    <cs:spPr>
      <a:ln cap="rnd">
        <a:round/>
      </a:ln>
    </cs:spPr>
  </cs:dataPointLine>
  <cs:dataPointMarker>
    <cs:lnRef idx="1">
      <cs:styleClr val="auto"/>
    </cs:lnRef>
    <cs:fillRef idx="3">
      <cs:styleClr val="auto"/>
    </cs:fillRef>
    <cs:effectRef idx="3">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3">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3">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0.emf"/></Relationships>
</file>

<file path=ppt/drawings/drawing1.xml><?xml version="1.0" encoding="utf-8"?>
<c:userShapes xmlns:c="http://schemas.openxmlformats.org/drawingml/2006/chart">
  <cdr:relSizeAnchor xmlns:cdr="http://schemas.openxmlformats.org/drawingml/2006/chartDrawing">
    <cdr:from>
      <cdr:x>0.04286</cdr:x>
      <cdr:y>0.02344</cdr:y>
    </cdr:from>
    <cdr:to>
      <cdr:x>0.97473</cdr:x>
      <cdr:y>0.08205</cdr:y>
    </cdr:to>
    <cdr:sp macro="" textlink="">
      <cdr:nvSpPr>
        <cdr:cNvPr id="2" name="TextBox 1"/>
        <cdr:cNvSpPr txBox="1"/>
      </cdr:nvSpPr>
      <cdr:spPr>
        <a:xfrm xmlns:a="http://schemas.openxmlformats.org/drawingml/2006/main">
          <a:off x="371475" y="152399"/>
          <a:ext cx="8077200" cy="3810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tabLst>
              <a:tab pos="4972050" algn="l"/>
            </a:tabLst>
          </a:pPr>
          <a:endParaRPr lang="en-US" sz="2400" b="1" dirty="0">
            <a:solidFill>
              <a:srgbClr val="0066CC"/>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178461A1-8B49-4EDE-A4C1-AE94D51FDF76}" type="datetimeFigureOut">
              <a:rPr lang="en-US" smtClean="0"/>
              <a:t>9/18/2017</a:t>
            </a:fld>
            <a:endParaRPr lang="en-US"/>
          </a:p>
        </p:txBody>
      </p:sp>
      <p:sp>
        <p:nvSpPr>
          <p:cNvPr id="4" name="Slide Image Placeholder 3"/>
          <p:cNvSpPr>
            <a:spLocks noGrp="1" noRot="1" noChangeAspect="1"/>
          </p:cNvSpPr>
          <p:nvPr>
            <p:ph type="sldImg" idx="2"/>
          </p:nvPr>
        </p:nvSpPr>
        <p:spPr>
          <a:xfrm>
            <a:off x="942975" y="1241425"/>
            <a:ext cx="49117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DAD3BA87-B302-4877-A2E6-806256686925}" type="slidenum">
              <a:rPr lang="en-US" smtClean="0"/>
              <a:t>‹#›</a:t>
            </a:fld>
            <a:endParaRPr lang="en-US"/>
          </a:p>
        </p:txBody>
      </p:sp>
    </p:spTree>
    <p:extLst>
      <p:ext uri="{BB962C8B-B14F-4D97-AF65-F5344CB8AC3E}">
        <p14:creationId xmlns:p14="http://schemas.microsoft.com/office/powerpoint/2010/main" val="11093416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1957E81-BDC6-438E-A4A7-88D79412CEAB}" type="slidenum">
              <a:rPr lang="en-US" smtClean="0"/>
              <a:pPr/>
              <a:t>1</a:t>
            </a:fld>
            <a:endParaRPr lang="en-US"/>
          </a:p>
        </p:txBody>
      </p:sp>
    </p:spTree>
    <p:extLst>
      <p:ext uri="{BB962C8B-B14F-4D97-AF65-F5344CB8AC3E}">
        <p14:creationId xmlns:p14="http://schemas.microsoft.com/office/powerpoint/2010/main" val="7022031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In this last experiement to share with you today,  we are using the concept of EDF to quantify the evolution of</a:t>
            </a:r>
            <a:r>
              <a:rPr lang="nl-NL" baseline="0" dirty="0"/>
              <a:t> damage created DURING coloring treatements.</a:t>
            </a:r>
          </a:p>
          <a:p>
            <a:endParaRPr lang="nl-NL" baseline="0" dirty="0"/>
          </a:p>
          <a:p>
            <a:r>
              <a:rPr lang="nl-NL" baseline="0" dirty="0"/>
              <a:t>3 colour different kits   (red colours)   from 3 different key brands  have been used in this experiments.</a:t>
            </a:r>
          </a:p>
          <a:p>
            <a:endParaRPr lang="nl-NL" baseline="0" dirty="0"/>
          </a:p>
          <a:p>
            <a:r>
              <a:rPr lang="nl-NL" baseline="0" dirty="0"/>
              <a:t>Eg.   For the first colour (retail) box #1: we are getting the following EDF values</a:t>
            </a:r>
          </a:p>
          <a:p>
            <a:endParaRPr lang="nl-NL" baseline="0" dirty="0"/>
          </a:p>
          <a:p>
            <a:pPr marL="228600" indent="-228600">
              <a:buAutoNum type="arabicParenR"/>
            </a:pPr>
            <a:r>
              <a:rPr lang="nl-NL" baseline="0" dirty="0"/>
              <a:t>Before colouring  EDF = 1.0 as we used this time a 1x bleached hair sample</a:t>
            </a:r>
          </a:p>
          <a:p>
            <a:pPr marL="228600" indent="-228600">
              <a:buAutoNum type="arabicParenR"/>
            </a:pPr>
            <a:r>
              <a:rPr lang="nl-NL" baseline="0" dirty="0"/>
              <a:t>After colouring with the mix colour creme + developer  ;  EDF = 1,17  wich is in line to fact that coloring treatement not only changes hair colour to desired colour but also induce a subtential increase in hair damage.</a:t>
            </a:r>
          </a:p>
          <a:p>
            <a:pPr marL="228600" indent="-228600">
              <a:buAutoNum type="arabicParenR"/>
            </a:pPr>
            <a:r>
              <a:rPr lang="nl-NL" baseline="0" dirty="0"/>
              <a:t>Whould you MIX – together FiberHance (as is) directly at the moment of preparing the colour mix,  then recorded lower EDF values down to 0.89 -  offering a new opportunity for colorist to continue to color hair but this time with less or even lower damage create don hair.   In this particular case, EDF valuse of 0.89 is indeed lower the 1.0 which was the starting value.  Somehow we have LESS damage AFTER colouring IF  FiberHance had been used..</a:t>
            </a:r>
          </a:p>
          <a:p>
            <a:r>
              <a:rPr lang="nl-NL" baseline="0" dirty="0"/>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D3BA87-B302-4877-A2E6-8062566869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7259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6D41271-8701-4383-B82C-5EEB570912EB}" type="slidenum">
              <a:rPr lang="de-DE"/>
              <a:pPr/>
              <a:t>2</a:t>
            </a:fld>
            <a:endParaRPr lang="de-DE"/>
          </a:p>
        </p:txBody>
      </p:sp>
      <p:sp>
        <p:nvSpPr>
          <p:cNvPr id="809986" name="Rectangle 2"/>
          <p:cNvSpPr>
            <a:spLocks noGrp="1" noRot="1" noChangeAspect="1" noChangeArrowheads="1" noTextEdit="1"/>
          </p:cNvSpPr>
          <p:nvPr>
            <p:ph type="sldImg"/>
          </p:nvPr>
        </p:nvSpPr>
        <p:spPr>
          <a:ln/>
        </p:spPr>
      </p:sp>
      <p:sp>
        <p:nvSpPr>
          <p:cNvPr id="809987" name="Rectangle 3"/>
          <p:cNvSpPr>
            <a:spLocks noGrp="1" noChangeArrowheads="1"/>
          </p:cNvSpPr>
          <p:nvPr>
            <p:ph type="body" idx="1"/>
          </p:nvPr>
        </p:nvSpPr>
        <p:spPr/>
        <p:txBody>
          <a:bodyPr lIns="93228" tIns="46615" rIns="93228" bIns="46615"/>
          <a:lstStyle/>
          <a:p>
            <a:pPr>
              <a:spcBef>
                <a:spcPct val="0"/>
              </a:spcBef>
            </a:pPr>
            <a:endParaRPr lang="en-GB" dirty="0"/>
          </a:p>
        </p:txBody>
      </p:sp>
    </p:spTree>
    <p:extLst>
      <p:ext uri="{BB962C8B-B14F-4D97-AF65-F5344CB8AC3E}">
        <p14:creationId xmlns:p14="http://schemas.microsoft.com/office/powerpoint/2010/main" val="35347337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noFill/>
          <a:ln>
            <a:solidFill>
              <a:srgbClr val="000000"/>
            </a:solidFill>
            <a:miter lim="800000"/>
            <a:headEnd/>
            <a:tailEnd/>
          </a:ln>
        </p:spPr>
      </p:sp>
      <p:sp>
        <p:nvSpPr>
          <p:cNvPr id="5427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3E5C9AA7-CEEE-4A56-94EA-C53A10CF538F}" type="slidenum">
              <a:rPr lang="en-US" smtClean="0"/>
              <a:pPr>
                <a:defRPr/>
              </a:pPr>
              <a:t>4</a:t>
            </a:fld>
            <a:endParaRPr lang="en-US"/>
          </a:p>
        </p:txBody>
      </p:sp>
    </p:spTree>
    <p:extLst>
      <p:ext uri="{BB962C8B-B14F-4D97-AF65-F5344CB8AC3E}">
        <p14:creationId xmlns:p14="http://schemas.microsoft.com/office/powerpoint/2010/main" val="34504523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90525" y="801688"/>
            <a:ext cx="5867400" cy="4000500"/>
          </a:xfrm>
        </p:spPr>
      </p:sp>
      <p:sp>
        <p:nvSpPr>
          <p:cNvPr id="3" name="Espace réservé des commentaires 2"/>
          <p:cNvSpPr>
            <a:spLocks noGrp="1"/>
          </p:cNvSpPr>
          <p:nvPr>
            <p:ph type="body" idx="1"/>
          </p:nvPr>
        </p:nvSpPr>
        <p:spPr/>
        <p:txBody>
          <a:bodyPr>
            <a:normAutofit/>
          </a:bodyPr>
          <a:lstStyle/>
          <a:p>
            <a:endParaRPr lang="en-US" dirty="0"/>
          </a:p>
        </p:txBody>
      </p:sp>
      <p:sp>
        <p:nvSpPr>
          <p:cNvPr id="4" name="Espace réservé du numéro de diapositive 3"/>
          <p:cNvSpPr>
            <a:spLocks noGrp="1"/>
          </p:cNvSpPr>
          <p:nvPr>
            <p:ph type="sldNum" sz="quarter" idx="10"/>
          </p:nvPr>
        </p:nvSpPr>
        <p:spPr/>
        <p:txBody>
          <a:bodyPr/>
          <a:lstStyle/>
          <a:p>
            <a:pPr>
              <a:defRPr/>
            </a:pPr>
            <a:fld id="{D3477C1A-0714-4FD2-87C6-7BD5C7F32215}" type="slidenum">
              <a:rPr lang="en-US" smtClean="0"/>
              <a:pPr>
                <a:defRPr/>
              </a:pPr>
              <a:t>5</a:t>
            </a:fld>
            <a:endParaRPr lang="en-US"/>
          </a:p>
        </p:txBody>
      </p:sp>
    </p:spTree>
    <p:extLst>
      <p:ext uri="{BB962C8B-B14F-4D97-AF65-F5344CB8AC3E}">
        <p14:creationId xmlns:p14="http://schemas.microsoft.com/office/powerpoint/2010/main" val="304180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bwMode="auto">
          <a:noFill/>
          <a:ln>
            <a:solidFill>
              <a:srgbClr val="000000"/>
            </a:solidFill>
            <a:miter lim="800000"/>
            <a:headEnd/>
            <a:tailEnd/>
          </a:ln>
        </p:spPr>
      </p:sp>
      <p:sp>
        <p:nvSpPr>
          <p:cNvPr id="6963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a:p>
        </p:txBody>
      </p:sp>
      <p:sp>
        <p:nvSpPr>
          <p:cNvPr id="4" name="Slide Number Placeholder 3"/>
          <p:cNvSpPr>
            <a:spLocks noGrp="1"/>
          </p:cNvSpPr>
          <p:nvPr>
            <p:ph type="sldNum" sz="quarter" idx="5"/>
          </p:nvPr>
        </p:nvSpPr>
        <p:spPr/>
        <p:txBody>
          <a:bodyPr/>
          <a:lstStyle/>
          <a:p>
            <a:pPr>
              <a:defRPr/>
            </a:pPr>
            <a:fld id="{2D72BBFC-1163-482A-919B-FE62045E45C1}" type="slidenum">
              <a:rPr lang="en-US" smtClean="0"/>
              <a:pPr>
                <a:defRPr/>
              </a:pPr>
              <a:t>6</a:t>
            </a:fld>
            <a:endParaRPr lang="en-US"/>
          </a:p>
        </p:txBody>
      </p:sp>
    </p:spTree>
    <p:extLst>
      <p:ext uri="{BB962C8B-B14F-4D97-AF65-F5344CB8AC3E}">
        <p14:creationId xmlns:p14="http://schemas.microsoft.com/office/powerpoint/2010/main" val="26920301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D3BA87-B302-4877-A2E6-8062566869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37429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AD3BA87-B302-4877-A2E6-806256686925}" type="slidenum">
              <a:rPr lang="en-US" smtClean="0"/>
              <a:t>11</a:t>
            </a:fld>
            <a:endParaRPr lang="en-US"/>
          </a:p>
        </p:txBody>
      </p:sp>
    </p:spTree>
    <p:extLst>
      <p:ext uri="{BB962C8B-B14F-4D97-AF65-F5344CB8AC3E}">
        <p14:creationId xmlns:p14="http://schemas.microsoft.com/office/powerpoint/2010/main" val="34558238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By using</a:t>
            </a:r>
            <a:r>
              <a:rPr lang="nl-NL" baseline="0" dirty="0"/>
              <a:t> FTIR on Hair cross section, we can detect the presence of fiberHance inside the hair fiber. </a:t>
            </a:r>
            <a:endParaRPr lang="en-US" dirty="0"/>
          </a:p>
        </p:txBody>
      </p:sp>
      <p:sp>
        <p:nvSpPr>
          <p:cNvPr id="4" name="Slide Number Placeholder 3"/>
          <p:cNvSpPr>
            <a:spLocks noGrp="1"/>
          </p:cNvSpPr>
          <p:nvPr>
            <p:ph type="sldNum" sz="quarter" idx="10"/>
          </p:nvPr>
        </p:nvSpPr>
        <p:spPr/>
        <p:txBody>
          <a:bodyPr/>
          <a:lstStyle/>
          <a:p>
            <a:fld id="{DAD3BA87-B302-4877-A2E6-806256686925}" type="slidenum">
              <a:rPr lang="en-US" smtClean="0"/>
              <a:t>12</a:t>
            </a:fld>
            <a:endParaRPr lang="en-US"/>
          </a:p>
        </p:txBody>
      </p:sp>
    </p:spTree>
    <p:extLst>
      <p:ext uri="{BB962C8B-B14F-4D97-AF65-F5344CB8AC3E}">
        <p14:creationId xmlns:p14="http://schemas.microsoft.com/office/powerpoint/2010/main" val="25473536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Note:</a:t>
            </a:r>
            <a:r>
              <a:rPr lang="nl-NL" baseline="0" dirty="0"/>
              <a:t>  from cyclic tensile testing – we have observed to get more  performance (more cycle to break) when using a shampoo containing 1% FiberHance than treted with a simple 1% water solution of FiberHance.   This suggests that for this experiment – the  “water rinsing” values recorded after use of shampoo containing FiberHance could have been higher if we had post shampooed with a cleansing shampoo.     More experiments are being done.</a:t>
            </a:r>
            <a:endParaRPr lang="en-US" dirty="0"/>
          </a:p>
        </p:txBody>
      </p:sp>
      <p:sp>
        <p:nvSpPr>
          <p:cNvPr id="4" name="Slide Number Placeholder 3"/>
          <p:cNvSpPr>
            <a:spLocks noGrp="1"/>
          </p:cNvSpPr>
          <p:nvPr>
            <p:ph type="sldNum" sz="quarter" idx="10"/>
          </p:nvPr>
        </p:nvSpPr>
        <p:spPr/>
        <p:txBody>
          <a:bodyPr/>
          <a:lstStyle/>
          <a:p>
            <a:fld id="{DAD3BA87-B302-4877-A2E6-806256686925}" type="slidenum">
              <a:rPr lang="en-US" smtClean="0"/>
              <a:t>13</a:t>
            </a:fld>
            <a:endParaRPr lang="en-US"/>
          </a:p>
        </p:txBody>
      </p:sp>
    </p:spTree>
    <p:extLst>
      <p:ext uri="{BB962C8B-B14F-4D97-AF65-F5344CB8AC3E}">
        <p14:creationId xmlns:p14="http://schemas.microsoft.com/office/powerpoint/2010/main" val="18151307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2.xml"/><Relationship Id="rId4" Type="http://schemas.openxmlformats.org/officeDocument/2006/relationships/image" Target="../media/image1.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3.xml"/><Relationship Id="rId4" Type="http://schemas.openxmlformats.org/officeDocument/2006/relationships/image" Target="../media/image1.jpe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98939" y="6149687"/>
            <a:ext cx="4240598" cy="502920"/>
          </a:xfrm>
          <a:prstGeom prst="rect">
            <a:avLst/>
          </a:prstGeom>
        </p:spPr>
      </p:pic>
      <p:pic>
        <p:nvPicPr>
          <p:cNvPr id="4" name="Picture 3"/>
          <p:cNvPicPr>
            <a:picLocks noChangeAspect="1"/>
          </p:cNvPicPr>
          <p:nvPr userDrawn="1"/>
        </p:nvPicPr>
        <p:blipFill rotWithShape="1">
          <a:blip r:embed="rId3"/>
          <a:srcRect t="1317"/>
          <a:stretch/>
        </p:blipFill>
        <p:spPr>
          <a:xfrm>
            <a:off x="8626" y="2"/>
            <a:ext cx="10021824" cy="4523807"/>
          </a:xfrm>
          <a:prstGeom prst="rect">
            <a:avLst/>
          </a:prstGeom>
        </p:spPr>
      </p:pic>
      <p:pic>
        <p:nvPicPr>
          <p:cNvPr id="15" name="Picture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564039" y="4945130"/>
            <a:ext cx="4008048" cy="1263407"/>
          </a:xfrm>
          <a:prstGeom prst="rect">
            <a:avLst/>
          </a:prstGeom>
        </p:spPr>
      </p:pic>
      <p:sp>
        <p:nvSpPr>
          <p:cNvPr id="2" name="Title 1"/>
          <p:cNvSpPr>
            <a:spLocks noGrp="1"/>
          </p:cNvSpPr>
          <p:nvPr>
            <p:ph type="ctrTitle" hasCustomPrompt="1"/>
          </p:nvPr>
        </p:nvSpPr>
        <p:spPr>
          <a:xfrm>
            <a:off x="457200" y="2004861"/>
            <a:ext cx="8549640" cy="1069456"/>
          </a:xfrm>
        </p:spPr>
        <p:txBody>
          <a:bodyPr anchor="t" anchorCtr="0">
            <a:normAutofit/>
          </a:bodyPr>
          <a:lstStyle>
            <a:lvl1pPr algn="l">
              <a:defRPr sz="4000">
                <a:solidFill>
                  <a:schemeClr val="accent3"/>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457200" y="4146402"/>
            <a:ext cx="7543800" cy="1182660"/>
          </a:xfrm>
        </p:spPr>
        <p:txBody>
          <a:bodyPr/>
          <a:lstStyle>
            <a:lvl1pPr marL="0" indent="0" algn="l">
              <a:buNone/>
              <a:defRPr sz="2400" b="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8" name="Straight Connector 7"/>
          <p:cNvCxnSpPr/>
          <p:nvPr userDrawn="1"/>
        </p:nvCxnSpPr>
        <p:spPr>
          <a:xfrm>
            <a:off x="541805" y="3605344"/>
            <a:ext cx="802257"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86402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98939" y="6149687"/>
            <a:ext cx="4240598" cy="502920"/>
          </a:xfrm>
          <a:prstGeom prst="rect">
            <a:avLst/>
          </a:prstGeom>
        </p:spPr>
      </p:pic>
      <p:pic>
        <p:nvPicPr>
          <p:cNvPr id="4" name="Picture 3"/>
          <p:cNvPicPr>
            <a:picLocks noChangeAspect="1"/>
          </p:cNvPicPr>
          <p:nvPr userDrawn="1"/>
        </p:nvPicPr>
        <p:blipFill rotWithShape="1">
          <a:blip r:embed="rId3"/>
          <a:srcRect t="1317"/>
          <a:stretch/>
        </p:blipFill>
        <p:spPr>
          <a:xfrm>
            <a:off x="8626" y="2"/>
            <a:ext cx="10021824" cy="4523807"/>
          </a:xfrm>
          <a:prstGeom prst="rect">
            <a:avLst/>
          </a:prstGeom>
        </p:spPr>
      </p:pic>
      <p:pic>
        <p:nvPicPr>
          <p:cNvPr id="15" name="Picture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564039" y="4945130"/>
            <a:ext cx="4008048" cy="1263407"/>
          </a:xfrm>
          <a:prstGeom prst="rect">
            <a:avLst/>
          </a:prstGeom>
        </p:spPr>
      </p:pic>
      <p:sp>
        <p:nvSpPr>
          <p:cNvPr id="2" name="Title 1"/>
          <p:cNvSpPr>
            <a:spLocks noGrp="1"/>
          </p:cNvSpPr>
          <p:nvPr>
            <p:ph type="ctrTitle" hasCustomPrompt="1"/>
          </p:nvPr>
        </p:nvSpPr>
        <p:spPr>
          <a:xfrm>
            <a:off x="457200" y="2004861"/>
            <a:ext cx="8549640" cy="1069456"/>
          </a:xfrm>
        </p:spPr>
        <p:txBody>
          <a:bodyPr anchor="t" anchorCtr="0">
            <a:normAutofit/>
          </a:bodyPr>
          <a:lstStyle>
            <a:lvl1pPr algn="l">
              <a:defRPr sz="4000">
                <a:solidFill>
                  <a:schemeClr val="accent3"/>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457200" y="4146402"/>
            <a:ext cx="7543800" cy="1182660"/>
          </a:xfrm>
        </p:spPr>
        <p:txBody>
          <a:bodyPr/>
          <a:lstStyle>
            <a:lvl1pPr marL="0" indent="0" algn="l">
              <a:buNone/>
              <a:defRPr sz="2400" b="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8" name="Straight Connector 7"/>
          <p:cNvCxnSpPr/>
          <p:nvPr userDrawn="1"/>
        </p:nvCxnSpPr>
        <p:spPr>
          <a:xfrm>
            <a:off x="541805" y="3605344"/>
            <a:ext cx="802257"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48711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400">
                <a:latin typeface="Century Gothic" panose="020B050202020202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buClrTx/>
              <a:defRPr>
                <a:latin typeface="Century Gothic" panose="020B0502020202020204" pitchFamily="34" charset="0"/>
              </a:defRPr>
            </a:lvl1pPr>
            <a:lvl2pPr>
              <a:buClrTx/>
              <a:defRPr>
                <a:latin typeface="Century Gothic" panose="020B0502020202020204" pitchFamily="34" charset="0"/>
              </a:defRPr>
            </a:lvl2pPr>
            <a:lvl3pPr>
              <a:buClrTx/>
              <a:defRPr>
                <a:latin typeface="Century Gothic" panose="020B0502020202020204" pitchFamily="34" charset="0"/>
              </a:defRPr>
            </a:lvl3pPr>
            <a:lvl4pPr>
              <a:buClrTx/>
              <a:defRPr>
                <a:latin typeface="Century Gothic" panose="020B0502020202020204" pitchFamily="34" charset="0"/>
              </a:defRPr>
            </a:lvl4pPr>
            <a:lvl5pPr>
              <a:buClrTx/>
              <a:defRPr>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691515" y="6356352"/>
            <a:ext cx="2263140" cy="365125"/>
          </a:xfrm>
          <a:prstGeom prst="rect">
            <a:avLst/>
          </a:prstGeom>
        </p:spPr>
        <p:txBody>
          <a:bodyPr/>
          <a:lstStyle>
            <a:lvl1pPr>
              <a:defRPr>
                <a:latin typeface="Century Gothic" panose="020B0502020202020204" pitchFamily="34" charset="0"/>
              </a:defRPr>
            </a:lvl1pPr>
          </a:lstStyle>
          <a:p>
            <a:fld id="{9494FD98-4A9C-4325-8E27-BF1C2B56C1ED}" type="datetime1">
              <a:rPr lang="en-US" smtClean="0"/>
              <a:pPr/>
              <a:t>9/18/2017</a:t>
            </a:fld>
            <a:endParaRPr lang="en-US" dirty="0"/>
          </a:p>
        </p:txBody>
      </p:sp>
      <p:sp>
        <p:nvSpPr>
          <p:cNvPr id="5" name="Footer Placeholder 4"/>
          <p:cNvSpPr>
            <a:spLocks noGrp="1"/>
          </p:cNvSpPr>
          <p:nvPr>
            <p:ph type="ftr" sz="quarter" idx="11"/>
          </p:nvPr>
        </p:nvSpPr>
        <p:spPr>
          <a:xfrm>
            <a:off x="3331845" y="6356352"/>
            <a:ext cx="3394710" cy="365125"/>
          </a:xfrm>
          <a:prstGeom prst="rect">
            <a:avLst/>
          </a:prstGeom>
        </p:spPr>
        <p:txBody>
          <a:bodyPr/>
          <a:lstStyle>
            <a:lvl1pPr>
              <a:defRPr>
                <a:latin typeface="Century Gothic" panose="020B0502020202020204" pitchFamily="34" charset="0"/>
              </a:defRPr>
            </a:lvl1pPr>
          </a:lstStyle>
          <a:p>
            <a:r>
              <a:rPr lang="en-US" dirty="0"/>
              <a:t>confidential</a:t>
            </a:r>
          </a:p>
        </p:txBody>
      </p:sp>
      <p:sp>
        <p:nvSpPr>
          <p:cNvPr id="6" name="Slide Number Placeholder 5"/>
          <p:cNvSpPr>
            <a:spLocks noGrp="1"/>
          </p:cNvSpPr>
          <p:nvPr>
            <p:ph type="sldNum" sz="quarter" idx="12"/>
          </p:nvPr>
        </p:nvSpPr>
        <p:spPr/>
        <p:txBody>
          <a:bodyPr/>
          <a:lstStyle/>
          <a:p>
            <a:fld id="{91393B01-7800-434A-B836-B3320A3476BB}" type="slidenum">
              <a:rPr lang="en-US" smtClean="0"/>
              <a:pPr/>
              <a:t>‹#›</a:t>
            </a:fld>
            <a:endParaRPr lang="en-US"/>
          </a:p>
        </p:txBody>
      </p:sp>
    </p:spTree>
    <p:extLst>
      <p:ext uri="{BB962C8B-B14F-4D97-AF65-F5344CB8AC3E}">
        <p14:creationId xmlns:p14="http://schemas.microsoft.com/office/powerpoint/2010/main" val="39816949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198" y="1825625"/>
            <a:ext cx="4509137"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92064" y="1825625"/>
            <a:ext cx="4509133"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a:xfrm>
            <a:off x="691515" y="6356352"/>
            <a:ext cx="2263140" cy="365125"/>
          </a:xfrm>
          <a:prstGeom prst="rect">
            <a:avLst/>
          </a:prstGeom>
        </p:spPr>
        <p:txBody>
          <a:bodyPr/>
          <a:lstStyle/>
          <a:p>
            <a:fld id="{D1B661C2-BE5F-42F9-A000-44FCDDCB5C5D}" type="datetime1">
              <a:rPr lang="en-US" smtClean="0"/>
              <a:t>9/18/2017</a:t>
            </a:fld>
            <a:endParaRPr lang="en-US"/>
          </a:p>
        </p:txBody>
      </p:sp>
      <p:sp>
        <p:nvSpPr>
          <p:cNvPr id="6" name="Footer Placeholder 5"/>
          <p:cNvSpPr>
            <a:spLocks noGrp="1"/>
          </p:cNvSpPr>
          <p:nvPr>
            <p:ph type="ftr" sz="quarter" idx="11"/>
          </p:nvPr>
        </p:nvSpPr>
        <p:spPr>
          <a:xfrm>
            <a:off x="3331845" y="6356352"/>
            <a:ext cx="339471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91393B01-7800-434A-B836-B3320A3476BB}" type="slidenum">
              <a:rPr lang="en-US" smtClean="0"/>
              <a:pPr/>
              <a:t>‹#›</a:t>
            </a:fld>
            <a:endParaRPr lang="en-US"/>
          </a:p>
        </p:txBody>
      </p:sp>
    </p:spTree>
    <p:extLst>
      <p:ext uri="{BB962C8B-B14F-4D97-AF65-F5344CB8AC3E}">
        <p14:creationId xmlns:p14="http://schemas.microsoft.com/office/powerpoint/2010/main" val="34547642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a:xfrm>
            <a:off x="691515" y="6356352"/>
            <a:ext cx="2263140" cy="365125"/>
          </a:xfrm>
          <a:prstGeom prst="rect">
            <a:avLst/>
          </a:prstGeom>
        </p:spPr>
        <p:txBody>
          <a:bodyPr/>
          <a:lstStyle/>
          <a:p>
            <a:fld id="{2AA0F684-E509-44CE-9953-5761DF88AB48}" type="datetime1">
              <a:rPr lang="en-US" smtClean="0"/>
              <a:t>9/18/2017</a:t>
            </a:fld>
            <a:endParaRPr lang="en-US"/>
          </a:p>
        </p:txBody>
      </p:sp>
      <p:sp>
        <p:nvSpPr>
          <p:cNvPr id="4" name="Footer Placeholder 3"/>
          <p:cNvSpPr>
            <a:spLocks noGrp="1"/>
          </p:cNvSpPr>
          <p:nvPr>
            <p:ph type="ftr" sz="quarter" idx="11"/>
          </p:nvPr>
        </p:nvSpPr>
        <p:spPr>
          <a:xfrm>
            <a:off x="3331845" y="6356352"/>
            <a:ext cx="3394710" cy="365125"/>
          </a:xfrm>
          <a:prstGeom prst="rect">
            <a:avLst/>
          </a:prstGeom>
        </p:spPr>
        <p:txBody>
          <a:bodyPr/>
          <a:lstStyle/>
          <a:p>
            <a:r>
              <a:rPr lang="en-US" dirty="0"/>
              <a:t>confidential</a:t>
            </a:r>
          </a:p>
        </p:txBody>
      </p:sp>
      <p:sp>
        <p:nvSpPr>
          <p:cNvPr id="5" name="Slide Number Placeholder 4"/>
          <p:cNvSpPr>
            <a:spLocks noGrp="1"/>
          </p:cNvSpPr>
          <p:nvPr>
            <p:ph type="sldNum" sz="quarter" idx="12"/>
          </p:nvPr>
        </p:nvSpPr>
        <p:spPr/>
        <p:txBody>
          <a:bodyPr/>
          <a:lstStyle/>
          <a:p>
            <a:fld id="{91393B01-7800-434A-B836-B3320A3476BB}" type="slidenum">
              <a:rPr lang="en-US" smtClean="0"/>
              <a:pPr/>
              <a:t>‹#›</a:t>
            </a:fld>
            <a:endParaRPr lang="en-US"/>
          </a:p>
        </p:txBody>
      </p:sp>
    </p:spTree>
    <p:extLst>
      <p:ext uri="{BB962C8B-B14F-4D97-AF65-F5344CB8AC3E}">
        <p14:creationId xmlns:p14="http://schemas.microsoft.com/office/powerpoint/2010/main" val="37645852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91515" y="6356352"/>
            <a:ext cx="2263140" cy="365125"/>
          </a:xfrm>
          <a:prstGeom prst="rect">
            <a:avLst/>
          </a:prstGeom>
        </p:spPr>
        <p:txBody>
          <a:bodyPr/>
          <a:lstStyle/>
          <a:p>
            <a:fld id="{03AE370E-0B45-4001-B22A-13F48A2BB1E9}" type="datetime1">
              <a:rPr lang="en-US" smtClean="0"/>
              <a:t>9/18/2017</a:t>
            </a:fld>
            <a:endParaRPr lang="en-US"/>
          </a:p>
        </p:txBody>
      </p:sp>
      <p:sp>
        <p:nvSpPr>
          <p:cNvPr id="3" name="Footer Placeholder 2"/>
          <p:cNvSpPr>
            <a:spLocks noGrp="1"/>
          </p:cNvSpPr>
          <p:nvPr>
            <p:ph type="ftr" sz="quarter" idx="11"/>
          </p:nvPr>
        </p:nvSpPr>
        <p:spPr>
          <a:xfrm>
            <a:off x="3331845" y="6356352"/>
            <a:ext cx="3394710" cy="365125"/>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91393B01-7800-434A-B836-B3320A3476BB}" type="slidenum">
              <a:rPr lang="en-US" smtClean="0"/>
              <a:pPr/>
              <a:t>‹#›</a:t>
            </a:fld>
            <a:endParaRPr lang="en-US"/>
          </a:p>
        </p:txBody>
      </p:sp>
    </p:spTree>
    <p:extLst>
      <p:ext uri="{BB962C8B-B14F-4D97-AF65-F5344CB8AC3E}">
        <p14:creationId xmlns:p14="http://schemas.microsoft.com/office/powerpoint/2010/main" val="3741380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a:effectLst/>
      </p:grpSpPr>
    </p:spTree>
    <p:extLst>
      <p:ext uri="{BB962C8B-B14F-4D97-AF65-F5344CB8AC3E}">
        <p14:creationId xmlns:p14="http://schemas.microsoft.com/office/powerpoint/2010/main" val="1520181932"/>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Content Placeholder 8"/>
          <p:cNvSpPr>
            <a:spLocks noGrp="1"/>
          </p:cNvSpPr>
          <p:nvPr>
            <p:ph sz="quarter" idx="10"/>
          </p:nvPr>
        </p:nvSpPr>
        <p:spPr>
          <a:xfrm>
            <a:off x="643738" y="1243584"/>
            <a:ext cx="8770925" cy="47457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ubtitle 4"/>
          <p:cNvSpPr>
            <a:spLocks noGrp="1"/>
          </p:cNvSpPr>
          <p:nvPr>
            <p:ph type="subTitle" idx="44"/>
          </p:nvPr>
        </p:nvSpPr>
        <p:spPr>
          <a:xfrm>
            <a:off x="643738" y="603504"/>
            <a:ext cx="8770925" cy="393192"/>
          </a:xfrm>
        </p:spPr>
        <p:txBody>
          <a:bodyPr/>
          <a:lstStyle>
            <a:lvl1pPr marL="0" indent="0">
              <a:lnSpc>
                <a:spcPts val="2300"/>
              </a:lnSpc>
              <a:spcBef>
                <a:spcPts val="0"/>
              </a:spcBef>
              <a:spcAft>
                <a:spcPts val="0"/>
              </a:spcAft>
              <a:buNone/>
              <a:defRPr sz="2100" kern="0" baseline="0">
                <a:solidFill>
                  <a:schemeClr val="tx2"/>
                </a:solidFill>
                <a:latin typeface="+mj-lt"/>
              </a:defRPr>
            </a:lvl1pPr>
          </a:lstStyle>
          <a:p>
            <a:r>
              <a:rPr lang="en-US"/>
              <a:t>Click to edit Master subtitle style</a:t>
            </a:r>
            <a:endParaRPr lang="en-GB" dirty="0"/>
          </a:p>
        </p:txBody>
      </p:sp>
      <p:sp>
        <p:nvSpPr>
          <p:cNvPr id="6" name="Title 1"/>
          <p:cNvSpPr>
            <a:spLocks noGrp="1"/>
          </p:cNvSpPr>
          <p:nvPr>
            <p:ph type="title"/>
          </p:nvPr>
        </p:nvSpPr>
        <p:spPr>
          <a:xfrm>
            <a:off x="643738" y="402336"/>
            <a:ext cx="8770925" cy="155448"/>
          </a:xfrm>
          <a:prstGeom prst="rect">
            <a:avLst/>
          </a:prstGeom>
        </p:spPr>
        <p:txBody>
          <a:bodyPr/>
          <a:lstStyle>
            <a:lvl1pPr>
              <a:lnSpc>
                <a:spcPts val="1200"/>
              </a:lnSpc>
              <a:defRPr sz="900" b="0" i="0" kern="0" cap="all" baseline="0">
                <a:solidFill>
                  <a:schemeClr val="accent1"/>
                </a:solidFill>
                <a:latin typeface="+mj-lt"/>
                <a:cs typeface="Arial" pitchFamily="34" charset="0"/>
              </a:defRPr>
            </a:lvl1pPr>
          </a:lstStyle>
          <a:p>
            <a:r>
              <a:rPr lang="en-US"/>
              <a:t>Click to edit Master title style</a:t>
            </a:r>
            <a:endParaRPr lang="en-GB" dirty="0"/>
          </a:p>
        </p:txBody>
      </p:sp>
    </p:spTree>
    <p:extLst>
      <p:ext uri="{BB962C8B-B14F-4D97-AF65-F5344CB8AC3E}">
        <p14:creationId xmlns:p14="http://schemas.microsoft.com/office/powerpoint/2010/main" val="10251087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hree images - title">
    <p:spTree>
      <p:nvGrpSpPr>
        <p:cNvPr id="1" name=""/>
        <p:cNvGrpSpPr/>
        <p:nvPr/>
      </p:nvGrpSpPr>
      <p:grpSpPr>
        <a:xfrm>
          <a:off x="0" y="0"/>
          <a:ext cx="0" cy="0"/>
          <a:chOff x="0" y="0"/>
          <a:chExt cx="0" cy="0"/>
        </a:xfrm>
      </p:grpSpPr>
      <p:pic>
        <p:nvPicPr>
          <p:cNvPr id="13"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0669" y="1601789"/>
            <a:ext cx="3071653" cy="286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66307" y="1601789"/>
            <a:ext cx="3071653" cy="286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8"/>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33541" y="1600200"/>
            <a:ext cx="3071654" cy="286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Placeholder 1"/>
          <p:cNvSpPr>
            <a:spLocks noGrp="1"/>
          </p:cNvSpPr>
          <p:nvPr>
            <p:ph type="title"/>
          </p:nvPr>
        </p:nvSpPr>
        <p:spPr>
          <a:xfrm>
            <a:off x="301752" y="361854"/>
            <a:ext cx="9461532" cy="365760"/>
          </a:xfrm>
          <a:prstGeom prst="rect">
            <a:avLst/>
          </a:prstGeom>
        </p:spPr>
        <p:txBody>
          <a:bodyPr rtlCol="0">
            <a:noAutofit/>
          </a:bodyPr>
          <a:lstStyle>
            <a:lvl1pPr>
              <a:lnSpc>
                <a:spcPct val="100000"/>
              </a:lnSpc>
              <a:defRPr/>
            </a:lvl1pPr>
          </a:lstStyle>
          <a:p>
            <a:r>
              <a:rPr lang="en-US" noProof="0"/>
              <a:t>Click to edit Master title style</a:t>
            </a:r>
            <a:endParaRPr lang="en-GB" noProof="0" dirty="0"/>
          </a:p>
        </p:txBody>
      </p:sp>
      <p:sp>
        <p:nvSpPr>
          <p:cNvPr id="18" name="Text Placeholder 23"/>
          <p:cNvSpPr>
            <a:spLocks noGrp="1"/>
          </p:cNvSpPr>
          <p:nvPr>
            <p:ph type="body" sz="quarter" idx="16"/>
          </p:nvPr>
        </p:nvSpPr>
        <p:spPr>
          <a:xfrm>
            <a:off x="497682" y="4466536"/>
            <a:ext cx="2715768" cy="1629464"/>
          </a:xfrm>
          <a:prstGeom prst="rect">
            <a:avLst/>
          </a:prstGeom>
          <a:noFill/>
        </p:spPr>
        <p:txBody>
          <a:bodyPr wrap="square" lIns="0" tIns="0" rIns="0" bIns="0" numCol="1" rtlCol="0">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lang="en-GB" sz="1200" b="0" i="0" baseline="0" smtClean="0">
                <a:effectLst/>
              </a:defRPr>
            </a:lvl1pPr>
          </a:lstStyle>
          <a:p>
            <a:pPr lvl="0"/>
            <a:r>
              <a:rPr lang="en-US" noProof="0"/>
              <a:t>Click to edit Master text styles</a:t>
            </a:r>
          </a:p>
        </p:txBody>
      </p:sp>
      <p:sp>
        <p:nvSpPr>
          <p:cNvPr id="19" name="Text Placeholder 23"/>
          <p:cNvSpPr>
            <a:spLocks noGrp="1"/>
          </p:cNvSpPr>
          <p:nvPr>
            <p:ph type="body" sz="quarter" idx="17"/>
          </p:nvPr>
        </p:nvSpPr>
        <p:spPr>
          <a:xfrm>
            <a:off x="3682842" y="4466536"/>
            <a:ext cx="2715768" cy="1629464"/>
          </a:xfrm>
          <a:prstGeom prst="rect">
            <a:avLst/>
          </a:prstGeom>
          <a:noFill/>
        </p:spPr>
        <p:txBody>
          <a:bodyPr wrap="square" lIns="0" tIns="0" rIns="0" bIns="0" numCol="1" rtlCol="0">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lang="en-GB" sz="1200" b="0" i="0" baseline="0" smtClean="0">
                <a:effectLst/>
              </a:defRPr>
            </a:lvl1pPr>
          </a:lstStyle>
          <a:p>
            <a:pPr lvl="0"/>
            <a:r>
              <a:rPr lang="en-US" noProof="0"/>
              <a:t>Click to edit Master text styles</a:t>
            </a:r>
          </a:p>
        </p:txBody>
      </p:sp>
      <p:sp>
        <p:nvSpPr>
          <p:cNvPr id="20" name="Text Placeholder 23"/>
          <p:cNvSpPr>
            <a:spLocks noGrp="1"/>
          </p:cNvSpPr>
          <p:nvPr>
            <p:ph type="body" sz="quarter" idx="18"/>
          </p:nvPr>
        </p:nvSpPr>
        <p:spPr>
          <a:xfrm>
            <a:off x="6951822" y="4466536"/>
            <a:ext cx="2715768" cy="1629464"/>
          </a:xfrm>
          <a:prstGeom prst="rect">
            <a:avLst/>
          </a:prstGeom>
          <a:noFill/>
        </p:spPr>
        <p:txBody>
          <a:bodyPr wrap="square" lIns="0" tIns="0" rIns="0" bIns="0" numCol="1" rtlCol="0">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lang="en-GB" sz="1200" b="0" i="0" baseline="0" smtClean="0">
                <a:effectLst/>
              </a:defRPr>
            </a:lvl1pPr>
          </a:lstStyle>
          <a:p>
            <a:pPr lvl="0"/>
            <a:r>
              <a:rPr lang="en-US" noProof="0"/>
              <a:t>Click to edit Master text styles</a:t>
            </a:r>
          </a:p>
        </p:txBody>
      </p:sp>
      <p:sp>
        <p:nvSpPr>
          <p:cNvPr id="21" name="Text Placeholder 23"/>
          <p:cNvSpPr>
            <a:spLocks noGrp="1"/>
          </p:cNvSpPr>
          <p:nvPr>
            <p:ph type="body" sz="quarter" idx="19"/>
          </p:nvPr>
        </p:nvSpPr>
        <p:spPr>
          <a:xfrm>
            <a:off x="502920" y="1005840"/>
            <a:ext cx="2715768" cy="731520"/>
          </a:xfrm>
          <a:prstGeom prst="rect">
            <a:avLst/>
          </a:prstGeom>
          <a:noFill/>
        </p:spPr>
        <p:txBody>
          <a:bodyPr wrap="square" numCol="1" rtlCol="0" anchor="ctr">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lang="en-GB" sz="1400" b="1" i="0" baseline="0" smtClean="0">
                <a:effectLst/>
              </a:defRPr>
            </a:lvl1pPr>
          </a:lstStyle>
          <a:p>
            <a:pPr lvl="0"/>
            <a:r>
              <a:rPr lang="en-US" noProof="0"/>
              <a:t>Click to edit Master text styles</a:t>
            </a:r>
          </a:p>
        </p:txBody>
      </p:sp>
      <p:sp>
        <p:nvSpPr>
          <p:cNvPr id="22" name="Text Placeholder 23"/>
          <p:cNvSpPr>
            <a:spLocks noGrp="1"/>
          </p:cNvSpPr>
          <p:nvPr>
            <p:ph type="body" sz="quarter" idx="20"/>
          </p:nvPr>
        </p:nvSpPr>
        <p:spPr>
          <a:xfrm>
            <a:off x="3681374" y="1005840"/>
            <a:ext cx="2715768" cy="731520"/>
          </a:xfrm>
          <a:prstGeom prst="rect">
            <a:avLst/>
          </a:prstGeom>
          <a:noFill/>
        </p:spPr>
        <p:txBody>
          <a:bodyPr wrap="square" numCol="1" rtlCol="0" anchor="ctr">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lang="en-GB" sz="1400" b="1" i="0" baseline="0" smtClean="0">
                <a:effectLst/>
              </a:defRPr>
            </a:lvl1pPr>
          </a:lstStyle>
          <a:p>
            <a:pPr lvl="0"/>
            <a:r>
              <a:rPr lang="en-US" noProof="0"/>
              <a:t>Click to edit Master text styles</a:t>
            </a:r>
          </a:p>
        </p:txBody>
      </p:sp>
      <p:sp>
        <p:nvSpPr>
          <p:cNvPr id="23" name="Text Placeholder 23"/>
          <p:cNvSpPr>
            <a:spLocks noGrp="1"/>
          </p:cNvSpPr>
          <p:nvPr>
            <p:ph type="body" sz="quarter" idx="21"/>
          </p:nvPr>
        </p:nvSpPr>
        <p:spPr>
          <a:xfrm>
            <a:off x="6950354" y="1005840"/>
            <a:ext cx="2715768" cy="731520"/>
          </a:xfrm>
          <a:prstGeom prst="rect">
            <a:avLst/>
          </a:prstGeom>
          <a:noFill/>
        </p:spPr>
        <p:txBody>
          <a:bodyPr wrap="square" numCol="1" rtlCol="0" anchor="ctr">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lang="en-GB" sz="1400" b="1" i="0" baseline="0" smtClean="0">
                <a:effectLst/>
              </a:defRPr>
            </a:lvl1pPr>
          </a:lstStyle>
          <a:p>
            <a:pPr lvl="0"/>
            <a:r>
              <a:rPr lang="en-US" noProof="0"/>
              <a:t>Click to edit Master text styles</a:t>
            </a:r>
          </a:p>
        </p:txBody>
      </p:sp>
      <p:sp>
        <p:nvSpPr>
          <p:cNvPr id="32" name="Content Placeholder 2"/>
          <p:cNvSpPr>
            <a:spLocks noGrp="1"/>
          </p:cNvSpPr>
          <p:nvPr>
            <p:ph sz="quarter" idx="30" hasCustomPrompt="1"/>
          </p:nvPr>
        </p:nvSpPr>
        <p:spPr>
          <a:xfrm>
            <a:off x="670560" y="1905000"/>
            <a:ext cx="2336483" cy="2209800"/>
          </a:xfrm>
          <a:prstGeom prst="rect">
            <a:avLst/>
          </a:prstGeom>
          <a:ln>
            <a:noFill/>
          </a:ln>
        </p:spPr>
        <p:txBody>
          <a:bodyPr/>
          <a:lstStyle>
            <a:lvl1pPr marL="0" indent="0">
              <a:buNone/>
              <a:defRPr/>
            </a:lvl1pPr>
          </a:lstStyle>
          <a:p>
            <a:pPr lvl="0"/>
            <a:r>
              <a:rPr lang="en-US" noProof="0" dirty="0"/>
              <a:t> </a:t>
            </a:r>
          </a:p>
        </p:txBody>
      </p:sp>
      <p:sp>
        <p:nvSpPr>
          <p:cNvPr id="33" name="Content Placeholder 2"/>
          <p:cNvSpPr>
            <a:spLocks noGrp="1"/>
          </p:cNvSpPr>
          <p:nvPr>
            <p:ph sz="quarter" idx="31" hasCustomPrompt="1"/>
          </p:nvPr>
        </p:nvSpPr>
        <p:spPr>
          <a:xfrm>
            <a:off x="3866198" y="1905000"/>
            <a:ext cx="2336483" cy="2209800"/>
          </a:xfrm>
          <a:prstGeom prst="rect">
            <a:avLst/>
          </a:prstGeom>
          <a:ln>
            <a:noFill/>
          </a:ln>
        </p:spPr>
        <p:txBody>
          <a:bodyPr/>
          <a:lstStyle>
            <a:lvl1pPr marL="0" indent="0">
              <a:buNone/>
              <a:defRPr/>
            </a:lvl1pPr>
          </a:lstStyle>
          <a:p>
            <a:pPr lvl="0"/>
            <a:r>
              <a:rPr lang="en-US" noProof="0" dirty="0"/>
              <a:t> </a:t>
            </a:r>
          </a:p>
        </p:txBody>
      </p:sp>
      <p:sp>
        <p:nvSpPr>
          <p:cNvPr id="34" name="Content Placeholder 2"/>
          <p:cNvSpPr>
            <a:spLocks noGrp="1"/>
          </p:cNvSpPr>
          <p:nvPr>
            <p:ph sz="quarter" idx="32" hasCustomPrompt="1"/>
          </p:nvPr>
        </p:nvSpPr>
        <p:spPr>
          <a:xfrm>
            <a:off x="7135178" y="1905000"/>
            <a:ext cx="2336483" cy="2209800"/>
          </a:xfrm>
          <a:prstGeom prst="rect">
            <a:avLst/>
          </a:prstGeom>
          <a:ln>
            <a:noFill/>
          </a:ln>
        </p:spPr>
        <p:txBody>
          <a:bodyPr/>
          <a:lstStyle>
            <a:lvl1pPr marL="0" indent="0">
              <a:buNone/>
              <a:defRPr/>
            </a:lvl1pPr>
          </a:lstStyle>
          <a:p>
            <a:pPr lvl="0"/>
            <a:r>
              <a:rPr lang="en-US" noProof="0" dirty="0"/>
              <a:t> </a:t>
            </a:r>
          </a:p>
        </p:txBody>
      </p:sp>
      <p:sp>
        <p:nvSpPr>
          <p:cNvPr id="16" name="Text Placeholder 7"/>
          <p:cNvSpPr>
            <a:spLocks noGrp="1"/>
          </p:cNvSpPr>
          <p:nvPr>
            <p:ph type="body" sz="quarter" idx="27"/>
          </p:nvPr>
        </p:nvSpPr>
        <p:spPr>
          <a:xfrm>
            <a:off x="633600" y="6537960"/>
            <a:ext cx="7840800" cy="228600"/>
          </a:xfrm>
          <a:prstGeom prst="rect">
            <a:avLst/>
          </a:prstGeom>
          <a:noFill/>
          <a:ln>
            <a:noFill/>
          </a:ln>
        </p:spPr>
        <p:txBody>
          <a:bodyPr anchor="b"/>
          <a:lstStyle>
            <a:lvl1pPr marL="0" indent="0" algn="l">
              <a:buNone/>
              <a:defRPr sz="1000" i="1" baseline="0">
                <a:solidFill>
                  <a:schemeClr val="tx1">
                    <a:lumMod val="50000"/>
                    <a:lumOff val="50000"/>
                  </a:schemeClr>
                </a:solidFill>
              </a:defRPr>
            </a:lvl1pPr>
            <a:lvl2pPr>
              <a:defRPr sz="1200"/>
            </a:lvl2pPr>
            <a:lvl3pPr>
              <a:defRPr sz="1200"/>
            </a:lvl3pPr>
            <a:lvl4pPr>
              <a:defRPr sz="1200"/>
            </a:lvl4pPr>
            <a:lvl5pPr>
              <a:defRPr sz="1200"/>
            </a:lvl5pPr>
          </a:lstStyle>
          <a:p>
            <a:pPr lvl="0"/>
            <a:r>
              <a:rPr lang="en-US" noProof="0"/>
              <a:t>Click to edit Master text styles</a:t>
            </a:r>
          </a:p>
        </p:txBody>
      </p:sp>
    </p:spTree>
    <p:extLst>
      <p:ext uri="{BB962C8B-B14F-4D97-AF65-F5344CB8AC3E}">
        <p14:creationId xmlns:p14="http://schemas.microsoft.com/office/powerpoint/2010/main" val="2425375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98939" y="6149687"/>
            <a:ext cx="4240598" cy="502920"/>
          </a:xfrm>
          <a:prstGeom prst="rect">
            <a:avLst/>
          </a:prstGeom>
        </p:spPr>
      </p:pic>
      <p:pic>
        <p:nvPicPr>
          <p:cNvPr id="4" name="Picture 3"/>
          <p:cNvPicPr>
            <a:picLocks noChangeAspect="1"/>
          </p:cNvPicPr>
          <p:nvPr userDrawn="1"/>
        </p:nvPicPr>
        <p:blipFill rotWithShape="1">
          <a:blip r:embed="rId3"/>
          <a:srcRect t="1317"/>
          <a:stretch/>
        </p:blipFill>
        <p:spPr>
          <a:xfrm>
            <a:off x="8626" y="2"/>
            <a:ext cx="10021824" cy="4523807"/>
          </a:xfrm>
          <a:prstGeom prst="rect">
            <a:avLst/>
          </a:prstGeom>
        </p:spPr>
      </p:pic>
      <p:pic>
        <p:nvPicPr>
          <p:cNvPr id="15" name="Picture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564039" y="4945130"/>
            <a:ext cx="4008048" cy="1263407"/>
          </a:xfrm>
          <a:prstGeom prst="rect">
            <a:avLst/>
          </a:prstGeom>
        </p:spPr>
      </p:pic>
      <p:sp>
        <p:nvSpPr>
          <p:cNvPr id="2" name="Title 1"/>
          <p:cNvSpPr>
            <a:spLocks noGrp="1"/>
          </p:cNvSpPr>
          <p:nvPr>
            <p:ph type="ctrTitle" hasCustomPrompt="1"/>
          </p:nvPr>
        </p:nvSpPr>
        <p:spPr>
          <a:xfrm>
            <a:off x="457200" y="2004861"/>
            <a:ext cx="8549640" cy="1069456"/>
          </a:xfrm>
        </p:spPr>
        <p:txBody>
          <a:bodyPr anchor="t" anchorCtr="0">
            <a:normAutofit/>
          </a:bodyPr>
          <a:lstStyle>
            <a:lvl1pPr algn="l">
              <a:defRPr sz="4000">
                <a:solidFill>
                  <a:schemeClr val="accent3"/>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457200" y="4146402"/>
            <a:ext cx="7543800" cy="1182660"/>
          </a:xfrm>
        </p:spPr>
        <p:txBody>
          <a:bodyPr/>
          <a:lstStyle>
            <a:lvl1pPr marL="0" indent="0" algn="l">
              <a:buNone/>
              <a:defRPr sz="2400" b="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8" name="Straight Connector 7"/>
          <p:cNvCxnSpPr/>
          <p:nvPr userDrawn="1"/>
        </p:nvCxnSpPr>
        <p:spPr>
          <a:xfrm>
            <a:off x="541805" y="3605344"/>
            <a:ext cx="802257"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84014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p:txBody>
          <a:bodyPr/>
          <a:lstStyle>
            <a:lvl1pPr>
              <a:buClrTx/>
              <a:defRPr/>
            </a:lvl1pPr>
            <a:lvl2pPr>
              <a:buClrTx/>
              <a:defRPr/>
            </a:lvl2pPr>
            <a:lvl3pPr>
              <a:buClrTx/>
              <a:defRPr/>
            </a:lvl3pPr>
            <a:lvl4pPr>
              <a:buClrTx/>
              <a:defRPr/>
            </a:lvl4pPr>
            <a:lvl5pPr>
              <a:buClrTx/>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691515" y="6356352"/>
            <a:ext cx="2263140" cy="365125"/>
          </a:xfrm>
          <a:prstGeom prst="rect">
            <a:avLst/>
          </a:prstGeom>
        </p:spPr>
        <p:txBody>
          <a:bodyPr/>
          <a:lstStyle>
            <a:lvl1pPr>
              <a:defRPr>
                <a:latin typeface="Century Gothic Pro" panose="020B0502020202020204" pitchFamily="34" charset="0"/>
              </a:defRPr>
            </a:lvl1pPr>
          </a:lstStyle>
          <a:p>
            <a:fld id="{9494FD98-4A9C-4325-8E27-BF1C2B56C1ED}" type="datetime1">
              <a:rPr lang="en-US" smtClean="0"/>
              <a:pPr/>
              <a:t>9/18/2017</a:t>
            </a:fld>
            <a:endParaRPr lang="en-US" dirty="0"/>
          </a:p>
        </p:txBody>
      </p:sp>
      <p:sp>
        <p:nvSpPr>
          <p:cNvPr id="5" name="Footer Placeholder 4"/>
          <p:cNvSpPr>
            <a:spLocks noGrp="1"/>
          </p:cNvSpPr>
          <p:nvPr>
            <p:ph type="ftr" sz="quarter" idx="11"/>
          </p:nvPr>
        </p:nvSpPr>
        <p:spPr>
          <a:xfrm>
            <a:off x="3331845" y="6356352"/>
            <a:ext cx="3394710" cy="365125"/>
          </a:xfrm>
          <a:prstGeom prst="rect">
            <a:avLst/>
          </a:prstGeom>
        </p:spPr>
        <p:txBody>
          <a:bodyPr/>
          <a:lstStyle>
            <a:lvl1pPr>
              <a:defRPr>
                <a:latin typeface="Century Gothic Pro" panose="020B0502020202020204" pitchFamily="34" charset="0"/>
              </a:defRPr>
            </a:lvl1pPr>
          </a:lstStyle>
          <a:p>
            <a:endParaRPr lang="en-US" dirty="0"/>
          </a:p>
        </p:txBody>
      </p:sp>
      <p:sp>
        <p:nvSpPr>
          <p:cNvPr id="6" name="Slide Number Placeholder 5"/>
          <p:cNvSpPr>
            <a:spLocks noGrp="1"/>
          </p:cNvSpPr>
          <p:nvPr>
            <p:ph type="sldNum" sz="quarter" idx="12"/>
          </p:nvPr>
        </p:nvSpPr>
        <p:spPr>
          <a:xfrm>
            <a:off x="810924" y="5630010"/>
            <a:ext cx="1137611" cy="365125"/>
          </a:xfrm>
        </p:spPr>
        <p:txBody>
          <a:bodyPr/>
          <a:lstStyle>
            <a:lvl1pPr>
              <a:defRPr/>
            </a:lvl1pPr>
          </a:lstStyle>
          <a:p>
            <a:r>
              <a:rPr lang="en-US" dirty="0"/>
              <a:t>1!1</a:t>
            </a:r>
          </a:p>
        </p:txBody>
      </p:sp>
    </p:spTree>
    <p:extLst>
      <p:ext uri="{BB962C8B-B14F-4D97-AF65-F5344CB8AC3E}">
        <p14:creationId xmlns:p14="http://schemas.microsoft.com/office/powerpoint/2010/main" val="39214832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buClrTx/>
              <a:defRPr/>
            </a:lvl1pPr>
            <a:lvl2pPr>
              <a:buClrTx/>
              <a:defRPr/>
            </a:lvl2pPr>
            <a:lvl3pPr>
              <a:buClrTx/>
              <a:defRPr/>
            </a:lvl3pPr>
            <a:lvl4pPr>
              <a:buClrTx/>
              <a:defRPr/>
            </a:lvl4pPr>
            <a:lvl5pPr>
              <a:buClrTx/>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691515" y="6356352"/>
            <a:ext cx="2263140" cy="365125"/>
          </a:xfrm>
          <a:prstGeom prst="rect">
            <a:avLst/>
          </a:prstGeom>
        </p:spPr>
        <p:txBody>
          <a:bodyPr/>
          <a:lstStyle/>
          <a:p>
            <a:fld id="{9494FD98-4A9C-4325-8E27-BF1C2B56C1ED}" type="datetime1">
              <a:rPr lang="en-US" smtClean="0"/>
              <a:t>9/18/2017</a:t>
            </a:fld>
            <a:endParaRPr lang="en-US"/>
          </a:p>
        </p:txBody>
      </p:sp>
      <p:sp>
        <p:nvSpPr>
          <p:cNvPr id="5" name="Footer Placeholder 4"/>
          <p:cNvSpPr>
            <a:spLocks noGrp="1"/>
          </p:cNvSpPr>
          <p:nvPr>
            <p:ph type="ftr" sz="quarter" idx="11"/>
          </p:nvPr>
        </p:nvSpPr>
        <p:spPr>
          <a:xfrm>
            <a:off x="3331845" y="6356352"/>
            <a:ext cx="339471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91393B01-7800-434A-B836-B3320A3476BB}" type="slidenum">
              <a:rPr lang="en-US" smtClean="0"/>
              <a:pPr/>
              <a:t>‹#›</a:t>
            </a:fld>
            <a:endParaRPr lang="en-US"/>
          </a:p>
        </p:txBody>
      </p:sp>
    </p:spTree>
    <p:extLst>
      <p:ext uri="{BB962C8B-B14F-4D97-AF65-F5344CB8AC3E}">
        <p14:creationId xmlns:p14="http://schemas.microsoft.com/office/powerpoint/2010/main" val="21415221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198" y="1825625"/>
            <a:ext cx="4509137"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92064" y="1825625"/>
            <a:ext cx="4509133"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a:xfrm>
            <a:off x="691515" y="6356352"/>
            <a:ext cx="2263140" cy="365125"/>
          </a:xfrm>
          <a:prstGeom prst="rect">
            <a:avLst/>
          </a:prstGeom>
        </p:spPr>
        <p:txBody>
          <a:bodyPr/>
          <a:lstStyle/>
          <a:p>
            <a:fld id="{D1B661C2-BE5F-42F9-A000-44FCDDCB5C5D}" type="datetime1">
              <a:rPr lang="en-US" smtClean="0"/>
              <a:t>9/18/2017</a:t>
            </a:fld>
            <a:endParaRPr lang="en-US"/>
          </a:p>
        </p:txBody>
      </p:sp>
      <p:sp>
        <p:nvSpPr>
          <p:cNvPr id="6" name="Footer Placeholder 5"/>
          <p:cNvSpPr>
            <a:spLocks noGrp="1"/>
          </p:cNvSpPr>
          <p:nvPr>
            <p:ph type="ftr" sz="quarter" idx="11"/>
          </p:nvPr>
        </p:nvSpPr>
        <p:spPr>
          <a:xfrm>
            <a:off x="3331845" y="6356352"/>
            <a:ext cx="339471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91393B01-7800-434A-B836-B3320A3476BB}" type="slidenum">
              <a:rPr lang="en-US" smtClean="0"/>
              <a:pPr/>
              <a:t>‹#›</a:t>
            </a:fld>
            <a:endParaRPr lang="en-US"/>
          </a:p>
        </p:txBody>
      </p:sp>
    </p:spTree>
    <p:extLst>
      <p:ext uri="{BB962C8B-B14F-4D97-AF65-F5344CB8AC3E}">
        <p14:creationId xmlns:p14="http://schemas.microsoft.com/office/powerpoint/2010/main" val="37258494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91515" y="6356352"/>
            <a:ext cx="2263140" cy="365125"/>
          </a:xfrm>
          <a:prstGeom prst="rect">
            <a:avLst/>
          </a:prstGeom>
        </p:spPr>
        <p:txBody>
          <a:bodyPr/>
          <a:lstStyle/>
          <a:p>
            <a:fld id="{2AA0F684-E509-44CE-9953-5761DF88AB48}" type="datetime1">
              <a:rPr lang="en-US" smtClean="0"/>
              <a:t>9/18/2017</a:t>
            </a:fld>
            <a:endParaRPr lang="en-US"/>
          </a:p>
        </p:txBody>
      </p:sp>
      <p:sp>
        <p:nvSpPr>
          <p:cNvPr id="4" name="Footer Placeholder 3"/>
          <p:cNvSpPr>
            <a:spLocks noGrp="1"/>
          </p:cNvSpPr>
          <p:nvPr>
            <p:ph type="ftr" sz="quarter" idx="11"/>
          </p:nvPr>
        </p:nvSpPr>
        <p:spPr>
          <a:xfrm>
            <a:off x="3331845" y="6356352"/>
            <a:ext cx="3394710" cy="365125"/>
          </a:xfrm>
          <a:prstGeom prst="rect">
            <a:avLst/>
          </a:prstGeom>
        </p:spPr>
        <p:txBody>
          <a:bodyPr/>
          <a:lstStyle/>
          <a:p>
            <a:endParaRPr lang="en-US"/>
          </a:p>
        </p:txBody>
      </p:sp>
      <p:sp>
        <p:nvSpPr>
          <p:cNvPr id="5" name="Slide Number Placeholder 4"/>
          <p:cNvSpPr>
            <a:spLocks noGrp="1"/>
          </p:cNvSpPr>
          <p:nvPr>
            <p:ph type="sldNum" sz="quarter" idx="12"/>
          </p:nvPr>
        </p:nvSpPr>
        <p:spPr/>
        <p:txBody>
          <a:bodyPr/>
          <a:lstStyle/>
          <a:p>
            <a:fld id="{91393B01-7800-434A-B836-B3320A3476BB}" type="slidenum">
              <a:rPr lang="en-US" smtClean="0"/>
              <a:pPr/>
              <a:t>‹#›</a:t>
            </a:fld>
            <a:endParaRPr lang="en-US"/>
          </a:p>
        </p:txBody>
      </p:sp>
    </p:spTree>
    <p:extLst>
      <p:ext uri="{BB962C8B-B14F-4D97-AF65-F5344CB8AC3E}">
        <p14:creationId xmlns:p14="http://schemas.microsoft.com/office/powerpoint/2010/main" val="3876689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91515" y="6356352"/>
            <a:ext cx="2263140" cy="365125"/>
          </a:xfrm>
          <a:prstGeom prst="rect">
            <a:avLst/>
          </a:prstGeom>
        </p:spPr>
        <p:txBody>
          <a:bodyPr/>
          <a:lstStyle/>
          <a:p>
            <a:fld id="{03AE370E-0B45-4001-B22A-13F48A2BB1E9}" type="datetime1">
              <a:rPr lang="en-US" smtClean="0"/>
              <a:t>9/18/2017</a:t>
            </a:fld>
            <a:endParaRPr lang="en-US" dirty="0"/>
          </a:p>
        </p:txBody>
      </p:sp>
      <p:sp>
        <p:nvSpPr>
          <p:cNvPr id="3" name="Footer Placeholder 2"/>
          <p:cNvSpPr>
            <a:spLocks noGrp="1"/>
          </p:cNvSpPr>
          <p:nvPr>
            <p:ph type="ftr" sz="quarter" idx="11"/>
          </p:nvPr>
        </p:nvSpPr>
        <p:spPr>
          <a:xfrm>
            <a:off x="3331845" y="6356352"/>
            <a:ext cx="3394710" cy="365125"/>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91393B01-7800-434A-B836-B3320A3476BB}" type="slidenum">
              <a:rPr lang="en-US" smtClean="0"/>
              <a:pPr/>
              <a:t>‹#›</a:t>
            </a:fld>
            <a:endParaRPr lang="en-US"/>
          </a:p>
        </p:txBody>
      </p:sp>
    </p:spTree>
    <p:extLst>
      <p:ext uri="{BB962C8B-B14F-4D97-AF65-F5344CB8AC3E}">
        <p14:creationId xmlns:p14="http://schemas.microsoft.com/office/powerpoint/2010/main" val="3412364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198" y="1825625"/>
            <a:ext cx="4509137"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92064" y="1825625"/>
            <a:ext cx="4509133"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a:xfrm>
            <a:off x="691515" y="6356352"/>
            <a:ext cx="2263140" cy="365125"/>
          </a:xfrm>
          <a:prstGeom prst="rect">
            <a:avLst/>
          </a:prstGeom>
        </p:spPr>
        <p:txBody>
          <a:bodyPr/>
          <a:lstStyle/>
          <a:p>
            <a:fld id="{D1B661C2-BE5F-42F9-A000-44FCDDCB5C5D}" type="datetime1">
              <a:rPr lang="en-US" smtClean="0"/>
              <a:t>9/18/2017</a:t>
            </a:fld>
            <a:endParaRPr lang="en-US"/>
          </a:p>
        </p:txBody>
      </p:sp>
      <p:sp>
        <p:nvSpPr>
          <p:cNvPr id="6" name="Footer Placeholder 5"/>
          <p:cNvSpPr>
            <a:spLocks noGrp="1"/>
          </p:cNvSpPr>
          <p:nvPr>
            <p:ph type="ftr" sz="quarter" idx="11"/>
          </p:nvPr>
        </p:nvSpPr>
        <p:spPr>
          <a:xfrm>
            <a:off x="3331845" y="6356352"/>
            <a:ext cx="339471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91393B01-7800-434A-B836-B3320A3476BB}" type="slidenum">
              <a:rPr lang="en-US" smtClean="0"/>
              <a:pPr/>
              <a:t>‹#›</a:t>
            </a:fld>
            <a:endParaRPr lang="en-US"/>
          </a:p>
        </p:txBody>
      </p:sp>
    </p:spTree>
    <p:extLst>
      <p:ext uri="{BB962C8B-B14F-4D97-AF65-F5344CB8AC3E}">
        <p14:creationId xmlns:p14="http://schemas.microsoft.com/office/powerpoint/2010/main" val="15871194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91515" y="6356352"/>
            <a:ext cx="2263140" cy="365125"/>
          </a:xfrm>
          <a:prstGeom prst="rect">
            <a:avLst/>
          </a:prstGeom>
        </p:spPr>
        <p:txBody>
          <a:bodyPr/>
          <a:lstStyle/>
          <a:p>
            <a:fld id="{2AA0F684-E509-44CE-9953-5761DF88AB48}" type="datetime1">
              <a:rPr lang="en-US" smtClean="0"/>
              <a:t>9/18/2017</a:t>
            </a:fld>
            <a:endParaRPr lang="en-US"/>
          </a:p>
        </p:txBody>
      </p:sp>
      <p:sp>
        <p:nvSpPr>
          <p:cNvPr id="4" name="Footer Placeholder 3"/>
          <p:cNvSpPr>
            <a:spLocks noGrp="1"/>
          </p:cNvSpPr>
          <p:nvPr>
            <p:ph type="ftr" sz="quarter" idx="11"/>
          </p:nvPr>
        </p:nvSpPr>
        <p:spPr>
          <a:xfrm>
            <a:off x="3331845" y="6356352"/>
            <a:ext cx="3394710" cy="365125"/>
          </a:xfrm>
          <a:prstGeom prst="rect">
            <a:avLst/>
          </a:prstGeom>
        </p:spPr>
        <p:txBody>
          <a:bodyPr/>
          <a:lstStyle/>
          <a:p>
            <a:endParaRPr lang="en-US"/>
          </a:p>
        </p:txBody>
      </p:sp>
      <p:sp>
        <p:nvSpPr>
          <p:cNvPr id="5" name="Slide Number Placeholder 4"/>
          <p:cNvSpPr>
            <a:spLocks noGrp="1"/>
          </p:cNvSpPr>
          <p:nvPr>
            <p:ph type="sldNum" sz="quarter" idx="12"/>
          </p:nvPr>
        </p:nvSpPr>
        <p:spPr/>
        <p:txBody>
          <a:bodyPr/>
          <a:lstStyle/>
          <a:p>
            <a:fld id="{91393B01-7800-434A-B836-B3320A3476BB}" type="slidenum">
              <a:rPr lang="en-US" smtClean="0"/>
              <a:pPr/>
              <a:t>‹#›</a:t>
            </a:fld>
            <a:endParaRPr lang="en-US"/>
          </a:p>
        </p:txBody>
      </p:sp>
    </p:spTree>
    <p:extLst>
      <p:ext uri="{BB962C8B-B14F-4D97-AF65-F5344CB8AC3E}">
        <p14:creationId xmlns:p14="http://schemas.microsoft.com/office/powerpoint/2010/main" val="3346608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91515" y="6356352"/>
            <a:ext cx="2263140" cy="365125"/>
          </a:xfrm>
          <a:prstGeom prst="rect">
            <a:avLst/>
          </a:prstGeom>
        </p:spPr>
        <p:txBody>
          <a:bodyPr/>
          <a:lstStyle/>
          <a:p>
            <a:fld id="{03AE370E-0B45-4001-B22A-13F48A2BB1E9}" type="datetime1">
              <a:rPr lang="en-US" smtClean="0"/>
              <a:t>9/18/2017</a:t>
            </a:fld>
            <a:endParaRPr lang="en-US"/>
          </a:p>
        </p:txBody>
      </p:sp>
      <p:sp>
        <p:nvSpPr>
          <p:cNvPr id="3" name="Footer Placeholder 2"/>
          <p:cNvSpPr>
            <a:spLocks noGrp="1"/>
          </p:cNvSpPr>
          <p:nvPr>
            <p:ph type="ftr" sz="quarter" idx="11"/>
          </p:nvPr>
        </p:nvSpPr>
        <p:spPr>
          <a:xfrm>
            <a:off x="3331845" y="6356352"/>
            <a:ext cx="3394710" cy="365125"/>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91393B01-7800-434A-B836-B3320A3476BB}" type="slidenum">
              <a:rPr lang="en-US" smtClean="0"/>
              <a:pPr/>
              <a:t>‹#›</a:t>
            </a:fld>
            <a:endParaRPr lang="en-US"/>
          </a:p>
        </p:txBody>
      </p:sp>
    </p:spTree>
    <p:extLst>
      <p:ext uri="{BB962C8B-B14F-4D97-AF65-F5344CB8AC3E}">
        <p14:creationId xmlns:p14="http://schemas.microsoft.com/office/powerpoint/2010/main" val="3859067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740" y="137160"/>
            <a:ext cx="9052560" cy="859536"/>
          </a:xfrm>
        </p:spPr>
        <p:txBody>
          <a:bodyPr/>
          <a:lstStyle/>
          <a:p>
            <a:r>
              <a:rPr lang="en-US" dirty="0"/>
              <a:t>Click to edit Master title style</a:t>
            </a:r>
          </a:p>
        </p:txBody>
      </p:sp>
      <p:sp>
        <p:nvSpPr>
          <p:cNvPr id="3" name="Content Placeholder 2"/>
          <p:cNvSpPr>
            <a:spLocks noGrp="1"/>
          </p:cNvSpPr>
          <p:nvPr>
            <p:ph idx="1"/>
          </p:nvPr>
        </p:nvSpPr>
        <p:spPr/>
        <p:txBody>
          <a:bodyPr/>
          <a:lstStyle>
            <a:lvl1pPr>
              <a:defRPr sz="1800"/>
            </a:lvl1pPr>
            <a:lvl2pPr>
              <a:defRPr sz="1800"/>
            </a:lvl2pPr>
            <a:lvl3pPr>
              <a:defRPr sz="18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0"/>
          </p:nvPr>
        </p:nvSpPr>
        <p:spPr>
          <a:xfrm>
            <a:off x="586740" y="1066800"/>
            <a:ext cx="9052560" cy="457200"/>
          </a:xfrm>
        </p:spPr>
        <p:txBody>
          <a:bodyPr/>
          <a:lstStyle>
            <a:lvl1pPr marL="0" marR="0" indent="0" algn="l" defTabSz="914400" rtl="0" eaLnBrk="0" fontAlgn="base" latinLnBrk="0" hangingPunct="0">
              <a:lnSpc>
                <a:spcPct val="100000"/>
              </a:lnSpc>
              <a:spcBef>
                <a:spcPct val="30000"/>
              </a:spcBef>
              <a:spcAft>
                <a:spcPct val="0"/>
              </a:spcAft>
              <a:buClr>
                <a:srgbClr val="000000"/>
              </a:buClr>
              <a:buSzPct val="100000"/>
              <a:buFontTx/>
              <a:buNone/>
              <a:tabLst/>
              <a:defRPr sz="2000"/>
            </a:lvl1pPr>
          </a:lstStyle>
          <a:p>
            <a:pPr lvl="0"/>
            <a:r>
              <a:rPr lang="en-US" dirty="0"/>
              <a:t>Click to edit Master text styles</a:t>
            </a:r>
          </a:p>
        </p:txBody>
      </p:sp>
    </p:spTree>
    <p:extLst>
      <p:ext uri="{BB962C8B-B14F-4D97-AF65-F5344CB8AC3E}">
        <p14:creationId xmlns:p14="http://schemas.microsoft.com/office/powerpoint/2010/main" val="42431203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2" name="Rectangle à coins arrondis 14"/>
          <p:cNvSpPr/>
          <p:nvPr userDrawn="1"/>
        </p:nvSpPr>
        <p:spPr>
          <a:xfrm>
            <a:off x="496916" y="6336276"/>
            <a:ext cx="2490357" cy="21499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6"/>
          </a:p>
        </p:txBody>
      </p:sp>
      <p:sp>
        <p:nvSpPr>
          <p:cNvPr id="14" name="ZoneTexte 11"/>
          <p:cNvSpPr txBox="1"/>
          <p:nvPr userDrawn="1"/>
        </p:nvSpPr>
        <p:spPr>
          <a:xfrm>
            <a:off x="553733" y="6307303"/>
            <a:ext cx="6151867" cy="260199"/>
          </a:xfrm>
          <a:prstGeom prst="rect">
            <a:avLst/>
          </a:prstGeom>
          <a:noFill/>
        </p:spPr>
        <p:txBody>
          <a:bodyPr wrap="square" rtlCol="0">
            <a:spAutoFit/>
          </a:bodyPr>
          <a:lstStyle/>
          <a:p>
            <a:pPr marL="0" marR="0" indent="0" algn="l" defTabSz="831281" rtl="0" eaLnBrk="1" fontAlgn="auto" latinLnBrk="0" hangingPunct="1">
              <a:lnSpc>
                <a:spcPct val="100000"/>
              </a:lnSpc>
              <a:spcBef>
                <a:spcPts val="0"/>
              </a:spcBef>
              <a:spcAft>
                <a:spcPts val="0"/>
              </a:spcAft>
              <a:buClrTx/>
              <a:buSzTx/>
              <a:buFontTx/>
              <a:buNone/>
              <a:tabLst/>
              <a:defRPr/>
            </a:pPr>
            <a:r>
              <a:rPr lang="en-US" sz="1091" dirty="0" err="1">
                <a:solidFill>
                  <a:schemeClr val="bg1"/>
                </a:solidFill>
                <a:latin typeface="Century Gothic" pitchFamily="34" charset="0"/>
              </a:rPr>
              <a:t>BiotHAIRapy</a:t>
            </a:r>
            <a:r>
              <a:rPr lang="en-US" sz="1091" dirty="0">
                <a:solidFill>
                  <a:schemeClr val="bg1"/>
                </a:solidFill>
                <a:latin typeface="Century Gothic" pitchFamily="34" charset="0"/>
              </a:rPr>
              <a:t>                                    </a:t>
            </a:r>
            <a:r>
              <a:rPr lang="en-US" sz="1091" dirty="0">
                <a:solidFill>
                  <a:srgbClr val="95D609"/>
                </a:solidFill>
                <a:latin typeface="Century Gothic" pitchFamily="34" charset="0"/>
              </a:rPr>
              <a:t>• </a:t>
            </a:r>
            <a:r>
              <a:rPr lang="en-US" sz="1091" dirty="0">
                <a:solidFill>
                  <a:schemeClr val="accent3"/>
                </a:solidFill>
                <a:latin typeface="Century Gothic" pitchFamily="34" charset="0"/>
              </a:rPr>
              <a:t>Page </a:t>
            </a:r>
            <a:fld id="{91393B01-7800-434A-B836-B3320A3476BB}" type="slidenum">
              <a:rPr lang="en-US" sz="1091" smtClean="0">
                <a:solidFill>
                  <a:schemeClr val="accent3"/>
                </a:solidFill>
                <a:latin typeface="Century Gothic" pitchFamily="34" charset="0"/>
              </a:rPr>
              <a:pPr marL="0" marR="0" indent="0" algn="l" defTabSz="831281" rtl="0" eaLnBrk="1" fontAlgn="auto" latinLnBrk="0" hangingPunct="1">
                <a:lnSpc>
                  <a:spcPct val="100000"/>
                </a:lnSpc>
                <a:spcBef>
                  <a:spcPts val="0"/>
                </a:spcBef>
                <a:spcAft>
                  <a:spcPts val="0"/>
                </a:spcAft>
                <a:buClrTx/>
                <a:buSzTx/>
                <a:buFontTx/>
                <a:buNone/>
                <a:tabLst/>
                <a:defRPr/>
              </a:pPr>
              <a:t>‹#›</a:t>
            </a:fld>
            <a:endParaRPr lang="en-GB" sz="1636" dirty="0"/>
          </a:p>
        </p:txBody>
      </p:sp>
    </p:spTree>
    <p:extLst>
      <p:ext uri="{BB962C8B-B14F-4D97-AF65-F5344CB8AC3E}">
        <p14:creationId xmlns:p14="http://schemas.microsoft.com/office/powerpoint/2010/main" val="2314026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Rectangle à coins arrondis 14"/>
          <p:cNvSpPr/>
          <p:nvPr userDrawn="1"/>
        </p:nvSpPr>
        <p:spPr>
          <a:xfrm>
            <a:off x="496916" y="6336276"/>
            <a:ext cx="2490357" cy="21499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6"/>
          </a:p>
        </p:txBody>
      </p:sp>
      <p:sp>
        <p:nvSpPr>
          <p:cNvPr id="14" name="ZoneTexte 11"/>
          <p:cNvSpPr txBox="1"/>
          <p:nvPr userDrawn="1"/>
        </p:nvSpPr>
        <p:spPr>
          <a:xfrm>
            <a:off x="553733" y="6307303"/>
            <a:ext cx="6151867" cy="260199"/>
          </a:xfrm>
          <a:prstGeom prst="rect">
            <a:avLst/>
          </a:prstGeom>
          <a:noFill/>
        </p:spPr>
        <p:txBody>
          <a:bodyPr wrap="square" rtlCol="0">
            <a:spAutoFit/>
          </a:bodyPr>
          <a:lstStyle/>
          <a:p>
            <a:pPr marL="0" marR="0" indent="0" algn="l" defTabSz="831281" rtl="0" eaLnBrk="1" fontAlgn="auto" latinLnBrk="0" hangingPunct="1">
              <a:lnSpc>
                <a:spcPct val="100000"/>
              </a:lnSpc>
              <a:spcBef>
                <a:spcPts val="0"/>
              </a:spcBef>
              <a:spcAft>
                <a:spcPts val="0"/>
              </a:spcAft>
              <a:buClrTx/>
              <a:buSzTx/>
              <a:buFontTx/>
              <a:buNone/>
              <a:tabLst/>
              <a:defRPr/>
            </a:pPr>
            <a:r>
              <a:rPr lang="en-US" sz="1091" dirty="0" err="1">
                <a:solidFill>
                  <a:schemeClr val="bg1"/>
                </a:solidFill>
                <a:latin typeface="Century Gothic" pitchFamily="34" charset="0"/>
              </a:rPr>
              <a:t>BiotHAIRapy</a:t>
            </a:r>
            <a:r>
              <a:rPr lang="en-US" sz="1091" dirty="0">
                <a:solidFill>
                  <a:schemeClr val="bg1"/>
                </a:solidFill>
                <a:latin typeface="Century Gothic" pitchFamily="34" charset="0"/>
              </a:rPr>
              <a:t>                                    </a:t>
            </a:r>
            <a:r>
              <a:rPr lang="en-US" sz="1091" dirty="0">
                <a:solidFill>
                  <a:srgbClr val="95D609"/>
                </a:solidFill>
                <a:latin typeface="Century Gothic" pitchFamily="34" charset="0"/>
              </a:rPr>
              <a:t>• </a:t>
            </a:r>
            <a:r>
              <a:rPr lang="en-US" sz="1091" dirty="0">
                <a:solidFill>
                  <a:schemeClr val="accent3"/>
                </a:solidFill>
                <a:latin typeface="Century Gothic" pitchFamily="34" charset="0"/>
              </a:rPr>
              <a:t>Page </a:t>
            </a:r>
            <a:fld id="{91393B01-7800-434A-B836-B3320A3476BB}" type="slidenum">
              <a:rPr lang="en-US" sz="1091" smtClean="0">
                <a:solidFill>
                  <a:schemeClr val="accent3"/>
                </a:solidFill>
                <a:latin typeface="Century Gothic" pitchFamily="34" charset="0"/>
              </a:rPr>
              <a:pPr marL="0" marR="0" indent="0" algn="l" defTabSz="831281" rtl="0" eaLnBrk="1" fontAlgn="auto" latinLnBrk="0" hangingPunct="1">
                <a:lnSpc>
                  <a:spcPct val="100000"/>
                </a:lnSpc>
                <a:spcBef>
                  <a:spcPts val="0"/>
                </a:spcBef>
                <a:spcAft>
                  <a:spcPts val="0"/>
                </a:spcAft>
                <a:buClrTx/>
                <a:buSzTx/>
                <a:buFontTx/>
                <a:buNone/>
                <a:tabLst/>
                <a:defRPr/>
              </a:pPr>
              <a:t>‹#›</a:t>
            </a:fld>
            <a:endParaRPr lang="en-GB" sz="1636" dirty="0"/>
          </a:p>
        </p:txBody>
      </p:sp>
    </p:spTree>
    <p:extLst>
      <p:ext uri="{BB962C8B-B14F-4D97-AF65-F5344CB8AC3E}">
        <p14:creationId xmlns:p14="http://schemas.microsoft.com/office/powerpoint/2010/main" val="2812930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Rectangle à coins arrondis 14"/>
          <p:cNvSpPr/>
          <p:nvPr userDrawn="1"/>
        </p:nvSpPr>
        <p:spPr>
          <a:xfrm>
            <a:off x="496916" y="6336276"/>
            <a:ext cx="2490357" cy="21499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6"/>
          </a:p>
        </p:txBody>
      </p:sp>
      <p:sp>
        <p:nvSpPr>
          <p:cNvPr id="14" name="ZoneTexte 11"/>
          <p:cNvSpPr txBox="1"/>
          <p:nvPr userDrawn="1"/>
        </p:nvSpPr>
        <p:spPr>
          <a:xfrm>
            <a:off x="553733" y="6307303"/>
            <a:ext cx="6151867" cy="260199"/>
          </a:xfrm>
          <a:prstGeom prst="rect">
            <a:avLst/>
          </a:prstGeom>
          <a:noFill/>
        </p:spPr>
        <p:txBody>
          <a:bodyPr wrap="square" rtlCol="0">
            <a:spAutoFit/>
          </a:bodyPr>
          <a:lstStyle/>
          <a:p>
            <a:pPr marL="0" marR="0" indent="0" algn="l" defTabSz="831281" rtl="0" eaLnBrk="1" fontAlgn="auto" latinLnBrk="0" hangingPunct="1">
              <a:lnSpc>
                <a:spcPct val="100000"/>
              </a:lnSpc>
              <a:spcBef>
                <a:spcPts val="0"/>
              </a:spcBef>
              <a:spcAft>
                <a:spcPts val="0"/>
              </a:spcAft>
              <a:buClrTx/>
              <a:buSzTx/>
              <a:buFontTx/>
              <a:buNone/>
              <a:tabLst/>
              <a:defRPr/>
            </a:pPr>
            <a:r>
              <a:rPr lang="en-US" sz="1091" dirty="0" err="1">
                <a:solidFill>
                  <a:schemeClr val="bg1"/>
                </a:solidFill>
                <a:latin typeface="Century Gothic" pitchFamily="34" charset="0"/>
              </a:rPr>
              <a:t>BiotHAIRapy</a:t>
            </a:r>
            <a:r>
              <a:rPr lang="en-US" sz="1091" dirty="0">
                <a:solidFill>
                  <a:schemeClr val="bg1"/>
                </a:solidFill>
                <a:latin typeface="Century Gothic" pitchFamily="34" charset="0"/>
              </a:rPr>
              <a:t>                                    </a:t>
            </a:r>
            <a:r>
              <a:rPr lang="en-US" sz="1091" dirty="0">
                <a:solidFill>
                  <a:srgbClr val="95D609"/>
                </a:solidFill>
                <a:latin typeface="Century Gothic" pitchFamily="34" charset="0"/>
              </a:rPr>
              <a:t>• </a:t>
            </a:r>
            <a:r>
              <a:rPr lang="en-US" sz="1091" dirty="0">
                <a:solidFill>
                  <a:schemeClr val="accent3"/>
                </a:solidFill>
                <a:latin typeface="Century Gothic" pitchFamily="34" charset="0"/>
              </a:rPr>
              <a:t>Page </a:t>
            </a:r>
            <a:fld id="{91393B01-7800-434A-B836-B3320A3476BB}" type="slidenum">
              <a:rPr lang="en-US" sz="1091" smtClean="0">
                <a:solidFill>
                  <a:schemeClr val="accent3"/>
                </a:solidFill>
                <a:latin typeface="Century Gothic" pitchFamily="34" charset="0"/>
              </a:rPr>
              <a:pPr marL="0" marR="0" indent="0" algn="l" defTabSz="831281" rtl="0" eaLnBrk="1" fontAlgn="auto" latinLnBrk="0" hangingPunct="1">
                <a:lnSpc>
                  <a:spcPct val="100000"/>
                </a:lnSpc>
                <a:spcBef>
                  <a:spcPts val="0"/>
                </a:spcBef>
                <a:spcAft>
                  <a:spcPts val="0"/>
                </a:spcAft>
                <a:buClrTx/>
                <a:buSzTx/>
                <a:buFontTx/>
                <a:buNone/>
                <a:tabLst/>
                <a:defRPr/>
              </a:pPr>
              <a:t>‹#›</a:t>
            </a:fld>
            <a:endParaRPr lang="en-GB" sz="1636" dirty="0"/>
          </a:p>
        </p:txBody>
      </p:sp>
    </p:spTree>
    <p:extLst>
      <p:ext uri="{BB962C8B-B14F-4D97-AF65-F5344CB8AC3E}">
        <p14:creationId xmlns:p14="http://schemas.microsoft.com/office/powerpoint/2010/main" val="39090649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10" Type="http://schemas.openxmlformats.org/officeDocument/2006/relationships/image" Target="../media/image1.jpeg"/><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1.jpe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heme" Target="../theme/theme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762023" y="6137148"/>
            <a:ext cx="1740511" cy="548640"/>
          </a:xfrm>
          <a:prstGeom prst="rect">
            <a:avLst/>
          </a:prstGeom>
        </p:spPr>
      </p:pic>
      <p:sp>
        <p:nvSpPr>
          <p:cNvPr id="2" name="Title Placeholder 1"/>
          <p:cNvSpPr>
            <a:spLocks noGrp="1"/>
          </p:cNvSpPr>
          <p:nvPr>
            <p:ph type="title"/>
          </p:nvPr>
        </p:nvSpPr>
        <p:spPr>
          <a:xfrm>
            <a:off x="457198" y="102439"/>
            <a:ext cx="91440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198" y="1632218"/>
            <a:ext cx="9143999" cy="47241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94372" y="6270090"/>
            <a:ext cx="1137611" cy="365125"/>
          </a:xfrm>
          <a:prstGeom prst="rect">
            <a:avLst/>
          </a:prstGeom>
        </p:spPr>
        <p:txBody>
          <a:bodyPr vert="horz" lIns="91440" tIns="45720" rIns="91440" bIns="45720" rtlCol="0" anchor="ctr"/>
          <a:lstStyle>
            <a:lvl1pPr algn="l">
              <a:defRPr sz="1200" b="1">
                <a:solidFill>
                  <a:schemeClr val="bg1"/>
                </a:solidFill>
                <a:latin typeface="Arial" panose="020B0604020202020204" pitchFamily="34" charset="0"/>
                <a:cs typeface="Arial" panose="020B0604020202020204" pitchFamily="34" charset="0"/>
              </a:defRPr>
            </a:lvl1pPr>
          </a:lstStyle>
          <a:p>
            <a:r>
              <a:rPr lang="en-US" dirty="0"/>
              <a:t>/</a:t>
            </a:r>
            <a:fld id="{91393B01-7800-434A-B836-B3320A3476BB}" type="slidenum">
              <a:rPr lang="en-US" smtClean="0">
                <a:solidFill>
                  <a:schemeClr val="accent3"/>
                </a:solidFill>
              </a:rPr>
              <a:pPr/>
              <a:t>‹#›</a:t>
            </a:fld>
            <a:endParaRPr lang="en-US" dirty="0">
              <a:solidFill>
                <a:schemeClr val="accent3"/>
              </a:solidFill>
            </a:endParaRPr>
          </a:p>
        </p:txBody>
      </p:sp>
      <p:cxnSp>
        <p:nvCxnSpPr>
          <p:cNvPr id="11" name="Straight Connector 10"/>
          <p:cNvCxnSpPr/>
          <p:nvPr userDrawn="1"/>
        </p:nvCxnSpPr>
        <p:spPr>
          <a:xfrm>
            <a:off x="629728" y="1345721"/>
            <a:ext cx="802257"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5284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666" r:id="rId4"/>
    <p:sldLayoutId id="2147483667" r:id="rId5"/>
    <p:sldLayoutId id="2147483674" r:id="rId6"/>
    <p:sldLayoutId id="2147483684" r:id="rId7"/>
    <p:sldLayoutId id="2147483691" r:id="rId8"/>
    <p:sldLayoutId id="2147483692" r:id="rId9"/>
  </p:sldLayoutIdLst>
  <p:hf hdr="0" ftr="0" dt="0"/>
  <p:txStyles>
    <p:titleStyle>
      <a:lvl1pPr algn="l" defTabSz="914400" rtl="0" eaLnBrk="1" latinLnBrk="0" hangingPunct="1">
        <a:lnSpc>
          <a:spcPct val="90000"/>
        </a:lnSpc>
        <a:spcBef>
          <a:spcPct val="0"/>
        </a:spcBef>
        <a:buNone/>
        <a:defRPr sz="3600" kern="1200">
          <a:solidFill>
            <a:schemeClr val="accent3"/>
          </a:solidFill>
          <a:latin typeface="Arial" pitchFamily="34" charset="0"/>
          <a:ea typeface="+mj-ea"/>
          <a:cs typeface="Arial" pitchFamily="34" charset="0"/>
        </a:defRPr>
      </a:lvl1pPr>
    </p:titleStyle>
    <p:bodyStyle>
      <a:lvl1pPr marL="339725" indent="-339725" algn="l" defTabSz="914400" rtl="0" eaLnBrk="1" latinLnBrk="0" hangingPunct="1">
        <a:lnSpc>
          <a:spcPct val="90000"/>
        </a:lnSpc>
        <a:spcBef>
          <a:spcPts val="1000"/>
        </a:spcBef>
        <a:buClrTx/>
        <a:buFont typeface="Arial" pitchFamily="34" charset="0"/>
        <a:buChar char="−"/>
        <a:defRPr sz="2400" kern="1200">
          <a:solidFill>
            <a:schemeClr val="tx1">
              <a:lumMod val="50000"/>
              <a:lumOff val="50000"/>
            </a:schemeClr>
          </a:solidFill>
          <a:latin typeface="Arial" pitchFamily="34" charset="0"/>
          <a:ea typeface="+mn-ea"/>
          <a:cs typeface="Arial" pitchFamily="34" charset="0"/>
        </a:defRPr>
      </a:lvl1pPr>
      <a:lvl2pPr marL="339725" indent="-339725" algn="l" defTabSz="914400" rtl="0" eaLnBrk="1" latinLnBrk="0" hangingPunct="1">
        <a:lnSpc>
          <a:spcPct val="90000"/>
        </a:lnSpc>
        <a:spcBef>
          <a:spcPts val="500"/>
        </a:spcBef>
        <a:buClrTx/>
        <a:buFont typeface="Arial" pitchFamily="34" charset="0"/>
        <a:buChar char="−"/>
        <a:defRPr sz="2400" kern="1200">
          <a:solidFill>
            <a:schemeClr val="tx1">
              <a:lumMod val="50000"/>
              <a:lumOff val="50000"/>
            </a:schemeClr>
          </a:solidFill>
          <a:latin typeface="Arial" pitchFamily="34" charset="0"/>
          <a:ea typeface="+mn-ea"/>
          <a:cs typeface="Arial" pitchFamily="34" charset="0"/>
        </a:defRPr>
      </a:lvl2pPr>
      <a:lvl3pPr marL="339725" indent="-339725" algn="l" defTabSz="914400" rtl="0" eaLnBrk="1" latinLnBrk="0" hangingPunct="1">
        <a:lnSpc>
          <a:spcPct val="90000"/>
        </a:lnSpc>
        <a:spcBef>
          <a:spcPts val="500"/>
        </a:spcBef>
        <a:buClrTx/>
        <a:buFont typeface="Arial" pitchFamily="34" charset="0"/>
        <a:buChar char="−"/>
        <a:defRPr sz="2400" kern="1200">
          <a:solidFill>
            <a:schemeClr val="tx1">
              <a:lumMod val="50000"/>
              <a:lumOff val="50000"/>
            </a:schemeClr>
          </a:solidFill>
          <a:latin typeface="Arial" pitchFamily="34" charset="0"/>
          <a:ea typeface="+mn-ea"/>
          <a:cs typeface="Arial" pitchFamily="34" charset="0"/>
        </a:defRPr>
      </a:lvl3pPr>
      <a:lvl4pPr marL="339725" indent="-339725" algn="l" defTabSz="914400" rtl="0" eaLnBrk="1" latinLnBrk="0" hangingPunct="1">
        <a:lnSpc>
          <a:spcPct val="90000"/>
        </a:lnSpc>
        <a:spcBef>
          <a:spcPts val="500"/>
        </a:spcBef>
        <a:buClrTx/>
        <a:buFont typeface="Arial" pitchFamily="34" charset="0"/>
        <a:buChar char="−"/>
        <a:defRPr sz="2400" kern="1200">
          <a:solidFill>
            <a:schemeClr val="tx1">
              <a:lumMod val="50000"/>
              <a:lumOff val="50000"/>
            </a:schemeClr>
          </a:solidFill>
          <a:latin typeface="Arial" pitchFamily="34" charset="0"/>
          <a:ea typeface="+mn-ea"/>
          <a:cs typeface="Arial" pitchFamily="34" charset="0"/>
        </a:defRPr>
      </a:lvl4pPr>
      <a:lvl5pPr marL="339725" indent="-339725" algn="l" defTabSz="914400" rtl="0" eaLnBrk="1" latinLnBrk="0" hangingPunct="1">
        <a:lnSpc>
          <a:spcPct val="90000"/>
        </a:lnSpc>
        <a:spcBef>
          <a:spcPts val="500"/>
        </a:spcBef>
        <a:buClrTx/>
        <a:buFont typeface="Arial" pitchFamily="34" charset="0"/>
        <a:buChar char="−"/>
        <a:defRPr sz="2400" kern="1200">
          <a:solidFill>
            <a:schemeClr val="tx1">
              <a:lumMod val="50000"/>
              <a:lumOff val="50000"/>
            </a:schemeClr>
          </a:solidFill>
          <a:latin typeface="Arial" pitchFamily="34" charset="0"/>
          <a:ea typeface="+mn-ea"/>
          <a:cs typeface="Arial"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7762023" y="6137148"/>
            <a:ext cx="1740511" cy="548640"/>
          </a:xfrm>
          <a:prstGeom prst="rect">
            <a:avLst/>
          </a:prstGeom>
        </p:spPr>
      </p:pic>
      <p:sp>
        <p:nvSpPr>
          <p:cNvPr id="2" name="Title Placeholder 1"/>
          <p:cNvSpPr>
            <a:spLocks noGrp="1"/>
          </p:cNvSpPr>
          <p:nvPr>
            <p:ph type="title"/>
          </p:nvPr>
        </p:nvSpPr>
        <p:spPr>
          <a:xfrm>
            <a:off x="457198" y="102439"/>
            <a:ext cx="91440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198" y="1632218"/>
            <a:ext cx="9143999" cy="47241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94372" y="6270090"/>
            <a:ext cx="1137611" cy="365125"/>
          </a:xfrm>
          <a:prstGeom prst="rect">
            <a:avLst/>
          </a:prstGeom>
        </p:spPr>
        <p:txBody>
          <a:bodyPr vert="horz" lIns="91440" tIns="45720" rIns="91440" bIns="45720" rtlCol="0" anchor="ctr"/>
          <a:lstStyle>
            <a:lvl1pPr algn="l">
              <a:defRPr sz="1200" b="1">
                <a:solidFill>
                  <a:schemeClr val="bg1"/>
                </a:solidFill>
                <a:latin typeface="Arial" panose="020B0604020202020204" pitchFamily="34" charset="0"/>
                <a:cs typeface="Arial" panose="020B0604020202020204" pitchFamily="34" charset="0"/>
              </a:defRPr>
            </a:lvl1pPr>
          </a:lstStyle>
          <a:p>
            <a:r>
              <a:rPr lang="en-US" dirty="0"/>
              <a:t>/</a:t>
            </a:r>
            <a:fld id="{91393B01-7800-434A-B836-B3320A3476BB}" type="slidenum">
              <a:rPr lang="en-US" smtClean="0">
                <a:solidFill>
                  <a:schemeClr val="accent3"/>
                </a:solidFill>
              </a:rPr>
              <a:pPr/>
              <a:t>‹#›</a:t>
            </a:fld>
            <a:endParaRPr lang="en-US" dirty="0">
              <a:solidFill>
                <a:schemeClr val="accent3"/>
              </a:solidFill>
            </a:endParaRPr>
          </a:p>
        </p:txBody>
      </p:sp>
      <p:cxnSp>
        <p:nvCxnSpPr>
          <p:cNvPr id="11" name="Straight Connector 10"/>
          <p:cNvCxnSpPr/>
          <p:nvPr userDrawn="1"/>
        </p:nvCxnSpPr>
        <p:spPr>
          <a:xfrm>
            <a:off x="629728" y="1345721"/>
            <a:ext cx="802257"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1211253"/>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Lst>
  <p:hf hdr="0" ftr="0" dt="0"/>
  <p:txStyles>
    <p:titleStyle>
      <a:lvl1pPr algn="l" defTabSz="914400" rtl="0" eaLnBrk="1" latinLnBrk="0" hangingPunct="1">
        <a:lnSpc>
          <a:spcPct val="90000"/>
        </a:lnSpc>
        <a:spcBef>
          <a:spcPct val="0"/>
        </a:spcBef>
        <a:buNone/>
        <a:defRPr sz="3400" kern="1200">
          <a:solidFill>
            <a:schemeClr val="accent3"/>
          </a:solidFill>
          <a:latin typeface="Century Gothic" panose="020B0502020202020204" pitchFamily="34" charset="0"/>
          <a:ea typeface="+mj-ea"/>
          <a:cs typeface="Arial" pitchFamily="34" charset="0"/>
        </a:defRPr>
      </a:lvl1pPr>
    </p:titleStyle>
    <p:bodyStyle>
      <a:lvl1pPr marL="339725" indent="-339725" algn="l" defTabSz="914400" rtl="0" eaLnBrk="1" latinLnBrk="0" hangingPunct="1">
        <a:lnSpc>
          <a:spcPct val="90000"/>
        </a:lnSpc>
        <a:spcBef>
          <a:spcPts val="1000"/>
        </a:spcBef>
        <a:buClrTx/>
        <a:buFont typeface="Arial" pitchFamily="34" charset="0"/>
        <a:buChar char="−"/>
        <a:defRPr sz="2400" kern="1200">
          <a:solidFill>
            <a:schemeClr val="tx1">
              <a:lumMod val="50000"/>
              <a:lumOff val="50000"/>
            </a:schemeClr>
          </a:solidFill>
          <a:latin typeface="Century Gothic" panose="020B0502020202020204" pitchFamily="34" charset="0"/>
          <a:ea typeface="+mn-ea"/>
          <a:cs typeface="Arial" pitchFamily="34" charset="0"/>
        </a:defRPr>
      </a:lvl1pPr>
      <a:lvl2pPr marL="339725" indent="-339725" algn="l" defTabSz="914400" rtl="0" eaLnBrk="1" latinLnBrk="0" hangingPunct="1">
        <a:lnSpc>
          <a:spcPct val="90000"/>
        </a:lnSpc>
        <a:spcBef>
          <a:spcPts val="500"/>
        </a:spcBef>
        <a:buClrTx/>
        <a:buFont typeface="Arial" pitchFamily="34" charset="0"/>
        <a:buChar char="−"/>
        <a:defRPr sz="2400" kern="1200">
          <a:solidFill>
            <a:schemeClr val="tx1">
              <a:lumMod val="50000"/>
              <a:lumOff val="50000"/>
            </a:schemeClr>
          </a:solidFill>
          <a:latin typeface="Century Gothic" panose="020B0502020202020204" pitchFamily="34" charset="0"/>
          <a:ea typeface="+mn-ea"/>
          <a:cs typeface="Arial" pitchFamily="34" charset="0"/>
        </a:defRPr>
      </a:lvl2pPr>
      <a:lvl3pPr marL="339725" indent="-339725" algn="l" defTabSz="914400" rtl="0" eaLnBrk="1" latinLnBrk="0" hangingPunct="1">
        <a:lnSpc>
          <a:spcPct val="90000"/>
        </a:lnSpc>
        <a:spcBef>
          <a:spcPts val="500"/>
        </a:spcBef>
        <a:buClrTx/>
        <a:buFont typeface="Arial" pitchFamily="34" charset="0"/>
        <a:buChar char="−"/>
        <a:defRPr sz="2400" kern="1200">
          <a:solidFill>
            <a:schemeClr val="tx1">
              <a:lumMod val="50000"/>
              <a:lumOff val="50000"/>
            </a:schemeClr>
          </a:solidFill>
          <a:latin typeface="Century Gothic" panose="020B0502020202020204" pitchFamily="34" charset="0"/>
          <a:ea typeface="+mn-ea"/>
          <a:cs typeface="Arial" pitchFamily="34" charset="0"/>
        </a:defRPr>
      </a:lvl3pPr>
      <a:lvl4pPr marL="339725" indent="-339725" algn="l" defTabSz="914400" rtl="0" eaLnBrk="1" latinLnBrk="0" hangingPunct="1">
        <a:lnSpc>
          <a:spcPct val="90000"/>
        </a:lnSpc>
        <a:spcBef>
          <a:spcPts val="500"/>
        </a:spcBef>
        <a:buClrTx/>
        <a:buFont typeface="Arial" pitchFamily="34" charset="0"/>
        <a:buChar char="−"/>
        <a:defRPr sz="2400" kern="1200">
          <a:solidFill>
            <a:schemeClr val="tx1">
              <a:lumMod val="50000"/>
              <a:lumOff val="50000"/>
            </a:schemeClr>
          </a:solidFill>
          <a:latin typeface="Century Gothic" panose="020B0502020202020204" pitchFamily="34" charset="0"/>
          <a:ea typeface="+mn-ea"/>
          <a:cs typeface="Arial" pitchFamily="34" charset="0"/>
        </a:defRPr>
      </a:lvl4pPr>
      <a:lvl5pPr marL="339725" indent="-339725" algn="l" defTabSz="914400" rtl="0" eaLnBrk="1" latinLnBrk="0" hangingPunct="1">
        <a:lnSpc>
          <a:spcPct val="90000"/>
        </a:lnSpc>
        <a:spcBef>
          <a:spcPts val="500"/>
        </a:spcBef>
        <a:buClrTx/>
        <a:buFont typeface="Arial" pitchFamily="34" charset="0"/>
        <a:buChar char="−"/>
        <a:defRPr sz="2400" kern="1200">
          <a:solidFill>
            <a:schemeClr val="tx1">
              <a:lumMod val="50000"/>
              <a:lumOff val="50000"/>
            </a:schemeClr>
          </a:solidFill>
          <a:latin typeface="Century Gothic" panose="020B0502020202020204" pitchFamily="34" charset="0"/>
          <a:ea typeface="+mn-ea"/>
          <a:cs typeface="Arial"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762023" y="6137148"/>
            <a:ext cx="1740511" cy="548640"/>
          </a:xfrm>
          <a:prstGeom prst="rect">
            <a:avLst/>
          </a:prstGeom>
        </p:spPr>
      </p:pic>
      <p:sp>
        <p:nvSpPr>
          <p:cNvPr id="2" name="Title Placeholder 1"/>
          <p:cNvSpPr>
            <a:spLocks noGrp="1"/>
          </p:cNvSpPr>
          <p:nvPr>
            <p:ph type="title"/>
          </p:nvPr>
        </p:nvSpPr>
        <p:spPr>
          <a:xfrm>
            <a:off x="457198" y="102439"/>
            <a:ext cx="91440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198" y="1632218"/>
            <a:ext cx="9143999" cy="47241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94372" y="6270090"/>
            <a:ext cx="1137611" cy="365125"/>
          </a:xfrm>
          <a:prstGeom prst="rect">
            <a:avLst/>
          </a:prstGeom>
        </p:spPr>
        <p:txBody>
          <a:bodyPr vert="horz" lIns="91440" tIns="45720" rIns="91440" bIns="45720" rtlCol="0" anchor="ctr"/>
          <a:lstStyle>
            <a:lvl1pPr algn="l">
              <a:defRPr sz="1200" b="1">
                <a:solidFill>
                  <a:schemeClr val="bg1"/>
                </a:solidFill>
                <a:latin typeface="Century Gothic Pro" panose="020B0502020202020204" pitchFamily="34" charset="0"/>
                <a:cs typeface="Arial" panose="020B0604020202020204" pitchFamily="34" charset="0"/>
              </a:defRPr>
            </a:lvl1pPr>
          </a:lstStyle>
          <a:p>
            <a:r>
              <a:rPr lang="en-US" dirty="0"/>
              <a:t>/</a:t>
            </a:r>
            <a:fld id="{91393B01-7800-434A-B836-B3320A3476BB}" type="slidenum">
              <a:rPr lang="en-US" smtClean="0">
                <a:solidFill>
                  <a:schemeClr val="accent3"/>
                </a:solidFill>
              </a:rPr>
              <a:pPr/>
              <a:t>‹#›</a:t>
            </a:fld>
            <a:endParaRPr lang="en-US" dirty="0">
              <a:solidFill>
                <a:schemeClr val="accent3"/>
              </a:solidFill>
            </a:endParaRPr>
          </a:p>
        </p:txBody>
      </p:sp>
      <p:cxnSp>
        <p:nvCxnSpPr>
          <p:cNvPr id="11" name="Straight Connector 10"/>
          <p:cNvCxnSpPr/>
          <p:nvPr userDrawn="1"/>
        </p:nvCxnSpPr>
        <p:spPr>
          <a:xfrm>
            <a:off x="629728" y="1345721"/>
            <a:ext cx="802257"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4952952"/>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Lst>
  <p:hf hdr="0" ftr="0" dt="0"/>
  <p:txStyles>
    <p:titleStyle>
      <a:lvl1pPr algn="l" defTabSz="914400" rtl="0" eaLnBrk="1" latinLnBrk="0" hangingPunct="1">
        <a:lnSpc>
          <a:spcPct val="90000"/>
        </a:lnSpc>
        <a:spcBef>
          <a:spcPct val="0"/>
        </a:spcBef>
        <a:buNone/>
        <a:defRPr sz="3200" kern="1200">
          <a:solidFill>
            <a:schemeClr val="accent3"/>
          </a:solidFill>
          <a:latin typeface="Century Gothic Pro" panose="020B0502020202020204" pitchFamily="34" charset="0"/>
          <a:ea typeface="+mj-ea"/>
          <a:cs typeface="Arial" pitchFamily="34" charset="0"/>
        </a:defRPr>
      </a:lvl1pPr>
    </p:titleStyle>
    <p:bodyStyle>
      <a:lvl1pPr marL="339725" indent="-339725" algn="l" defTabSz="914400" rtl="0" eaLnBrk="1" latinLnBrk="0" hangingPunct="1">
        <a:lnSpc>
          <a:spcPct val="90000"/>
        </a:lnSpc>
        <a:spcBef>
          <a:spcPts val="1000"/>
        </a:spcBef>
        <a:buClrTx/>
        <a:buFont typeface="Arial" pitchFamily="34" charset="0"/>
        <a:buChar char="−"/>
        <a:defRPr sz="2400" kern="1200">
          <a:solidFill>
            <a:schemeClr val="tx1">
              <a:lumMod val="50000"/>
              <a:lumOff val="50000"/>
            </a:schemeClr>
          </a:solidFill>
          <a:latin typeface="Century Gothic Pro" panose="020B0502020202020204" pitchFamily="34" charset="0"/>
          <a:ea typeface="+mn-ea"/>
          <a:cs typeface="Arial" pitchFamily="34" charset="0"/>
        </a:defRPr>
      </a:lvl1pPr>
      <a:lvl2pPr marL="339725" indent="-339725" algn="l" defTabSz="914400" rtl="0" eaLnBrk="1" latinLnBrk="0" hangingPunct="1">
        <a:lnSpc>
          <a:spcPct val="90000"/>
        </a:lnSpc>
        <a:spcBef>
          <a:spcPts val="500"/>
        </a:spcBef>
        <a:buClrTx/>
        <a:buFont typeface="Arial" pitchFamily="34" charset="0"/>
        <a:buChar char="−"/>
        <a:defRPr sz="2400" kern="1200">
          <a:solidFill>
            <a:schemeClr val="tx1">
              <a:lumMod val="50000"/>
              <a:lumOff val="50000"/>
            </a:schemeClr>
          </a:solidFill>
          <a:latin typeface="Century Gothic Pro" panose="020B0502020202020204" pitchFamily="34" charset="0"/>
          <a:ea typeface="+mn-ea"/>
          <a:cs typeface="Arial" pitchFamily="34" charset="0"/>
        </a:defRPr>
      </a:lvl2pPr>
      <a:lvl3pPr marL="339725" indent="-339725" algn="l" defTabSz="914400" rtl="0" eaLnBrk="1" latinLnBrk="0" hangingPunct="1">
        <a:lnSpc>
          <a:spcPct val="90000"/>
        </a:lnSpc>
        <a:spcBef>
          <a:spcPts val="500"/>
        </a:spcBef>
        <a:buClrTx/>
        <a:buFont typeface="Arial" pitchFamily="34" charset="0"/>
        <a:buChar char="−"/>
        <a:defRPr sz="2400" kern="1200">
          <a:solidFill>
            <a:schemeClr val="tx1">
              <a:lumMod val="50000"/>
              <a:lumOff val="50000"/>
            </a:schemeClr>
          </a:solidFill>
          <a:latin typeface="Century Gothic Pro" panose="020B0502020202020204" pitchFamily="34" charset="0"/>
          <a:ea typeface="+mn-ea"/>
          <a:cs typeface="Arial" pitchFamily="34" charset="0"/>
        </a:defRPr>
      </a:lvl3pPr>
      <a:lvl4pPr marL="339725" indent="-339725" algn="l" defTabSz="914400" rtl="0" eaLnBrk="1" latinLnBrk="0" hangingPunct="1">
        <a:lnSpc>
          <a:spcPct val="90000"/>
        </a:lnSpc>
        <a:spcBef>
          <a:spcPts val="500"/>
        </a:spcBef>
        <a:buClrTx/>
        <a:buFont typeface="Arial" pitchFamily="34" charset="0"/>
        <a:buChar char="−"/>
        <a:defRPr sz="2400" kern="1200">
          <a:solidFill>
            <a:schemeClr val="tx1">
              <a:lumMod val="50000"/>
              <a:lumOff val="50000"/>
            </a:schemeClr>
          </a:solidFill>
          <a:latin typeface="Century Gothic Pro" panose="020B0502020202020204" pitchFamily="34" charset="0"/>
          <a:ea typeface="+mn-ea"/>
          <a:cs typeface="Arial" pitchFamily="34" charset="0"/>
        </a:defRPr>
      </a:lvl4pPr>
      <a:lvl5pPr marL="339725" indent="-339725" algn="l" defTabSz="914400" rtl="0" eaLnBrk="1" latinLnBrk="0" hangingPunct="1">
        <a:lnSpc>
          <a:spcPct val="90000"/>
        </a:lnSpc>
        <a:spcBef>
          <a:spcPts val="500"/>
        </a:spcBef>
        <a:buClrTx/>
        <a:buFont typeface="Arial" pitchFamily="34" charset="0"/>
        <a:buChar char="−"/>
        <a:defRPr sz="2400" kern="1200">
          <a:solidFill>
            <a:schemeClr val="tx1">
              <a:lumMod val="50000"/>
              <a:lumOff val="50000"/>
            </a:schemeClr>
          </a:solidFill>
          <a:latin typeface="Century Gothic Pro" panose="020B0502020202020204" pitchFamily="34" charset="0"/>
          <a:ea typeface="+mn-ea"/>
          <a:cs typeface="Arial"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1.xml"/><Relationship Id="rId1" Type="http://schemas.openxmlformats.org/officeDocument/2006/relationships/vmlDrawing" Target="../drawings/vmlDrawing1.vml"/><Relationship Id="rId4" Type="http://schemas.openxmlformats.org/officeDocument/2006/relationships/image" Target="../media/image27.emf"/></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chart" Target="../charts/chart2.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36.wmf"/><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4.xml"/><Relationship Id="rId4" Type="http://schemas.openxmlformats.org/officeDocument/2006/relationships/image" Target="../media/image39.png"/></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vmlDrawing" Target="../drawings/vmlDrawing2.vml"/><Relationship Id="rId4" Type="http://schemas.openxmlformats.org/officeDocument/2006/relationships/image" Target="../media/image40.emf"/></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8.png"/><Relationship Id="rId11" Type="http://schemas.microsoft.com/office/2007/relationships/hdphoto" Target="../media/hdphoto1.wdp"/><Relationship Id="rId5" Type="http://schemas.openxmlformats.org/officeDocument/2006/relationships/image" Target="../media/image7.jpeg"/><Relationship Id="rId10" Type="http://schemas.openxmlformats.org/officeDocument/2006/relationships/image" Target="../media/image12.png"/><Relationship Id="rId4" Type="http://schemas.openxmlformats.org/officeDocument/2006/relationships/image" Target="../media/image6.jpeg"/><Relationship Id="rId9" Type="http://schemas.openxmlformats.org/officeDocument/2006/relationships/image" Target="../media/image11.jpeg"/></Relationships>
</file>

<file path=ppt/slides/_rels/slide5.xml.rels><?xml version="1.0" encoding="UTF-8" standalone="yes"?>
<Relationships xmlns="http://schemas.openxmlformats.org/package/2006/relationships"><Relationship Id="rId3" Type="http://schemas.openxmlformats.org/officeDocument/2006/relationships/slide" Target="slide11.xml"/><Relationship Id="rId7" Type="http://schemas.microsoft.com/office/2007/relationships/hdphoto" Target="../media/hdphoto1.wdp"/><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4.jpeg"/><Relationship Id="rId4" Type="http://schemas.openxmlformats.org/officeDocument/2006/relationships/image" Target="../media/image13.jpeg"/></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17.jpeg"/><Relationship Id="rId5" Type="http://schemas.openxmlformats.org/officeDocument/2006/relationships/image" Target="../media/image14.jpeg"/><Relationship Id="rId4" Type="http://schemas.openxmlformats.org/officeDocument/2006/relationships/image" Target="../media/image16.gif"/></Relationships>
</file>

<file path=ppt/slides/_rels/slide7.xml.rels><?xml version="1.0" encoding="UTF-8" standalone="yes"?>
<Relationships xmlns="http://schemas.openxmlformats.org/package/2006/relationships"><Relationship Id="rId8" Type="http://schemas.openxmlformats.org/officeDocument/2006/relationships/slide" Target="slide34.xml"/><Relationship Id="rId3" Type="http://schemas.openxmlformats.org/officeDocument/2006/relationships/slide" Target="slide33.xml"/><Relationship Id="rId7" Type="http://schemas.openxmlformats.org/officeDocument/2006/relationships/slide" Target="slide7.xml"/><Relationship Id="rId2" Type="http://schemas.openxmlformats.org/officeDocument/2006/relationships/image" Target="../media/image18.jpeg"/><Relationship Id="rId1" Type="http://schemas.openxmlformats.org/officeDocument/2006/relationships/slideLayout" Target="../slideLayouts/slideLayout9.xml"/><Relationship Id="rId6" Type="http://schemas.openxmlformats.org/officeDocument/2006/relationships/image" Target="../media/image21.jpeg"/><Relationship Id="rId5" Type="http://schemas.openxmlformats.org/officeDocument/2006/relationships/image" Target="../media/image20.jpeg"/><Relationship Id="rId10" Type="http://schemas.openxmlformats.org/officeDocument/2006/relationships/slide" Target="slide10.xml"/><Relationship Id="rId4" Type="http://schemas.openxmlformats.org/officeDocument/2006/relationships/image" Target="../media/image19.jpeg"/><Relationship Id="rId9" Type="http://schemas.openxmlformats.org/officeDocument/2006/relationships/slide" Target="slide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65331" y="1304894"/>
            <a:ext cx="6995426" cy="2161118"/>
          </a:xfrm>
        </p:spPr>
        <p:txBody>
          <a:bodyPr>
            <a:noAutofit/>
          </a:bodyPr>
          <a:lstStyle/>
          <a:p>
            <a:r>
              <a:rPr lang="ru-RU" dirty="0">
                <a:latin typeface="Century Gothic Pro" panose="020B0502020202020204" pitchFamily="34" charset="0"/>
              </a:rPr>
              <a:t>Новые сырьевые компоненты для средств по уходу за волосами от компании </a:t>
            </a:r>
            <a:r>
              <a:rPr lang="en-US" dirty="0">
                <a:latin typeface="Century Gothic Pro" panose="020B0502020202020204" pitchFamily="34" charset="0"/>
              </a:rPr>
              <a:t>Ashland</a:t>
            </a:r>
            <a:endParaRPr lang="en-GB" dirty="0">
              <a:latin typeface="Century Gothic Pro" panose="020B0502020202020204" pitchFamily="34" charset="0"/>
            </a:endParaRPr>
          </a:p>
        </p:txBody>
      </p:sp>
      <p:sp>
        <p:nvSpPr>
          <p:cNvPr id="3" name="Subtitle 2"/>
          <p:cNvSpPr>
            <a:spLocks noGrp="1"/>
          </p:cNvSpPr>
          <p:nvPr>
            <p:ph type="subTitle" idx="1"/>
          </p:nvPr>
        </p:nvSpPr>
        <p:spPr>
          <a:xfrm>
            <a:off x="865331" y="3933056"/>
            <a:ext cx="6858000" cy="1182660"/>
          </a:xfrm>
        </p:spPr>
        <p:txBody>
          <a:bodyPr>
            <a:normAutofit fontScale="62500" lnSpcReduction="20000"/>
          </a:bodyPr>
          <a:lstStyle/>
          <a:p>
            <a:r>
              <a:rPr lang="ru-RU" b="1" dirty="0">
                <a:latin typeface="Century Gothic" panose="020B0502020202020204" pitchFamily="34" charset="0"/>
              </a:rPr>
              <a:t>"</a:t>
            </a:r>
            <a:r>
              <a:rPr lang="en-US" b="1" dirty="0" err="1">
                <a:latin typeface="Century Gothic" panose="020B0502020202020204" pitchFamily="34" charset="0"/>
              </a:rPr>
              <a:t>BeautyTECH</a:t>
            </a:r>
            <a:r>
              <a:rPr lang="ru-RU" b="1" dirty="0">
                <a:latin typeface="Century Gothic" panose="020B0502020202020204" pitchFamily="34" charset="0"/>
              </a:rPr>
              <a:t>. Инновации в производстве: сырье и технологии"</a:t>
            </a:r>
            <a:endParaRPr lang="ru-RU" dirty="0">
              <a:latin typeface="Century Gothic" panose="020B0502020202020204" pitchFamily="34" charset="0"/>
            </a:endParaRPr>
          </a:p>
          <a:p>
            <a:r>
              <a:rPr lang="ru-RU" b="1" i="1" dirty="0">
                <a:latin typeface="Century Gothic" panose="020B0502020202020204" pitchFamily="34" charset="0"/>
              </a:rPr>
              <a:t>20-21 сентября 2017 года</a:t>
            </a:r>
            <a:endParaRPr lang="ru-RU" dirty="0">
              <a:latin typeface="Century Gothic" panose="020B0502020202020204" pitchFamily="34" charset="0"/>
            </a:endParaRPr>
          </a:p>
          <a:p>
            <a:r>
              <a:rPr lang="ru-RU" dirty="0">
                <a:latin typeface="Century Gothic" panose="020B0502020202020204" pitchFamily="34" charset="0"/>
              </a:rPr>
              <a:t>Огий Сергей Алексеевич, Руководитель направления, канд. хим. наук</a:t>
            </a:r>
          </a:p>
          <a:p>
            <a:endParaRPr lang="en-GB" sz="2000" dirty="0">
              <a:latin typeface="Century Gothic" panose="020B0502020202020204" pitchFamily="34" charset="0"/>
            </a:endParaRPr>
          </a:p>
          <a:p>
            <a:endParaRPr lang="en-GB" dirty="0">
              <a:latin typeface="Century Gothic" panose="020B0502020202020204" pitchFamily="34" charset="0"/>
            </a:endParaRPr>
          </a:p>
        </p:txBody>
      </p:sp>
    </p:spTree>
    <p:extLst>
      <p:ext uri="{BB962C8B-B14F-4D97-AF65-F5344CB8AC3E}">
        <p14:creationId xmlns:p14="http://schemas.microsoft.com/office/powerpoint/2010/main" val="761422239"/>
      </p:ext>
    </p:extLst>
  </p:cSld>
  <p:clrMapOvr>
    <a:masterClrMapping/>
  </p:clrMapOvr>
  <p:transition spd="med">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latin typeface="Century Gothic Pro" panose="020B0502020202020204" pitchFamily="34" charset="0"/>
              </a:rPr>
              <a:t>fiberHance™</a:t>
            </a:r>
            <a:r>
              <a:rPr lang="en-US" sz="3200" baseline="30000" dirty="0">
                <a:latin typeface="Century Gothic Pro" panose="020B0502020202020204" pitchFamily="34" charset="0"/>
              </a:rPr>
              <a:t> </a:t>
            </a:r>
            <a:r>
              <a:rPr lang="en-US" sz="3200" dirty="0">
                <a:latin typeface="Century Gothic Pro" panose="020B0502020202020204" pitchFamily="34" charset="0"/>
              </a:rPr>
              <a:t>bm solution - chemistry</a:t>
            </a:r>
          </a:p>
        </p:txBody>
      </p:sp>
      <p:sp>
        <p:nvSpPr>
          <p:cNvPr id="5" name="TextBox 4"/>
          <p:cNvSpPr txBox="1"/>
          <p:nvPr/>
        </p:nvSpPr>
        <p:spPr>
          <a:xfrm>
            <a:off x="377965" y="2219607"/>
            <a:ext cx="343063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a:ln>
                  <a:noFill/>
                </a:ln>
                <a:solidFill>
                  <a:srgbClr val="EEECE1">
                    <a:lumMod val="25000"/>
                  </a:srgbClr>
                </a:solidFill>
                <a:effectLst/>
                <a:uLnTx/>
                <a:uFillTx/>
                <a:latin typeface="Century Gothic" panose="020B0502020202020204" pitchFamily="34" charset="0"/>
                <a:ea typeface="+mn-ea"/>
                <a:cs typeface="+mn-cs"/>
              </a:rPr>
              <a:t>Химическая структура</a:t>
            </a:r>
            <a:endParaRPr kumimoji="0" lang="nl-NL" sz="1800" b="1" i="0" u="none" strike="noStrike" kern="1200" cap="none" spc="0" normalizeH="0" baseline="0" noProof="0" dirty="0">
              <a:ln>
                <a:noFill/>
              </a:ln>
              <a:solidFill>
                <a:srgbClr val="EEECE1">
                  <a:lumMod val="25000"/>
                </a:srgbClr>
              </a:solidFill>
              <a:effectLst/>
              <a:uLnTx/>
              <a:uFillTx/>
              <a:latin typeface="Century Gothic" panose="020B0502020202020204" pitchFamily="34" charset="0"/>
              <a:ea typeface="+mn-ea"/>
              <a:cs typeface="+mn-cs"/>
            </a:endParaRPr>
          </a:p>
        </p:txBody>
      </p:sp>
      <p:cxnSp>
        <p:nvCxnSpPr>
          <p:cNvPr id="9" name="Straight Connector 8"/>
          <p:cNvCxnSpPr/>
          <p:nvPr/>
        </p:nvCxnSpPr>
        <p:spPr>
          <a:xfrm>
            <a:off x="4617334" y="2225689"/>
            <a:ext cx="0" cy="3291840"/>
          </a:xfrm>
          <a:prstGeom prst="line">
            <a:avLst/>
          </a:prstGeom>
          <a:ln/>
        </p:spPr>
        <p:style>
          <a:lnRef idx="1">
            <a:schemeClr val="accent3"/>
          </a:lnRef>
          <a:fillRef idx="0">
            <a:schemeClr val="accent3"/>
          </a:fillRef>
          <a:effectRef idx="0">
            <a:schemeClr val="accent3"/>
          </a:effectRef>
          <a:fontRef idx="minor">
            <a:schemeClr val="tx1"/>
          </a:fontRef>
        </p:style>
      </p:cxnSp>
      <p:graphicFrame>
        <p:nvGraphicFramePr>
          <p:cNvPr id="10" name="Table 9"/>
          <p:cNvGraphicFramePr>
            <a:graphicFrameLocks noGrp="1"/>
          </p:cNvGraphicFramePr>
          <p:nvPr>
            <p:extLst>
              <p:ext uri="{D42A27DB-BD31-4B8C-83A1-F6EECF244321}">
                <p14:modId xmlns:p14="http://schemas.microsoft.com/office/powerpoint/2010/main" val="3733833043"/>
              </p:ext>
            </p:extLst>
          </p:nvPr>
        </p:nvGraphicFramePr>
        <p:xfrm>
          <a:off x="4897661" y="2694604"/>
          <a:ext cx="4946176" cy="2743200"/>
        </p:xfrm>
        <a:graphic>
          <a:graphicData uri="http://schemas.openxmlformats.org/drawingml/2006/table">
            <a:tbl>
              <a:tblPr firstRow="1" bandRow="1">
                <a:tableStyleId>{8799B23B-EC83-4686-B30A-512413B5E67A}</a:tableStyleId>
              </a:tblPr>
              <a:tblGrid>
                <a:gridCol w="3380003">
                  <a:extLst>
                    <a:ext uri="{9D8B030D-6E8A-4147-A177-3AD203B41FA5}">
                      <a16:colId xmlns:a16="http://schemas.microsoft.com/office/drawing/2014/main" xmlns="" val="20000"/>
                    </a:ext>
                  </a:extLst>
                </a:gridCol>
                <a:gridCol w="1566173">
                  <a:extLst>
                    <a:ext uri="{9D8B030D-6E8A-4147-A177-3AD203B41FA5}">
                      <a16:colId xmlns:a16="http://schemas.microsoft.com/office/drawing/2014/main" xmlns="" val="20001"/>
                    </a:ext>
                  </a:extLst>
                </a:gridCol>
              </a:tblGrid>
              <a:tr h="259080">
                <a:tc>
                  <a:txBody>
                    <a:bodyPr/>
                    <a:lstStyle/>
                    <a:p>
                      <a:r>
                        <a:rPr lang="ru-RU" sz="1600" dirty="0">
                          <a:solidFill>
                            <a:schemeClr val="tx1">
                              <a:lumMod val="50000"/>
                              <a:lumOff val="50000"/>
                            </a:schemeClr>
                          </a:solidFill>
                          <a:latin typeface="Century Gothic" panose="020B0502020202020204" pitchFamily="34" charset="0"/>
                        </a:rPr>
                        <a:t>свойства</a:t>
                      </a:r>
                      <a:endParaRPr lang="nl-NL" sz="1600" dirty="0">
                        <a:solidFill>
                          <a:schemeClr val="tx1">
                            <a:lumMod val="50000"/>
                            <a:lumOff val="50000"/>
                          </a:schemeClr>
                        </a:solidFill>
                        <a:latin typeface="Century Gothic" panose="020B0502020202020204" pitchFamily="34" charset="0"/>
                      </a:endParaRPr>
                    </a:p>
                  </a:txBody>
                  <a:tcPr/>
                </a:tc>
                <a:tc>
                  <a:txBody>
                    <a:bodyPr/>
                    <a:lstStyle/>
                    <a:p>
                      <a:r>
                        <a:rPr lang="ru-RU" sz="1600" dirty="0">
                          <a:solidFill>
                            <a:schemeClr val="tx1">
                              <a:lumMod val="50000"/>
                              <a:lumOff val="50000"/>
                            </a:schemeClr>
                          </a:solidFill>
                          <a:latin typeface="Century Gothic" panose="020B0502020202020204" pitchFamily="34" charset="0"/>
                        </a:rPr>
                        <a:t>показатели</a:t>
                      </a:r>
                      <a:endParaRPr lang="nl-NL" sz="1600" dirty="0">
                        <a:solidFill>
                          <a:schemeClr val="tx1">
                            <a:lumMod val="50000"/>
                            <a:lumOff val="50000"/>
                          </a:schemeClr>
                        </a:solidFill>
                        <a:latin typeface="Century Gothic" panose="020B0502020202020204" pitchFamily="34" charset="0"/>
                      </a:endParaRPr>
                    </a:p>
                  </a:txBody>
                  <a:tcPr/>
                </a:tc>
                <a:extLst>
                  <a:ext uri="{0D108BD9-81ED-4DB2-BD59-A6C34878D82A}">
                    <a16:rowId xmlns:a16="http://schemas.microsoft.com/office/drawing/2014/main" xmlns="" val="10000"/>
                  </a:ext>
                </a:extLst>
              </a:tr>
              <a:tr h="222673">
                <a:tc>
                  <a:txBody>
                    <a:bodyPr/>
                    <a:lstStyle/>
                    <a:p>
                      <a:r>
                        <a:rPr lang="ru-RU" sz="1600" dirty="0">
                          <a:solidFill>
                            <a:schemeClr val="tx1">
                              <a:lumMod val="50000"/>
                              <a:lumOff val="50000"/>
                            </a:schemeClr>
                          </a:solidFill>
                          <a:latin typeface="Century Gothic" panose="020B0502020202020204" pitchFamily="34" charset="0"/>
                        </a:rPr>
                        <a:t>Внешний вид</a:t>
                      </a:r>
                      <a:endParaRPr lang="nl-NL" sz="1600" dirty="0">
                        <a:solidFill>
                          <a:schemeClr val="tx1">
                            <a:lumMod val="50000"/>
                            <a:lumOff val="50000"/>
                          </a:schemeClr>
                        </a:solidFill>
                        <a:latin typeface="Century Gothic" panose="020B0502020202020204" pitchFamily="34" charset="0"/>
                      </a:endParaRPr>
                    </a:p>
                  </a:txBody>
                  <a:tcPr/>
                </a:tc>
                <a:tc>
                  <a:txBody>
                    <a:bodyPr/>
                    <a:lstStyle/>
                    <a:p>
                      <a:r>
                        <a:rPr lang="ru-RU" sz="1600" dirty="0">
                          <a:solidFill>
                            <a:schemeClr val="tx1">
                              <a:lumMod val="50000"/>
                              <a:lumOff val="50000"/>
                            </a:schemeClr>
                          </a:solidFill>
                          <a:latin typeface="Century Gothic" panose="020B0502020202020204" pitchFamily="34" charset="0"/>
                        </a:rPr>
                        <a:t>От прозрачного до бледного</a:t>
                      </a:r>
                      <a:endParaRPr lang="nl-NL" sz="1600" dirty="0">
                        <a:solidFill>
                          <a:schemeClr val="tx1">
                            <a:lumMod val="50000"/>
                            <a:lumOff val="50000"/>
                          </a:schemeClr>
                        </a:solidFill>
                        <a:latin typeface="Century Gothic" panose="020B0502020202020204" pitchFamily="34" charset="0"/>
                      </a:endParaRPr>
                    </a:p>
                  </a:txBody>
                  <a:tcPr/>
                </a:tc>
                <a:extLst>
                  <a:ext uri="{0D108BD9-81ED-4DB2-BD59-A6C34878D82A}">
                    <a16:rowId xmlns:a16="http://schemas.microsoft.com/office/drawing/2014/main" xmlns="" val="10001"/>
                  </a:ext>
                </a:extLst>
              </a:tr>
              <a:tr h="222673">
                <a:tc>
                  <a:txBody>
                    <a:bodyPr/>
                    <a:lstStyle/>
                    <a:p>
                      <a:r>
                        <a:rPr lang="ru-RU" sz="1600" dirty="0">
                          <a:solidFill>
                            <a:schemeClr val="tx1">
                              <a:lumMod val="50000"/>
                              <a:lumOff val="50000"/>
                            </a:schemeClr>
                          </a:solidFill>
                          <a:latin typeface="Century Gothic" panose="020B0502020202020204" pitchFamily="34" charset="0"/>
                        </a:rPr>
                        <a:t>запах</a:t>
                      </a:r>
                      <a:endParaRPr lang="nl-NL" sz="1600" dirty="0">
                        <a:solidFill>
                          <a:schemeClr val="tx1">
                            <a:lumMod val="50000"/>
                            <a:lumOff val="50000"/>
                          </a:schemeClr>
                        </a:solidFill>
                        <a:latin typeface="Century Gothic" panose="020B0502020202020204" pitchFamily="34" charset="0"/>
                      </a:endParaRPr>
                    </a:p>
                  </a:txBody>
                  <a:tcPr/>
                </a:tc>
                <a:tc>
                  <a:txBody>
                    <a:bodyPr/>
                    <a:lstStyle/>
                    <a:p>
                      <a:r>
                        <a:rPr lang="ru-RU" sz="1600" dirty="0">
                          <a:solidFill>
                            <a:schemeClr val="tx1">
                              <a:lumMod val="50000"/>
                              <a:lumOff val="50000"/>
                            </a:schemeClr>
                          </a:solidFill>
                          <a:latin typeface="Century Gothic" panose="020B0502020202020204" pitchFamily="34" charset="0"/>
                        </a:rPr>
                        <a:t>характерный</a:t>
                      </a:r>
                      <a:endParaRPr lang="nl-NL" sz="1600" dirty="0">
                        <a:solidFill>
                          <a:schemeClr val="tx1">
                            <a:lumMod val="50000"/>
                            <a:lumOff val="50000"/>
                          </a:schemeClr>
                        </a:solidFill>
                        <a:latin typeface="Century Gothic" panose="020B0502020202020204" pitchFamily="34" charset="0"/>
                      </a:endParaRPr>
                    </a:p>
                  </a:txBody>
                  <a:tcPr/>
                </a:tc>
                <a:extLst>
                  <a:ext uri="{0D108BD9-81ED-4DB2-BD59-A6C34878D82A}">
                    <a16:rowId xmlns:a16="http://schemas.microsoft.com/office/drawing/2014/main" xmlns="" val="10002"/>
                  </a:ext>
                </a:extLst>
              </a:tr>
              <a:tr h="222673">
                <a:tc>
                  <a:txBody>
                    <a:bodyPr/>
                    <a:lstStyle/>
                    <a:p>
                      <a:r>
                        <a:rPr lang="ru-RU" sz="1600" kern="1200" dirty="0">
                          <a:solidFill>
                            <a:schemeClr val="tx1">
                              <a:lumMod val="50000"/>
                              <a:lumOff val="50000"/>
                            </a:schemeClr>
                          </a:solidFill>
                          <a:latin typeface="Century Gothic" panose="020B0502020202020204" pitchFamily="34" charset="0"/>
                        </a:rPr>
                        <a:t>основной</a:t>
                      </a:r>
                      <a:r>
                        <a:rPr lang="ru-RU" sz="1600" kern="1200" baseline="0" dirty="0">
                          <a:solidFill>
                            <a:schemeClr val="tx1">
                              <a:lumMod val="50000"/>
                              <a:lumOff val="50000"/>
                            </a:schemeClr>
                          </a:solidFill>
                          <a:latin typeface="Century Gothic" panose="020B0502020202020204" pitchFamily="34" charset="0"/>
                        </a:rPr>
                        <a:t> компонент</a:t>
                      </a:r>
                      <a:r>
                        <a:rPr lang="en-US" sz="1600" kern="1200" dirty="0">
                          <a:solidFill>
                            <a:schemeClr val="tx1">
                              <a:lumMod val="50000"/>
                              <a:lumOff val="50000"/>
                            </a:schemeClr>
                          </a:solidFill>
                          <a:latin typeface="Century Gothic" panose="020B0502020202020204" pitchFamily="34" charset="0"/>
                        </a:rPr>
                        <a:t>,%</a:t>
                      </a:r>
                      <a:endParaRPr lang="nl-NL" sz="1600" dirty="0">
                        <a:solidFill>
                          <a:schemeClr val="tx1">
                            <a:lumMod val="50000"/>
                            <a:lumOff val="50000"/>
                          </a:schemeClr>
                        </a:solidFill>
                        <a:latin typeface="Century Gothic" panose="020B0502020202020204" pitchFamily="34" charset="0"/>
                      </a:endParaRPr>
                    </a:p>
                  </a:txBody>
                  <a:tcPr/>
                </a:tc>
                <a:tc>
                  <a:txBody>
                    <a:bodyPr/>
                    <a:lstStyle/>
                    <a:p>
                      <a:r>
                        <a:rPr lang="nl-NL" sz="1600" dirty="0">
                          <a:solidFill>
                            <a:schemeClr val="tx1">
                              <a:lumMod val="50000"/>
                              <a:lumOff val="50000"/>
                            </a:schemeClr>
                          </a:solidFill>
                          <a:latin typeface="Century Gothic" panose="020B0502020202020204" pitchFamily="34" charset="0"/>
                        </a:rPr>
                        <a:t>48 – 52</a:t>
                      </a:r>
                    </a:p>
                  </a:txBody>
                  <a:tcPr/>
                </a:tc>
                <a:extLst>
                  <a:ext uri="{0D108BD9-81ED-4DB2-BD59-A6C34878D82A}">
                    <a16:rowId xmlns:a16="http://schemas.microsoft.com/office/drawing/2014/main" xmlns="" val="10004"/>
                  </a:ext>
                </a:extLst>
              </a:tr>
              <a:tr h="222673">
                <a:tc>
                  <a:txBody>
                    <a:bodyPr/>
                    <a:lstStyle/>
                    <a:p>
                      <a:r>
                        <a:rPr lang="en-US" sz="1600" kern="1200" dirty="0">
                          <a:solidFill>
                            <a:schemeClr val="tx1">
                              <a:lumMod val="50000"/>
                              <a:lumOff val="50000"/>
                            </a:schemeClr>
                          </a:solidFill>
                          <a:latin typeface="Century Gothic" panose="020B0502020202020204" pitchFamily="34" charset="0"/>
                        </a:rPr>
                        <a:t>pH @ 25°C</a:t>
                      </a:r>
                      <a:endParaRPr lang="nl-NL" sz="1600" dirty="0">
                        <a:solidFill>
                          <a:schemeClr val="tx1">
                            <a:lumMod val="50000"/>
                            <a:lumOff val="50000"/>
                          </a:schemeClr>
                        </a:solidFill>
                        <a:latin typeface="Century Gothic" panose="020B0502020202020204" pitchFamily="34" charset="0"/>
                      </a:endParaRPr>
                    </a:p>
                  </a:txBody>
                  <a:tcPr/>
                </a:tc>
                <a:tc>
                  <a:txBody>
                    <a:bodyPr/>
                    <a:lstStyle/>
                    <a:p>
                      <a:r>
                        <a:rPr lang="nl-NL" sz="1600" dirty="0">
                          <a:solidFill>
                            <a:schemeClr val="tx1">
                              <a:lumMod val="50000"/>
                              <a:lumOff val="50000"/>
                            </a:schemeClr>
                          </a:solidFill>
                          <a:latin typeface="Century Gothic" panose="020B0502020202020204" pitchFamily="34" charset="0"/>
                        </a:rPr>
                        <a:t>4.7 – 5.7</a:t>
                      </a:r>
                    </a:p>
                  </a:txBody>
                  <a:tcPr/>
                </a:tc>
                <a:extLst>
                  <a:ext uri="{0D108BD9-81ED-4DB2-BD59-A6C34878D82A}">
                    <a16:rowId xmlns:a16="http://schemas.microsoft.com/office/drawing/2014/main" xmlns="" val="10005"/>
                  </a:ext>
                </a:extLst>
              </a:tr>
              <a:tr h="222673">
                <a:tc>
                  <a:txBody>
                    <a:bodyPr/>
                    <a:lstStyle/>
                    <a:p>
                      <a:r>
                        <a:rPr lang="ru-RU" sz="1600" kern="1200" dirty="0">
                          <a:solidFill>
                            <a:schemeClr val="tx1">
                              <a:lumMod val="50000"/>
                              <a:lumOff val="50000"/>
                            </a:schemeClr>
                          </a:solidFill>
                          <a:latin typeface="Century Gothic" panose="020B0502020202020204" pitchFamily="34" charset="0"/>
                        </a:rPr>
                        <a:t>Вязкость</a:t>
                      </a:r>
                      <a:r>
                        <a:rPr lang="en-US" sz="1600" kern="1200" dirty="0">
                          <a:solidFill>
                            <a:schemeClr val="tx1">
                              <a:lumMod val="50000"/>
                              <a:lumOff val="50000"/>
                            </a:schemeClr>
                          </a:solidFill>
                          <a:latin typeface="Century Gothic" panose="020B0502020202020204" pitchFamily="34" charset="0"/>
                        </a:rPr>
                        <a:t>, cps (RVT,sp4,10 RPM @ 25°C)</a:t>
                      </a:r>
                      <a:endParaRPr lang="nl-NL" sz="1600" dirty="0">
                        <a:solidFill>
                          <a:schemeClr val="tx1">
                            <a:lumMod val="50000"/>
                            <a:lumOff val="50000"/>
                          </a:schemeClr>
                        </a:solidFill>
                        <a:latin typeface="Century Gothic" panose="020B0502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600" dirty="0">
                          <a:solidFill>
                            <a:schemeClr val="tx1">
                              <a:lumMod val="50000"/>
                              <a:lumOff val="50000"/>
                            </a:schemeClr>
                          </a:solidFill>
                          <a:latin typeface="Century Gothic" panose="020B0502020202020204" pitchFamily="34" charset="0"/>
                        </a:rPr>
                        <a:t>&lt; 50</a:t>
                      </a:r>
                      <a:r>
                        <a:rPr lang="nl-NL" sz="1600" baseline="0" dirty="0">
                          <a:solidFill>
                            <a:schemeClr val="tx1">
                              <a:lumMod val="50000"/>
                              <a:lumOff val="50000"/>
                            </a:schemeClr>
                          </a:solidFill>
                          <a:latin typeface="Century Gothic" panose="020B0502020202020204" pitchFamily="34" charset="0"/>
                        </a:rPr>
                        <a:t> cps</a:t>
                      </a:r>
                      <a:endParaRPr lang="en-US" sz="1600" dirty="0">
                        <a:solidFill>
                          <a:schemeClr val="tx1">
                            <a:lumMod val="50000"/>
                            <a:lumOff val="50000"/>
                          </a:schemeClr>
                        </a:solidFill>
                        <a:latin typeface="Century Gothic" panose="020B0502020202020204" pitchFamily="34" charset="0"/>
                      </a:endParaRPr>
                    </a:p>
                  </a:txBody>
                  <a:tcPr/>
                </a:tc>
                <a:extLst>
                  <a:ext uri="{0D108BD9-81ED-4DB2-BD59-A6C34878D82A}">
                    <a16:rowId xmlns:a16="http://schemas.microsoft.com/office/drawing/2014/main" xmlns="" val="10006"/>
                  </a:ext>
                </a:extLst>
              </a:tr>
            </a:tbl>
          </a:graphicData>
        </a:graphic>
      </p:graphicFrame>
      <p:sp>
        <p:nvSpPr>
          <p:cNvPr id="11" name="TextBox 10"/>
          <p:cNvSpPr txBox="1"/>
          <p:nvPr/>
        </p:nvSpPr>
        <p:spPr>
          <a:xfrm>
            <a:off x="4897661" y="2210910"/>
            <a:ext cx="25267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a:ln>
                  <a:noFill/>
                </a:ln>
                <a:solidFill>
                  <a:srgbClr val="EEECE1">
                    <a:lumMod val="25000"/>
                  </a:srgbClr>
                </a:solidFill>
                <a:effectLst/>
                <a:uLnTx/>
                <a:uFillTx/>
                <a:latin typeface="Century Gothic" panose="020B0502020202020204" pitchFamily="34" charset="0"/>
                <a:ea typeface="+mn-ea"/>
                <a:cs typeface="+mn-cs"/>
              </a:rPr>
              <a:t>Типичные свойства</a:t>
            </a:r>
            <a:endParaRPr kumimoji="0" lang="nl-NL" sz="1800" b="1" i="0" u="none" strike="noStrike" kern="1200" cap="none" spc="0" normalizeH="0" baseline="0" noProof="0" dirty="0">
              <a:ln>
                <a:noFill/>
              </a:ln>
              <a:solidFill>
                <a:srgbClr val="EEECE1">
                  <a:lumMod val="25000"/>
                </a:srgbClr>
              </a:solidFill>
              <a:effectLst/>
              <a:uLnTx/>
              <a:uFillTx/>
              <a:latin typeface="Century Gothic" panose="020B0502020202020204" pitchFamily="34" charset="0"/>
              <a:ea typeface="+mn-ea"/>
              <a:cs typeface="+mn-cs"/>
            </a:endParaRPr>
          </a:p>
        </p:txBody>
      </p:sp>
      <p:sp>
        <p:nvSpPr>
          <p:cNvPr id="12" name="TextBox 11"/>
          <p:cNvSpPr txBox="1"/>
          <p:nvPr/>
        </p:nvSpPr>
        <p:spPr>
          <a:xfrm>
            <a:off x="294372" y="5510010"/>
            <a:ext cx="335140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EEECE1">
                    <a:lumMod val="25000"/>
                  </a:srgbClr>
                </a:solidFill>
                <a:effectLst/>
                <a:uLnTx/>
                <a:uFillTx/>
                <a:latin typeface="Century Gothic Pro"/>
                <a:ea typeface="+mn-ea"/>
                <a:cs typeface="+mn-cs"/>
              </a:rPr>
              <a:t>CAS number: 2060570-71-8</a:t>
            </a:r>
          </a:p>
        </p:txBody>
      </p:sp>
      <p:pic>
        <p:nvPicPr>
          <p:cNvPr id="6" name="Picture 5"/>
          <p:cNvPicPr>
            <a:picLocks noChangeAspect="1"/>
          </p:cNvPicPr>
          <p:nvPr/>
        </p:nvPicPr>
        <p:blipFill>
          <a:blip r:embed="rId3"/>
          <a:stretch>
            <a:fillRect/>
          </a:stretch>
        </p:blipFill>
        <p:spPr>
          <a:xfrm>
            <a:off x="294372" y="2988951"/>
            <a:ext cx="3760365" cy="1192523"/>
          </a:xfrm>
          <a:prstGeom prst="rect">
            <a:avLst/>
          </a:prstGeom>
          <a:ln>
            <a:noFill/>
          </a:ln>
        </p:spPr>
      </p:pic>
      <p:sp>
        <p:nvSpPr>
          <p:cNvPr id="7" name="TextBox 6"/>
          <p:cNvSpPr txBox="1"/>
          <p:nvPr/>
        </p:nvSpPr>
        <p:spPr>
          <a:xfrm>
            <a:off x="184836" y="4626897"/>
            <a:ext cx="4572662"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dirty="0">
              <a:ln>
                <a:noFill/>
              </a:ln>
              <a:solidFill>
                <a:srgbClr val="EEECE1">
                  <a:lumMod val="25000"/>
                </a:srgbClr>
              </a:solidFill>
              <a:effectLst/>
              <a:uLnTx/>
              <a:uFillTx/>
              <a:latin typeface="Century Gothic Pro"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600" noProof="0" dirty="0">
                <a:solidFill>
                  <a:srgbClr val="EEECE1">
                    <a:lumMod val="25000"/>
                  </a:srgbClr>
                </a:solidFill>
                <a:latin typeface="Century Gothic Pro" panose="020B0502020202020204" pitchFamily="34" charset="0"/>
              </a:rPr>
              <a:t>более</a:t>
            </a:r>
            <a:r>
              <a:rPr kumimoji="0" lang="nl-NL" sz="1600" b="0" i="0" u="none" strike="noStrike" kern="1200" cap="none" spc="0" normalizeH="0" baseline="0" noProof="0" dirty="0">
                <a:ln>
                  <a:noFill/>
                </a:ln>
                <a:solidFill>
                  <a:srgbClr val="EEECE1">
                    <a:lumMod val="25000"/>
                  </a:srgbClr>
                </a:solidFill>
                <a:effectLst/>
                <a:uLnTx/>
                <a:uFillTx/>
                <a:latin typeface="Century Gothic Pro" panose="020B0502020202020204" pitchFamily="34" charset="0"/>
                <a:ea typeface="+mn-ea"/>
                <a:cs typeface="+mn-cs"/>
              </a:rPr>
              <a:t> 2/3 </a:t>
            </a:r>
            <a:r>
              <a:rPr kumimoji="0" lang="ru-RU" sz="1600" b="0" i="0" u="none" strike="noStrike" kern="1200" cap="none" spc="0" normalizeH="0" baseline="0" noProof="0" dirty="0">
                <a:ln>
                  <a:noFill/>
                </a:ln>
                <a:solidFill>
                  <a:srgbClr val="EEECE1">
                    <a:lumMod val="25000"/>
                  </a:srgbClr>
                </a:solidFill>
                <a:effectLst/>
                <a:uLnTx/>
                <a:uFillTx/>
                <a:latin typeface="Century Gothic Pro" panose="020B0502020202020204" pitchFamily="34" charset="0"/>
                <a:ea typeface="+mn-ea"/>
                <a:cs typeface="+mn-cs"/>
              </a:rPr>
              <a:t>углеродов природного происхождения</a:t>
            </a:r>
            <a:endParaRPr kumimoji="0" lang="en-US" sz="1600" b="0" i="0" u="none" strike="noStrike" kern="1200" cap="none" spc="0" normalizeH="0" baseline="0" noProof="0" dirty="0">
              <a:ln>
                <a:noFill/>
              </a:ln>
              <a:solidFill>
                <a:srgbClr val="EEECE1">
                  <a:lumMod val="25000"/>
                </a:srgbClr>
              </a:solidFill>
              <a:effectLst/>
              <a:uLnTx/>
              <a:uFillTx/>
              <a:latin typeface="Century Gothic Pro" panose="020B0502020202020204" pitchFamily="34" charset="0"/>
              <a:ea typeface="+mn-ea"/>
              <a:cs typeface="+mn-cs"/>
            </a:endParaRPr>
          </a:p>
        </p:txBody>
      </p:sp>
      <p:sp>
        <p:nvSpPr>
          <p:cNvPr id="13" name="TextBox 12"/>
          <p:cNvSpPr txBox="1"/>
          <p:nvPr/>
        </p:nvSpPr>
        <p:spPr>
          <a:xfrm>
            <a:off x="294372" y="1604809"/>
            <a:ext cx="9306826" cy="64633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EEECE1">
                    <a:lumMod val="25000"/>
                  </a:srgbClr>
                </a:solidFill>
                <a:effectLst/>
                <a:uLnTx/>
                <a:uFillTx/>
                <a:latin typeface="Century Gothic Pro" panose="020B0502020202020204" pitchFamily="34" charset="0"/>
                <a:ea typeface="+mn-ea"/>
                <a:cs typeface="+mn-cs"/>
              </a:rPr>
              <a:t>INCI name: hydroxypropyl gluconamide (and) hydroxypropyl ammonium gluconate </a:t>
            </a:r>
          </a:p>
        </p:txBody>
      </p:sp>
    </p:spTree>
    <p:extLst>
      <p:ext uri="{BB962C8B-B14F-4D97-AF65-F5344CB8AC3E}">
        <p14:creationId xmlns:p14="http://schemas.microsoft.com/office/powerpoint/2010/main" val="25998208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0995" y="-11896"/>
            <a:ext cx="9144000" cy="1413483"/>
          </a:xfrm>
        </p:spPr>
        <p:txBody>
          <a:bodyPr>
            <a:normAutofit/>
          </a:bodyPr>
          <a:lstStyle/>
          <a:p>
            <a:r>
              <a:rPr lang="nl-NL" dirty="0"/>
              <a:t>fiberHance™ bm solution – </a:t>
            </a:r>
            <a:r>
              <a:rPr lang="ru-RU" dirty="0"/>
              <a:t/>
            </a:r>
            <a:br>
              <a:rPr lang="ru-RU" dirty="0"/>
            </a:br>
            <a:r>
              <a:rPr lang="ru-RU" sz="3200" dirty="0">
                <a:latin typeface="Century Gothic Pro" panose="020B0502020202020204" pitchFamily="34" charset="0"/>
              </a:rPr>
              <a:t>механизм действия</a:t>
            </a:r>
            <a:endParaRPr lang="en-US" sz="3200" dirty="0">
              <a:latin typeface="Century Gothic Pro" panose="020B0502020202020204" pitchFamily="34" charset="0"/>
            </a:endParaRPr>
          </a:p>
        </p:txBody>
      </p:sp>
      <p:sp>
        <p:nvSpPr>
          <p:cNvPr id="2" name="TextBox 1"/>
          <p:cNvSpPr txBox="1"/>
          <p:nvPr/>
        </p:nvSpPr>
        <p:spPr>
          <a:xfrm flipH="1">
            <a:off x="429742" y="1518736"/>
            <a:ext cx="8106399" cy="830997"/>
          </a:xfrm>
          <a:prstGeom prst="rect">
            <a:avLst/>
          </a:prstGeom>
          <a:noFill/>
        </p:spPr>
        <p:txBody>
          <a:bodyPr wrap="square" rtlCol="0">
            <a:spAutoFit/>
          </a:bodyPr>
          <a:lstStyle/>
          <a:p>
            <a:r>
              <a:rPr lang="en-US" sz="1600" dirty="0" err="1">
                <a:solidFill>
                  <a:schemeClr val="accent3">
                    <a:lumMod val="75000"/>
                  </a:schemeClr>
                </a:solidFill>
                <a:latin typeface="Century Gothic Pro" panose="020B0502020202020204" pitchFamily="34" charset="0"/>
              </a:rPr>
              <a:t>fiberHance</a:t>
            </a:r>
            <a:r>
              <a:rPr lang="en-US" sz="1600" dirty="0">
                <a:solidFill>
                  <a:schemeClr val="accent3">
                    <a:lumMod val="75000"/>
                  </a:schemeClr>
                </a:solidFill>
                <a:latin typeface="Century Gothic Pro" panose="020B0502020202020204" pitchFamily="34" charset="0"/>
              </a:rPr>
              <a:t>™ </a:t>
            </a:r>
            <a:r>
              <a:rPr lang="en-US" sz="1600" dirty="0" err="1">
                <a:solidFill>
                  <a:schemeClr val="accent3">
                    <a:lumMod val="75000"/>
                  </a:schemeClr>
                </a:solidFill>
                <a:latin typeface="Century Gothic Pro" panose="020B0502020202020204" pitchFamily="34" charset="0"/>
              </a:rPr>
              <a:t>bm</a:t>
            </a:r>
            <a:r>
              <a:rPr lang="en-US" sz="1600" dirty="0">
                <a:solidFill>
                  <a:schemeClr val="accent3">
                    <a:lumMod val="75000"/>
                  </a:schemeClr>
                </a:solidFill>
                <a:latin typeface="Century Gothic Pro" panose="020B0502020202020204" pitchFamily="34" charset="0"/>
              </a:rPr>
              <a:t> </a:t>
            </a:r>
            <a:r>
              <a:rPr lang="ru-RU" sz="1600" dirty="0">
                <a:solidFill>
                  <a:schemeClr val="accent3">
                    <a:lumMod val="75000"/>
                  </a:schemeClr>
                </a:solidFill>
                <a:latin typeface="Century Gothic Pro" panose="020B0502020202020204" pitchFamily="34" charset="0"/>
              </a:rPr>
              <a:t>раствор</a:t>
            </a:r>
            <a:r>
              <a:rPr lang="en-US" sz="1600" dirty="0">
                <a:solidFill>
                  <a:schemeClr val="accent3">
                    <a:lumMod val="75000"/>
                  </a:schemeClr>
                </a:solidFill>
                <a:latin typeface="Century Gothic Pro" panose="020B0502020202020204" pitchFamily="34" charset="0"/>
              </a:rPr>
              <a:t>:  </a:t>
            </a:r>
            <a:r>
              <a:rPr lang="ru-RU" sz="1600" dirty="0">
                <a:solidFill>
                  <a:schemeClr val="accent1"/>
                </a:solidFill>
                <a:latin typeface="Century Gothic Pro" panose="020B0502020202020204" pitchFamily="34" charset="0"/>
              </a:rPr>
              <a:t>новый низкомолекулярный ингредиент, химическая структура и размеры которого были специально созданы для оптимизациии и создания новых множественных связей внутри кератинового кортекса волоса.</a:t>
            </a:r>
            <a:endParaRPr lang="en-US" sz="1600" dirty="0">
              <a:solidFill>
                <a:schemeClr val="accent1"/>
              </a:solidFill>
              <a:latin typeface="Century Gothic Pro" panose="020B0502020202020204" pitchFamily="34" charset="0"/>
            </a:endParaRPr>
          </a:p>
        </p:txBody>
      </p:sp>
      <p:grpSp>
        <p:nvGrpSpPr>
          <p:cNvPr id="6" name="Group 5"/>
          <p:cNvGrpSpPr/>
          <p:nvPr/>
        </p:nvGrpSpPr>
        <p:grpSpPr>
          <a:xfrm>
            <a:off x="4888238" y="2340060"/>
            <a:ext cx="3973957" cy="4038600"/>
            <a:chOff x="4191000" y="2667000"/>
            <a:chExt cx="3973957" cy="4038600"/>
          </a:xfrm>
        </p:grpSpPr>
        <p:pic>
          <p:nvPicPr>
            <p:cNvPr id="8" name="Picture 7" descr="keratin.jpg"/>
            <p:cNvPicPr>
              <a:picLocks noChangeAspect="1"/>
            </p:cNvPicPr>
            <p:nvPr/>
          </p:nvPicPr>
          <p:blipFill>
            <a:blip r:embed="rId3" cstate="print"/>
            <a:srcRect l="43612"/>
            <a:stretch>
              <a:fillRect/>
            </a:stretch>
          </p:blipFill>
          <p:spPr>
            <a:xfrm>
              <a:off x="4191000" y="3302981"/>
              <a:ext cx="2068957" cy="3402619"/>
            </a:xfrm>
            <a:prstGeom prst="rect">
              <a:avLst/>
            </a:prstGeom>
          </p:spPr>
        </p:pic>
        <p:pic>
          <p:nvPicPr>
            <p:cNvPr id="9" name="Picture 8" descr="keratin.jpg"/>
            <p:cNvPicPr>
              <a:picLocks noChangeAspect="1"/>
            </p:cNvPicPr>
            <p:nvPr/>
          </p:nvPicPr>
          <p:blipFill>
            <a:blip r:embed="rId3" cstate="print"/>
            <a:srcRect l="43612"/>
            <a:stretch>
              <a:fillRect/>
            </a:stretch>
          </p:blipFill>
          <p:spPr>
            <a:xfrm>
              <a:off x="6096000" y="2667000"/>
              <a:ext cx="2068957" cy="3402619"/>
            </a:xfrm>
            <a:prstGeom prst="rect">
              <a:avLst/>
            </a:prstGeom>
          </p:spPr>
        </p:pic>
      </p:grpSp>
      <p:pic>
        <p:nvPicPr>
          <p:cNvPr id="11" name="Picture 10" descr="keratin.jpg"/>
          <p:cNvPicPr>
            <a:picLocks noChangeAspect="1"/>
          </p:cNvPicPr>
          <p:nvPr/>
        </p:nvPicPr>
        <p:blipFill>
          <a:blip r:embed="rId3" cstate="print"/>
          <a:srcRect l="43612"/>
          <a:stretch>
            <a:fillRect/>
          </a:stretch>
        </p:blipFill>
        <p:spPr>
          <a:xfrm>
            <a:off x="1431081" y="2660293"/>
            <a:ext cx="2068957" cy="3402619"/>
          </a:xfrm>
          <a:prstGeom prst="rect">
            <a:avLst/>
          </a:prstGeom>
        </p:spPr>
      </p:pic>
      <p:grpSp>
        <p:nvGrpSpPr>
          <p:cNvPr id="13" name="Group 12"/>
          <p:cNvGrpSpPr/>
          <p:nvPr/>
        </p:nvGrpSpPr>
        <p:grpSpPr>
          <a:xfrm>
            <a:off x="5655028" y="3180891"/>
            <a:ext cx="2794260" cy="1506332"/>
            <a:chOff x="6858003" y="5170452"/>
            <a:chExt cx="2655356" cy="1416295"/>
          </a:xfrm>
        </p:grpSpPr>
        <p:cxnSp>
          <p:nvCxnSpPr>
            <p:cNvPr id="14" name="Straight Connector 13"/>
            <p:cNvCxnSpPr/>
            <p:nvPr/>
          </p:nvCxnSpPr>
          <p:spPr bwMode="auto">
            <a:xfrm rot="19578345">
              <a:off x="8142956" y="6032231"/>
              <a:ext cx="188691" cy="0"/>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15" name="Straight Connector 47"/>
            <p:cNvCxnSpPr/>
            <p:nvPr/>
          </p:nvCxnSpPr>
          <p:spPr bwMode="auto">
            <a:xfrm rot="19578345" flipV="1">
              <a:off x="8374015" y="5704805"/>
              <a:ext cx="289286" cy="127003"/>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16" name="Straight Connector 15"/>
            <p:cNvCxnSpPr/>
            <p:nvPr/>
          </p:nvCxnSpPr>
          <p:spPr bwMode="auto">
            <a:xfrm rot="19578345">
              <a:off x="8622336" y="5551202"/>
              <a:ext cx="262501" cy="157117"/>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17" name="Straight Connector 16"/>
            <p:cNvCxnSpPr/>
            <p:nvPr/>
          </p:nvCxnSpPr>
          <p:spPr bwMode="auto">
            <a:xfrm flipV="1">
              <a:off x="8904884" y="5334001"/>
              <a:ext cx="162916" cy="289300"/>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18" name="Straight Connector 17"/>
            <p:cNvCxnSpPr/>
            <p:nvPr/>
          </p:nvCxnSpPr>
          <p:spPr bwMode="auto">
            <a:xfrm>
              <a:off x="9064682" y="5333906"/>
              <a:ext cx="155518" cy="94"/>
            </a:xfrm>
            <a:prstGeom prst="line">
              <a:avLst/>
            </a:prstGeom>
            <a:solidFill>
              <a:schemeClr val="accent1"/>
            </a:solidFill>
            <a:ln w="12700" cap="flat" cmpd="sng" algn="ctr">
              <a:solidFill>
                <a:srgbClr val="FF0000"/>
              </a:solidFill>
              <a:prstDash val="solid"/>
              <a:round/>
              <a:headEnd type="none" w="med" len="med"/>
              <a:tailEnd type="none" w="med" len="med"/>
            </a:ln>
            <a:effectLst/>
          </p:spPr>
        </p:cxnSp>
        <p:sp>
          <p:nvSpPr>
            <p:cNvPr id="19" name="TextBox 18"/>
            <p:cNvSpPr txBox="1"/>
            <p:nvPr/>
          </p:nvSpPr>
          <p:spPr>
            <a:xfrm rot="19578345">
              <a:off x="8190093" y="5840073"/>
              <a:ext cx="384181" cy="260442"/>
            </a:xfrm>
            <a:prstGeom prst="rect">
              <a:avLst/>
            </a:prstGeom>
            <a:noFill/>
            <a:ln w="12700">
              <a:noFill/>
            </a:ln>
          </p:spPr>
          <p:txBody>
            <a:bodyPr wrap="none" rtlCol="0">
              <a:spAutoFit/>
            </a:bodyPr>
            <a:lstStyle/>
            <a:p>
              <a:r>
                <a:rPr lang="nl-NL" sz="1200" dirty="0">
                  <a:solidFill>
                    <a:srgbClr val="FF0000"/>
                  </a:solidFill>
                </a:rPr>
                <a:t>NH</a:t>
              </a:r>
              <a:endParaRPr lang="en-US" sz="1200" dirty="0">
                <a:solidFill>
                  <a:srgbClr val="FF0000"/>
                </a:solidFill>
              </a:endParaRPr>
            </a:p>
          </p:txBody>
        </p:sp>
        <p:sp>
          <p:nvSpPr>
            <p:cNvPr id="20" name="TextBox 19"/>
            <p:cNvSpPr txBox="1"/>
            <p:nvPr/>
          </p:nvSpPr>
          <p:spPr>
            <a:xfrm rot="19578345">
              <a:off x="9110898" y="5170452"/>
              <a:ext cx="402461" cy="260442"/>
            </a:xfrm>
            <a:prstGeom prst="rect">
              <a:avLst/>
            </a:prstGeom>
            <a:noFill/>
            <a:ln w="12700">
              <a:noFill/>
            </a:ln>
          </p:spPr>
          <p:txBody>
            <a:bodyPr wrap="none" rtlCol="0">
              <a:spAutoFit/>
            </a:bodyPr>
            <a:lstStyle/>
            <a:p>
              <a:r>
                <a:rPr lang="nl-NL" sz="1200" dirty="0">
                  <a:solidFill>
                    <a:srgbClr val="FF0000"/>
                  </a:solidFill>
                </a:rPr>
                <a:t>OH</a:t>
              </a:r>
              <a:endParaRPr lang="en-US" sz="1200" dirty="0">
                <a:solidFill>
                  <a:srgbClr val="FF0000"/>
                </a:solidFill>
              </a:endParaRPr>
            </a:p>
          </p:txBody>
        </p:sp>
        <p:grpSp>
          <p:nvGrpSpPr>
            <p:cNvPr id="21" name="Group 196"/>
            <p:cNvGrpSpPr/>
            <p:nvPr/>
          </p:nvGrpSpPr>
          <p:grpSpPr>
            <a:xfrm>
              <a:off x="6858003" y="5665940"/>
              <a:ext cx="1385390" cy="920807"/>
              <a:chOff x="5482322" y="3507477"/>
              <a:chExt cx="1189529" cy="800915"/>
            </a:xfrm>
          </p:grpSpPr>
          <p:sp>
            <p:nvSpPr>
              <p:cNvPr id="22" name="TextBox 21"/>
              <p:cNvSpPr txBox="1"/>
              <p:nvPr/>
            </p:nvSpPr>
            <p:spPr>
              <a:xfrm>
                <a:off x="5831657" y="3515852"/>
                <a:ext cx="345562" cy="226532"/>
              </a:xfrm>
              <a:prstGeom prst="rect">
                <a:avLst/>
              </a:prstGeom>
              <a:noFill/>
              <a:ln w="12700">
                <a:noFill/>
              </a:ln>
            </p:spPr>
            <p:txBody>
              <a:bodyPr wrap="none" rtlCol="0">
                <a:spAutoFit/>
              </a:bodyPr>
              <a:lstStyle/>
              <a:p>
                <a:r>
                  <a:rPr lang="nl-NL" sz="1200" dirty="0">
                    <a:solidFill>
                      <a:srgbClr val="FF0000"/>
                    </a:solidFill>
                  </a:rPr>
                  <a:t>OH</a:t>
                </a:r>
                <a:endParaRPr lang="en-US" sz="1200" dirty="0">
                  <a:solidFill>
                    <a:srgbClr val="FF0000"/>
                  </a:solidFill>
                </a:endParaRPr>
              </a:p>
            </p:txBody>
          </p:sp>
          <p:sp>
            <p:nvSpPr>
              <p:cNvPr id="23" name="TextBox 22"/>
              <p:cNvSpPr txBox="1"/>
              <p:nvPr/>
            </p:nvSpPr>
            <p:spPr>
              <a:xfrm>
                <a:off x="6069009" y="3917355"/>
                <a:ext cx="345562" cy="226532"/>
              </a:xfrm>
              <a:prstGeom prst="rect">
                <a:avLst/>
              </a:prstGeom>
              <a:noFill/>
              <a:ln w="12700">
                <a:noFill/>
              </a:ln>
            </p:spPr>
            <p:txBody>
              <a:bodyPr wrap="none" rtlCol="0">
                <a:spAutoFit/>
              </a:bodyPr>
              <a:lstStyle/>
              <a:p>
                <a:r>
                  <a:rPr lang="nl-NL" sz="1200" dirty="0">
                    <a:solidFill>
                      <a:srgbClr val="FF0000"/>
                    </a:solidFill>
                  </a:rPr>
                  <a:t>OH</a:t>
                </a:r>
                <a:endParaRPr lang="en-US" sz="1200" dirty="0">
                  <a:solidFill>
                    <a:srgbClr val="FF0000"/>
                  </a:solidFill>
                </a:endParaRPr>
              </a:p>
            </p:txBody>
          </p:sp>
          <p:sp>
            <p:nvSpPr>
              <p:cNvPr id="24" name="TextBox 23"/>
              <p:cNvSpPr txBox="1"/>
              <p:nvPr/>
            </p:nvSpPr>
            <p:spPr>
              <a:xfrm>
                <a:off x="6247037" y="3507477"/>
                <a:ext cx="345562" cy="226532"/>
              </a:xfrm>
              <a:prstGeom prst="rect">
                <a:avLst/>
              </a:prstGeom>
              <a:noFill/>
              <a:ln w="12700">
                <a:noFill/>
              </a:ln>
            </p:spPr>
            <p:txBody>
              <a:bodyPr wrap="none" rtlCol="0">
                <a:spAutoFit/>
              </a:bodyPr>
              <a:lstStyle/>
              <a:p>
                <a:r>
                  <a:rPr lang="nl-NL" sz="1200" dirty="0">
                    <a:solidFill>
                      <a:srgbClr val="FF0000"/>
                    </a:solidFill>
                  </a:rPr>
                  <a:t>OH</a:t>
                </a:r>
                <a:endParaRPr lang="en-US" sz="1200" dirty="0">
                  <a:solidFill>
                    <a:srgbClr val="FF0000"/>
                  </a:solidFill>
                </a:endParaRPr>
              </a:p>
            </p:txBody>
          </p:sp>
          <p:sp>
            <p:nvSpPr>
              <p:cNvPr id="25" name="TextBox 24"/>
              <p:cNvSpPr txBox="1"/>
              <p:nvPr/>
            </p:nvSpPr>
            <p:spPr>
              <a:xfrm>
                <a:off x="5492026" y="4081860"/>
                <a:ext cx="345562" cy="226532"/>
              </a:xfrm>
              <a:prstGeom prst="rect">
                <a:avLst/>
              </a:prstGeom>
              <a:noFill/>
              <a:ln w="12700">
                <a:noFill/>
              </a:ln>
            </p:spPr>
            <p:txBody>
              <a:bodyPr wrap="none" rtlCol="0">
                <a:spAutoFit/>
              </a:bodyPr>
              <a:lstStyle/>
              <a:p>
                <a:r>
                  <a:rPr lang="nl-NL" sz="1200" dirty="0">
                    <a:solidFill>
                      <a:srgbClr val="FF0000"/>
                    </a:solidFill>
                  </a:rPr>
                  <a:t>HO</a:t>
                </a:r>
                <a:endParaRPr lang="en-US" sz="1200" dirty="0">
                  <a:solidFill>
                    <a:srgbClr val="FF0000"/>
                  </a:solidFill>
                </a:endParaRPr>
              </a:p>
            </p:txBody>
          </p:sp>
          <p:sp>
            <p:nvSpPr>
              <p:cNvPr id="26" name="TextBox 25"/>
              <p:cNvSpPr txBox="1"/>
              <p:nvPr/>
            </p:nvSpPr>
            <p:spPr>
              <a:xfrm>
                <a:off x="5482322" y="3640909"/>
                <a:ext cx="345562" cy="226532"/>
              </a:xfrm>
              <a:prstGeom prst="rect">
                <a:avLst/>
              </a:prstGeom>
              <a:noFill/>
              <a:ln w="12700">
                <a:noFill/>
              </a:ln>
            </p:spPr>
            <p:txBody>
              <a:bodyPr wrap="none" rtlCol="0">
                <a:spAutoFit/>
              </a:bodyPr>
              <a:lstStyle/>
              <a:p>
                <a:r>
                  <a:rPr lang="nl-NL" sz="1200" dirty="0">
                    <a:solidFill>
                      <a:srgbClr val="FF0000"/>
                    </a:solidFill>
                  </a:rPr>
                  <a:t>HO</a:t>
                </a:r>
                <a:endParaRPr lang="en-US" sz="1200" dirty="0">
                  <a:solidFill>
                    <a:srgbClr val="FF0000"/>
                  </a:solidFill>
                </a:endParaRPr>
              </a:p>
            </p:txBody>
          </p:sp>
          <p:sp>
            <p:nvSpPr>
              <p:cNvPr id="27" name="TextBox 26"/>
              <p:cNvSpPr txBox="1"/>
              <p:nvPr/>
            </p:nvSpPr>
            <p:spPr>
              <a:xfrm>
                <a:off x="6412613" y="3908640"/>
                <a:ext cx="259238" cy="226532"/>
              </a:xfrm>
              <a:prstGeom prst="rect">
                <a:avLst/>
              </a:prstGeom>
              <a:noFill/>
              <a:ln w="12700">
                <a:noFill/>
              </a:ln>
            </p:spPr>
            <p:txBody>
              <a:bodyPr wrap="none" rtlCol="0">
                <a:spAutoFit/>
              </a:bodyPr>
              <a:lstStyle/>
              <a:p>
                <a:r>
                  <a:rPr lang="nl-NL" sz="1200" dirty="0">
                    <a:solidFill>
                      <a:srgbClr val="FF0000"/>
                    </a:solidFill>
                  </a:rPr>
                  <a:t>O</a:t>
                </a:r>
                <a:endParaRPr lang="en-US" sz="1200" dirty="0">
                  <a:solidFill>
                    <a:srgbClr val="FF0000"/>
                  </a:solidFill>
                </a:endParaRPr>
              </a:p>
            </p:txBody>
          </p:sp>
          <p:grpSp>
            <p:nvGrpSpPr>
              <p:cNvPr id="28" name="Group 42"/>
              <p:cNvGrpSpPr/>
              <p:nvPr/>
            </p:nvGrpSpPr>
            <p:grpSpPr>
              <a:xfrm>
                <a:off x="5717543" y="3668070"/>
                <a:ext cx="802517" cy="473693"/>
                <a:chOff x="609600" y="2057400"/>
                <a:chExt cx="1524000" cy="533400"/>
              </a:xfrm>
            </p:grpSpPr>
            <p:cxnSp>
              <p:nvCxnSpPr>
                <p:cNvPr id="32" name="Straight Connector 31"/>
                <p:cNvCxnSpPr/>
                <p:nvPr/>
              </p:nvCxnSpPr>
              <p:spPr bwMode="auto">
                <a:xfrm flipV="1">
                  <a:off x="688684" y="2288885"/>
                  <a:ext cx="0" cy="228600"/>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33" name="Straight Connector 32"/>
                <p:cNvCxnSpPr/>
                <p:nvPr/>
              </p:nvCxnSpPr>
              <p:spPr bwMode="auto">
                <a:xfrm flipV="1">
                  <a:off x="685800" y="2133600"/>
                  <a:ext cx="381000" cy="152400"/>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34" name="Straight Connector 33"/>
                <p:cNvCxnSpPr/>
                <p:nvPr/>
              </p:nvCxnSpPr>
              <p:spPr bwMode="auto">
                <a:xfrm>
                  <a:off x="1066800" y="2133600"/>
                  <a:ext cx="370114" cy="182088"/>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35" name="Straight Connector 34"/>
                <p:cNvCxnSpPr/>
                <p:nvPr/>
              </p:nvCxnSpPr>
              <p:spPr bwMode="auto">
                <a:xfrm flipV="1">
                  <a:off x="1427849" y="2133601"/>
                  <a:ext cx="400951" cy="183889"/>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36" name="Straight Connector 35"/>
                <p:cNvCxnSpPr/>
                <p:nvPr/>
              </p:nvCxnSpPr>
              <p:spPr bwMode="auto">
                <a:xfrm>
                  <a:off x="1828800" y="2133600"/>
                  <a:ext cx="304800" cy="152400"/>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37" name="Straight Connector 36"/>
                <p:cNvCxnSpPr/>
                <p:nvPr/>
              </p:nvCxnSpPr>
              <p:spPr bwMode="auto">
                <a:xfrm flipH="1">
                  <a:off x="609600" y="2514600"/>
                  <a:ext cx="76200" cy="76200"/>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38" name="Straight Connector 37"/>
                <p:cNvCxnSpPr/>
                <p:nvPr/>
              </p:nvCxnSpPr>
              <p:spPr bwMode="auto">
                <a:xfrm>
                  <a:off x="609600" y="2209800"/>
                  <a:ext cx="76200" cy="76200"/>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39" name="Straight Connector 38"/>
                <p:cNvCxnSpPr/>
                <p:nvPr/>
              </p:nvCxnSpPr>
              <p:spPr bwMode="auto">
                <a:xfrm>
                  <a:off x="1066800" y="2057400"/>
                  <a:ext cx="0" cy="76200"/>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40" name="Straight Connector 39"/>
                <p:cNvCxnSpPr/>
                <p:nvPr/>
              </p:nvCxnSpPr>
              <p:spPr bwMode="auto">
                <a:xfrm>
                  <a:off x="1436502" y="2317490"/>
                  <a:ext cx="0" cy="76200"/>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41" name="Straight Connector 40"/>
                <p:cNvCxnSpPr/>
                <p:nvPr/>
              </p:nvCxnSpPr>
              <p:spPr bwMode="auto">
                <a:xfrm>
                  <a:off x="1829040" y="2067977"/>
                  <a:ext cx="0" cy="76200"/>
                </a:xfrm>
                <a:prstGeom prst="line">
                  <a:avLst/>
                </a:prstGeom>
                <a:solidFill>
                  <a:schemeClr val="accent1"/>
                </a:solidFill>
                <a:ln w="12700" cap="flat" cmpd="sng" algn="ctr">
                  <a:solidFill>
                    <a:srgbClr val="FF0000"/>
                  </a:solidFill>
                  <a:prstDash val="solid"/>
                  <a:round/>
                  <a:headEnd type="none" w="med" len="med"/>
                  <a:tailEnd type="none" w="med" len="med"/>
                </a:ln>
                <a:effectLst/>
              </p:spPr>
            </p:cxnSp>
          </p:grpSp>
          <p:cxnSp>
            <p:nvCxnSpPr>
              <p:cNvPr id="29" name="Straight Connector 28"/>
              <p:cNvCxnSpPr/>
              <p:nvPr/>
            </p:nvCxnSpPr>
            <p:spPr bwMode="auto">
              <a:xfrm flipH="1">
                <a:off x="6519426" y="3871081"/>
                <a:ext cx="635" cy="78637"/>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30" name="Straight Connector 29"/>
              <p:cNvCxnSpPr/>
              <p:nvPr/>
            </p:nvCxnSpPr>
            <p:spPr bwMode="auto">
              <a:xfrm flipH="1">
                <a:off x="6553200" y="3869209"/>
                <a:ext cx="635" cy="78637"/>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31" name="Straight Connector 30"/>
              <p:cNvCxnSpPr/>
              <p:nvPr/>
            </p:nvCxnSpPr>
            <p:spPr bwMode="auto">
              <a:xfrm>
                <a:off x="6520060" y="3871081"/>
                <a:ext cx="80252" cy="0"/>
              </a:xfrm>
              <a:prstGeom prst="line">
                <a:avLst/>
              </a:prstGeom>
              <a:solidFill>
                <a:schemeClr val="accent1"/>
              </a:solidFill>
              <a:ln w="12700" cap="flat" cmpd="sng" algn="ctr">
                <a:solidFill>
                  <a:srgbClr val="FF0000"/>
                </a:solidFill>
                <a:prstDash val="solid"/>
                <a:round/>
                <a:headEnd type="none" w="med" len="med"/>
                <a:tailEnd type="none" w="med" len="med"/>
              </a:ln>
              <a:effectLst/>
            </p:spPr>
          </p:cxnSp>
        </p:grpSp>
      </p:grpSp>
      <p:grpSp>
        <p:nvGrpSpPr>
          <p:cNvPr id="42" name="Group 41"/>
          <p:cNvGrpSpPr/>
          <p:nvPr/>
        </p:nvGrpSpPr>
        <p:grpSpPr>
          <a:xfrm rot="20679824">
            <a:off x="1674161" y="3520785"/>
            <a:ext cx="1915271" cy="2168190"/>
            <a:chOff x="381000" y="3571899"/>
            <a:chExt cx="1915271" cy="1955767"/>
          </a:xfrm>
        </p:grpSpPr>
        <p:grpSp>
          <p:nvGrpSpPr>
            <p:cNvPr id="43" name="Group 337"/>
            <p:cNvGrpSpPr/>
            <p:nvPr/>
          </p:nvGrpSpPr>
          <p:grpSpPr>
            <a:xfrm>
              <a:off x="381000" y="4066529"/>
              <a:ext cx="539421" cy="1231864"/>
              <a:chOff x="784597" y="3914129"/>
              <a:chExt cx="539421" cy="1231864"/>
            </a:xfrm>
          </p:grpSpPr>
          <p:cxnSp>
            <p:nvCxnSpPr>
              <p:cNvPr id="68" name="Straight Connector 67"/>
              <p:cNvCxnSpPr/>
              <p:nvPr/>
            </p:nvCxnSpPr>
            <p:spPr bwMode="auto">
              <a:xfrm>
                <a:off x="872904" y="5034897"/>
                <a:ext cx="274177" cy="111096"/>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69" name="Straight Connector 47"/>
              <p:cNvCxnSpPr/>
              <p:nvPr/>
            </p:nvCxnSpPr>
            <p:spPr bwMode="auto">
              <a:xfrm flipV="1">
                <a:off x="860797" y="4654752"/>
                <a:ext cx="165317" cy="374448"/>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70" name="Straight Connector 69"/>
              <p:cNvCxnSpPr/>
              <p:nvPr/>
            </p:nvCxnSpPr>
            <p:spPr bwMode="auto">
              <a:xfrm>
                <a:off x="827511" y="4452011"/>
                <a:ext cx="206878" cy="202740"/>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71" name="Straight Connector 70"/>
              <p:cNvCxnSpPr/>
              <p:nvPr/>
            </p:nvCxnSpPr>
            <p:spPr bwMode="auto">
              <a:xfrm rot="19578345" flipV="1">
                <a:off x="784597" y="4300679"/>
                <a:ext cx="227896" cy="99507"/>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72" name="Straight Connector 71"/>
              <p:cNvCxnSpPr/>
              <p:nvPr/>
            </p:nvCxnSpPr>
            <p:spPr bwMode="auto">
              <a:xfrm flipV="1">
                <a:off x="1145170" y="3914129"/>
                <a:ext cx="178848" cy="162057"/>
              </a:xfrm>
              <a:prstGeom prst="line">
                <a:avLst/>
              </a:prstGeom>
              <a:solidFill>
                <a:schemeClr val="accent1"/>
              </a:solidFill>
              <a:ln w="12700" cap="flat" cmpd="sng" algn="ctr">
                <a:solidFill>
                  <a:srgbClr val="FF0000"/>
                </a:solidFill>
                <a:prstDash val="solid"/>
                <a:round/>
                <a:headEnd type="none" w="med" len="med"/>
                <a:tailEnd type="none" w="med" len="med"/>
              </a:ln>
              <a:effectLst/>
            </p:spPr>
          </p:cxnSp>
          <p:sp>
            <p:nvSpPr>
              <p:cNvPr id="73" name="TextBox 72"/>
              <p:cNvSpPr txBox="1"/>
              <p:nvPr/>
            </p:nvSpPr>
            <p:spPr>
              <a:xfrm rot="19578345">
                <a:off x="869787" y="4016129"/>
                <a:ext cx="404278" cy="249861"/>
              </a:xfrm>
              <a:prstGeom prst="rect">
                <a:avLst/>
              </a:prstGeom>
              <a:noFill/>
              <a:ln w="12700">
                <a:noFill/>
              </a:ln>
            </p:spPr>
            <p:txBody>
              <a:bodyPr wrap="none" rtlCol="0">
                <a:spAutoFit/>
              </a:bodyPr>
              <a:lstStyle/>
              <a:p>
                <a:r>
                  <a:rPr lang="nl-NL" sz="1200" dirty="0">
                    <a:solidFill>
                      <a:srgbClr val="FF0000"/>
                    </a:solidFill>
                  </a:rPr>
                  <a:t>NH</a:t>
                </a:r>
                <a:endParaRPr lang="en-US" sz="1200" dirty="0">
                  <a:solidFill>
                    <a:srgbClr val="FF0000"/>
                  </a:solidFill>
                </a:endParaRPr>
              </a:p>
            </p:txBody>
          </p:sp>
        </p:grpSp>
        <p:grpSp>
          <p:nvGrpSpPr>
            <p:cNvPr id="44" name="Group 198"/>
            <p:cNvGrpSpPr/>
            <p:nvPr/>
          </p:nvGrpSpPr>
          <p:grpSpPr>
            <a:xfrm>
              <a:off x="850125" y="3571899"/>
              <a:ext cx="1446146" cy="906479"/>
              <a:chOff x="7677619" y="3362427"/>
              <a:chExt cx="1241695" cy="788450"/>
            </a:xfrm>
          </p:grpSpPr>
          <p:sp>
            <p:nvSpPr>
              <p:cNvPr id="48" name="TextBox 47"/>
              <p:cNvSpPr txBox="1"/>
              <p:nvPr/>
            </p:nvSpPr>
            <p:spPr>
              <a:xfrm flipH="1" flipV="1">
                <a:off x="8217579" y="3933549"/>
                <a:ext cx="363639" cy="217328"/>
              </a:xfrm>
              <a:prstGeom prst="rect">
                <a:avLst/>
              </a:prstGeom>
              <a:noFill/>
              <a:ln w="12700">
                <a:noFill/>
              </a:ln>
            </p:spPr>
            <p:txBody>
              <a:bodyPr wrap="none" rtlCol="0">
                <a:spAutoFit/>
              </a:bodyPr>
              <a:lstStyle/>
              <a:p>
                <a:r>
                  <a:rPr lang="nl-NL" sz="1200" dirty="0">
                    <a:solidFill>
                      <a:srgbClr val="FF0000"/>
                    </a:solidFill>
                  </a:rPr>
                  <a:t>HO</a:t>
                </a:r>
                <a:endParaRPr lang="en-US" sz="1200" dirty="0">
                  <a:solidFill>
                    <a:srgbClr val="FF0000"/>
                  </a:solidFill>
                </a:endParaRPr>
              </a:p>
            </p:txBody>
          </p:sp>
          <p:sp>
            <p:nvSpPr>
              <p:cNvPr id="49" name="TextBox 48"/>
              <p:cNvSpPr txBox="1"/>
              <p:nvPr/>
            </p:nvSpPr>
            <p:spPr>
              <a:xfrm flipH="1" flipV="1">
                <a:off x="7981760" y="3505454"/>
                <a:ext cx="363639" cy="217327"/>
              </a:xfrm>
              <a:prstGeom prst="rect">
                <a:avLst/>
              </a:prstGeom>
              <a:noFill/>
              <a:ln w="12700">
                <a:noFill/>
              </a:ln>
            </p:spPr>
            <p:txBody>
              <a:bodyPr wrap="none" rtlCol="0">
                <a:spAutoFit/>
              </a:bodyPr>
              <a:lstStyle/>
              <a:p>
                <a:r>
                  <a:rPr lang="nl-NL" sz="1200" dirty="0">
                    <a:solidFill>
                      <a:srgbClr val="FF0000"/>
                    </a:solidFill>
                  </a:rPr>
                  <a:t>HO</a:t>
                </a:r>
                <a:endParaRPr lang="en-US" sz="1200" dirty="0">
                  <a:solidFill>
                    <a:srgbClr val="FF0000"/>
                  </a:solidFill>
                </a:endParaRPr>
              </a:p>
            </p:txBody>
          </p:sp>
          <p:sp>
            <p:nvSpPr>
              <p:cNvPr id="50" name="TextBox 49"/>
              <p:cNvSpPr txBox="1"/>
              <p:nvPr/>
            </p:nvSpPr>
            <p:spPr>
              <a:xfrm flipH="1" flipV="1">
                <a:off x="7806805" y="3927603"/>
                <a:ext cx="363639" cy="217327"/>
              </a:xfrm>
              <a:prstGeom prst="rect">
                <a:avLst/>
              </a:prstGeom>
              <a:noFill/>
              <a:ln w="12700">
                <a:noFill/>
              </a:ln>
            </p:spPr>
            <p:txBody>
              <a:bodyPr wrap="none" rtlCol="0">
                <a:spAutoFit/>
              </a:bodyPr>
              <a:lstStyle/>
              <a:p>
                <a:r>
                  <a:rPr lang="nl-NL" sz="1200" dirty="0">
                    <a:solidFill>
                      <a:srgbClr val="FF0000"/>
                    </a:solidFill>
                  </a:rPr>
                  <a:t>HO</a:t>
                </a:r>
                <a:endParaRPr lang="en-US" sz="1200" dirty="0">
                  <a:solidFill>
                    <a:srgbClr val="FF0000"/>
                  </a:solidFill>
                </a:endParaRPr>
              </a:p>
            </p:txBody>
          </p:sp>
          <p:sp>
            <p:nvSpPr>
              <p:cNvPr id="51" name="TextBox 50"/>
              <p:cNvSpPr txBox="1"/>
              <p:nvPr/>
            </p:nvSpPr>
            <p:spPr>
              <a:xfrm flipH="1" flipV="1">
                <a:off x="8555675" y="3362427"/>
                <a:ext cx="363639" cy="217327"/>
              </a:xfrm>
              <a:prstGeom prst="rect">
                <a:avLst/>
              </a:prstGeom>
              <a:noFill/>
              <a:ln w="12700">
                <a:noFill/>
              </a:ln>
            </p:spPr>
            <p:txBody>
              <a:bodyPr wrap="none" rtlCol="0">
                <a:spAutoFit/>
              </a:bodyPr>
              <a:lstStyle/>
              <a:p>
                <a:r>
                  <a:rPr lang="nl-NL" sz="1200" dirty="0">
                    <a:solidFill>
                      <a:srgbClr val="FF0000"/>
                    </a:solidFill>
                  </a:rPr>
                  <a:t>HO</a:t>
                </a:r>
                <a:endParaRPr lang="en-US" sz="1200" dirty="0">
                  <a:solidFill>
                    <a:srgbClr val="FF0000"/>
                  </a:solidFill>
                </a:endParaRPr>
              </a:p>
            </p:txBody>
          </p:sp>
          <p:sp>
            <p:nvSpPr>
              <p:cNvPr id="52" name="TextBox 51"/>
              <p:cNvSpPr txBox="1"/>
              <p:nvPr/>
            </p:nvSpPr>
            <p:spPr>
              <a:xfrm flipH="1" flipV="1">
                <a:off x="8545946" y="3760412"/>
                <a:ext cx="363639" cy="217327"/>
              </a:xfrm>
              <a:prstGeom prst="rect">
                <a:avLst/>
              </a:prstGeom>
              <a:noFill/>
              <a:ln w="12700">
                <a:noFill/>
              </a:ln>
            </p:spPr>
            <p:txBody>
              <a:bodyPr wrap="none" rtlCol="0">
                <a:spAutoFit/>
              </a:bodyPr>
              <a:lstStyle/>
              <a:p>
                <a:r>
                  <a:rPr lang="nl-NL" sz="1200" dirty="0">
                    <a:solidFill>
                      <a:srgbClr val="FF0000"/>
                    </a:solidFill>
                  </a:rPr>
                  <a:t>HO</a:t>
                </a:r>
                <a:endParaRPr lang="en-US" sz="1200" dirty="0">
                  <a:solidFill>
                    <a:srgbClr val="FF0000"/>
                  </a:solidFill>
                </a:endParaRPr>
              </a:p>
            </p:txBody>
          </p:sp>
          <p:sp>
            <p:nvSpPr>
              <p:cNvPr id="53" name="TextBox 52"/>
              <p:cNvSpPr txBox="1"/>
              <p:nvPr/>
            </p:nvSpPr>
            <p:spPr>
              <a:xfrm flipH="1" flipV="1">
                <a:off x="7677619" y="3526438"/>
                <a:ext cx="272799" cy="217327"/>
              </a:xfrm>
              <a:prstGeom prst="rect">
                <a:avLst/>
              </a:prstGeom>
              <a:noFill/>
              <a:ln w="12700">
                <a:noFill/>
              </a:ln>
            </p:spPr>
            <p:txBody>
              <a:bodyPr wrap="none" rtlCol="0">
                <a:spAutoFit/>
              </a:bodyPr>
              <a:lstStyle/>
              <a:p>
                <a:r>
                  <a:rPr lang="nl-NL" sz="1200" dirty="0">
                    <a:solidFill>
                      <a:srgbClr val="FF0000"/>
                    </a:solidFill>
                  </a:rPr>
                  <a:t>O</a:t>
                </a:r>
                <a:endParaRPr lang="en-US" sz="1200" dirty="0">
                  <a:solidFill>
                    <a:srgbClr val="FF0000"/>
                  </a:solidFill>
                </a:endParaRPr>
              </a:p>
            </p:txBody>
          </p:sp>
          <p:grpSp>
            <p:nvGrpSpPr>
              <p:cNvPr id="54" name="Group 42"/>
              <p:cNvGrpSpPr/>
              <p:nvPr/>
            </p:nvGrpSpPr>
            <p:grpSpPr>
              <a:xfrm flipH="1" flipV="1">
                <a:off x="7811773" y="3521924"/>
                <a:ext cx="802517" cy="473692"/>
                <a:chOff x="609600" y="2057400"/>
                <a:chExt cx="1524000" cy="533400"/>
              </a:xfrm>
            </p:grpSpPr>
            <p:cxnSp>
              <p:nvCxnSpPr>
                <p:cNvPr id="58" name="Straight Connector 57"/>
                <p:cNvCxnSpPr/>
                <p:nvPr/>
              </p:nvCxnSpPr>
              <p:spPr bwMode="auto">
                <a:xfrm flipV="1">
                  <a:off x="688684" y="2288885"/>
                  <a:ext cx="0" cy="228600"/>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59" name="Straight Connector 58"/>
                <p:cNvCxnSpPr/>
                <p:nvPr/>
              </p:nvCxnSpPr>
              <p:spPr bwMode="auto">
                <a:xfrm flipV="1">
                  <a:off x="685800" y="2133600"/>
                  <a:ext cx="381000" cy="152400"/>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60" name="Straight Connector 59"/>
                <p:cNvCxnSpPr/>
                <p:nvPr/>
              </p:nvCxnSpPr>
              <p:spPr bwMode="auto">
                <a:xfrm>
                  <a:off x="1066800" y="2133600"/>
                  <a:ext cx="370114" cy="182088"/>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61" name="Straight Connector 60"/>
                <p:cNvCxnSpPr/>
                <p:nvPr/>
              </p:nvCxnSpPr>
              <p:spPr bwMode="auto">
                <a:xfrm flipV="1">
                  <a:off x="1427849" y="2133601"/>
                  <a:ext cx="400951" cy="183889"/>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62" name="Straight Connector 61"/>
                <p:cNvCxnSpPr/>
                <p:nvPr/>
              </p:nvCxnSpPr>
              <p:spPr bwMode="auto">
                <a:xfrm>
                  <a:off x="1828800" y="2133600"/>
                  <a:ext cx="304800" cy="152400"/>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63" name="Straight Connector 62"/>
                <p:cNvCxnSpPr/>
                <p:nvPr/>
              </p:nvCxnSpPr>
              <p:spPr bwMode="auto">
                <a:xfrm flipH="1">
                  <a:off x="609600" y="2514600"/>
                  <a:ext cx="76200" cy="76200"/>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64" name="Straight Connector 63"/>
                <p:cNvCxnSpPr/>
                <p:nvPr/>
              </p:nvCxnSpPr>
              <p:spPr bwMode="auto">
                <a:xfrm>
                  <a:off x="609600" y="2209800"/>
                  <a:ext cx="76200" cy="76200"/>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65" name="Straight Connector 64"/>
                <p:cNvCxnSpPr/>
                <p:nvPr/>
              </p:nvCxnSpPr>
              <p:spPr bwMode="auto">
                <a:xfrm>
                  <a:off x="1066800" y="2057400"/>
                  <a:ext cx="0" cy="76200"/>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66" name="Straight Connector 65"/>
                <p:cNvCxnSpPr/>
                <p:nvPr/>
              </p:nvCxnSpPr>
              <p:spPr bwMode="auto">
                <a:xfrm>
                  <a:off x="1436502" y="2317490"/>
                  <a:ext cx="0" cy="76200"/>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67" name="Straight Connector 66"/>
                <p:cNvCxnSpPr/>
                <p:nvPr/>
              </p:nvCxnSpPr>
              <p:spPr bwMode="auto">
                <a:xfrm>
                  <a:off x="1829040" y="2067977"/>
                  <a:ext cx="0" cy="76200"/>
                </a:xfrm>
                <a:prstGeom prst="line">
                  <a:avLst/>
                </a:prstGeom>
                <a:solidFill>
                  <a:schemeClr val="accent1"/>
                </a:solidFill>
                <a:ln w="12700" cap="flat" cmpd="sng" algn="ctr">
                  <a:solidFill>
                    <a:srgbClr val="FF0000"/>
                  </a:solidFill>
                  <a:prstDash val="solid"/>
                  <a:round/>
                  <a:headEnd type="none" w="med" len="med"/>
                  <a:tailEnd type="none" w="med" len="med"/>
                </a:ln>
                <a:effectLst/>
              </p:spPr>
            </p:cxnSp>
          </p:grpSp>
          <p:cxnSp>
            <p:nvCxnSpPr>
              <p:cNvPr id="55" name="Straight Connector 54"/>
              <p:cNvCxnSpPr/>
              <p:nvPr/>
            </p:nvCxnSpPr>
            <p:spPr bwMode="auto">
              <a:xfrm flipV="1">
                <a:off x="7811773" y="3713968"/>
                <a:ext cx="635" cy="78637"/>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56" name="Straight Connector 55"/>
              <p:cNvCxnSpPr/>
              <p:nvPr/>
            </p:nvCxnSpPr>
            <p:spPr bwMode="auto">
              <a:xfrm flipV="1">
                <a:off x="7772400" y="3715840"/>
                <a:ext cx="635" cy="78637"/>
              </a:xfrm>
              <a:prstGeom prst="line">
                <a:avLst/>
              </a:prstGeom>
              <a:solidFill>
                <a:schemeClr val="accent1"/>
              </a:solidFill>
              <a:ln w="12700" cap="flat" cmpd="sng" algn="ctr">
                <a:solidFill>
                  <a:srgbClr val="FF0000"/>
                </a:solidFill>
                <a:prstDash val="solid"/>
                <a:round/>
                <a:headEnd type="none" w="med" len="med"/>
                <a:tailEnd type="none" w="med" len="med"/>
              </a:ln>
              <a:effectLst/>
            </p:spPr>
          </p:cxnSp>
          <p:cxnSp>
            <p:nvCxnSpPr>
              <p:cNvPr id="57" name="Straight Connector 56"/>
              <p:cNvCxnSpPr/>
              <p:nvPr/>
            </p:nvCxnSpPr>
            <p:spPr bwMode="auto">
              <a:xfrm flipH="1" flipV="1">
                <a:off x="7731521" y="3792605"/>
                <a:ext cx="80252" cy="0"/>
              </a:xfrm>
              <a:prstGeom prst="line">
                <a:avLst/>
              </a:prstGeom>
              <a:solidFill>
                <a:schemeClr val="accent1"/>
              </a:solidFill>
              <a:ln w="12700" cap="flat" cmpd="sng" algn="ctr">
                <a:solidFill>
                  <a:srgbClr val="FF0000"/>
                </a:solidFill>
                <a:prstDash val="solid"/>
                <a:round/>
                <a:headEnd type="none" w="med" len="med"/>
                <a:tailEnd type="none" w="med" len="med"/>
              </a:ln>
              <a:effectLst/>
            </p:spPr>
          </p:cxnSp>
        </p:grpSp>
        <p:grpSp>
          <p:nvGrpSpPr>
            <p:cNvPr id="45" name="Group 198"/>
            <p:cNvGrpSpPr/>
            <p:nvPr/>
          </p:nvGrpSpPr>
          <p:grpSpPr>
            <a:xfrm>
              <a:off x="723552" y="5277806"/>
              <a:ext cx="492493" cy="249860"/>
              <a:chOff x="7586131" y="3719489"/>
              <a:chExt cx="422865" cy="217327"/>
            </a:xfrm>
          </p:grpSpPr>
          <p:sp>
            <p:nvSpPr>
              <p:cNvPr id="46" name="TextBox 45"/>
              <p:cNvSpPr txBox="1"/>
              <p:nvPr/>
            </p:nvSpPr>
            <p:spPr>
              <a:xfrm flipH="1" flipV="1">
                <a:off x="7645358" y="3719489"/>
                <a:ext cx="363638" cy="217327"/>
              </a:xfrm>
              <a:prstGeom prst="rect">
                <a:avLst/>
              </a:prstGeom>
              <a:noFill/>
              <a:ln w="12700">
                <a:noFill/>
              </a:ln>
            </p:spPr>
            <p:txBody>
              <a:bodyPr wrap="none" rtlCol="0">
                <a:spAutoFit/>
              </a:bodyPr>
              <a:lstStyle/>
              <a:p>
                <a:r>
                  <a:rPr lang="nl-NL" sz="1200" dirty="0">
                    <a:solidFill>
                      <a:srgbClr val="FF0000"/>
                    </a:solidFill>
                  </a:rPr>
                  <a:t>HO</a:t>
                </a:r>
                <a:endParaRPr lang="en-US" sz="1200" dirty="0">
                  <a:solidFill>
                    <a:srgbClr val="FF0000"/>
                  </a:solidFill>
                </a:endParaRPr>
              </a:p>
            </p:txBody>
          </p:sp>
          <p:cxnSp>
            <p:nvCxnSpPr>
              <p:cNvPr id="47" name="Straight Connector 46"/>
              <p:cNvCxnSpPr/>
              <p:nvPr/>
            </p:nvCxnSpPr>
            <p:spPr bwMode="auto">
              <a:xfrm flipH="1" flipV="1">
                <a:off x="7586131" y="3733146"/>
                <a:ext cx="119836" cy="41428"/>
              </a:xfrm>
              <a:prstGeom prst="line">
                <a:avLst/>
              </a:prstGeom>
              <a:solidFill>
                <a:schemeClr val="accent1"/>
              </a:solidFill>
              <a:ln w="12700" cap="flat" cmpd="sng" algn="ctr">
                <a:solidFill>
                  <a:srgbClr val="FF0000"/>
                </a:solidFill>
                <a:prstDash val="solid"/>
                <a:round/>
                <a:headEnd type="none" w="med" len="med"/>
                <a:tailEnd type="none" w="med" len="med"/>
              </a:ln>
              <a:effectLst/>
            </p:spPr>
          </p:cxnSp>
        </p:grpSp>
      </p:grpSp>
      <p:sp>
        <p:nvSpPr>
          <p:cNvPr id="74" name="Rectangle 73"/>
          <p:cNvSpPr/>
          <p:nvPr/>
        </p:nvSpPr>
        <p:spPr bwMode="auto">
          <a:xfrm>
            <a:off x="3592467" y="2356506"/>
            <a:ext cx="1443607" cy="4218465"/>
          </a:xfrm>
          <a:prstGeom prst="rect">
            <a:avLst/>
          </a:prstGeom>
          <a:solidFill>
            <a:schemeClr val="accent3">
              <a:lumMod val="40000"/>
              <a:lumOff val="60000"/>
            </a:schemeClr>
          </a:solidFill>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tabLst/>
            </a:pPr>
            <a:r>
              <a:rPr lang="ru-RU" sz="1200" dirty="0">
                <a:solidFill>
                  <a:schemeClr val="tx1">
                    <a:lumMod val="85000"/>
                    <a:lumOff val="15000"/>
                  </a:schemeClr>
                </a:solidFill>
                <a:latin typeface="Century Gothic Pro" panose="020B0502020202020204" pitchFamily="34" charset="0"/>
                <a:ea typeface="ヒラギノ角ゴ Pro W3" pitchFamily="48" charset="-128"/>
                <a:cs typeface="Arial" charset="0"/>
              </a:rPr>
              <a:t>Белковая структура </a:t>
            </a:r>
            <a:r>
              <a:rPr lang="nl-NL" sz="1200" dirty="0">
                <a:solidFill>
                  <a:schemeClr val="tx1">
                    <a:lumMod val="85000"/>
                    <a:lumOff val="15000"/>
                  </a:schemeClr>
                </a:solidFill>
                <a:latin typeface="Century Gothic Pro" panose="020B0502020202020204" pitchFamily="34" charset="0"/>
                <a:ea typeface="ヒラギノ角ゴ Pro W3" pitchFamily="48" charset="-128"/>
                <a:cs typeface="Arial" charset="0"/>
              </a:rPr>
              <a:t> </a:t>
            </a:r>
            <a:r>
              <a:rPr lang="ru-RU" sz="1200" dirty="0">
                <a:solidFill>
                  <a:schemeClr val="tx1">
                    <a:lumMod val="85000"/>
                    <a:lumOff val="15000"/>
                  </a:schemeClr>
                </a:solidFill>
                <a:latin typeface="Century Gothic Pro" panose="020B0502020202020204" pitchFamily="34" charset="0"/>
                <a:ea typeface="ヒラギノ角ゴ Pro W3" pitchFamily="48" charset="-128"/>
                <a:cs typeface="Arial" panose="020B0604020202020204" pitchFamily="34" charset="0"/>
              </a:rPr>
              <a:t>альфа-спирали в волосяном волокне обеспечивает прочность волос. В ослабленных волосах связи утеряны и разрушены. </a:t>
            </a:r>
            <a:r>
              <a:rPr lang="en-US" sz="1200" dirty="0">
                <a:solidFill>
                  <a:schemeClr val="tx1">
                    <a:lumMod val="85000"/>
                    <a:lumOff val="15000"/>
                  </a:schemeClr>
                </a:solidFill>
                <a:latin typeface="Century Gothic Pro" panose="020B0502020202020204" pitchFamily="34" charset="0"/>
                <a:ea typeface="ヒラギノ角ゴ Pro W3" pitchFamily="48" charset="-128"/>
                <a:cs typeface="Arial" charset="0"/>
              </a:rPr>
              <a:t>F</a:t>
            </a:r>
            <a:r>
              <a:rPr lang="nl-NL" sz="1200" dirty="0">
                <a:solidFill>
                  <a:schemeClr val="tx1">
                    <a:lumMod val="85000"/>
                    <a:lumOff val="15000"/>
                  </a:schemeClr>
                </a:solidFill>
                <a:latin typeface="Century Gothic Pro" panose="020B0502020202020204" pitchFamily="34" charset="0"/>
                <a:ea typeface="ヒラギノ角ゴ Pro W3" pitchFamily="48" charset="-128"/>
                <a:cs typeface="Arial" charset="0"/>
              </a:rPr>
              <a:t>iberhance</a:t>
            </a:r>
            <a:r>
              <a:rPr lang="nl-NL" sz="1200" dirty="0">
                <a:solidFill>
                  <a:schemeClr val="tx1">
                    <a:lumMod val="85000"/>
                    <a:lumOff val="15000"/>
                  </a:schemeClr>
                </a:solidFill>
                <a:latin typeface="Century Gothic Pro" panose="020B0502020202020204" pitchFamily="34" charset="0"/>
                <a:ea typeface="ヒラギノ角ゴ Pro W3" pitchFamily="48" charset="-128"/>
                <a:cs typeface="Arial" panose="020B0604020202020204" pitchFamily="34" charset="0"/>
              </a:rPr>
              <a:t>™</a:t>
            </a:r>
            <a:endParaRPr lang="ru-RU" sz="1200" dirty="0">
              <a:solidFill>
                <a:schemeClr val="tx1">
                  <a:lumMod val="85000"/>
                  <a:lumOff val="15000"/>
                </a:schemeClr>
              </a:solidFill>
              <a:latin typeface="Century Gothic Pro" panose="020B0502020202020204" pitchFamily="34" charset="0"/>
              <a:ea typeface="ヒラギノ角ゴ Pro W3" pitchFamily="48" charset="-128"/>
              <a:cs typeface="Arial" panose="020B0604020202020204" pitchFamily="34" charset="0"/>
            </a:endParaRPr>
          </a:p>
          <a:p>
            <a:pPr marL="0" marR="0" indent="0" algn="l" defTabSz="914400" rtl="0" eaLnBrk="0" fontAlgn="base" latinLnBrk="0" hangingPunct="0">
              <a:lnSpc>
                <a:spcPct val="100000"/>
              </a:lnSpc>
              <a:spcBef>
                <a:spcPct val="0"/>
              </a:spcBef>
              <a:spcAft>
                <a:spcPct val="0"/>
              </a:spcAft>
              <a:buClrTx/>
              <a:buSzTx/>
              <a:tabLst/>
            </a:pPr>
            <a:r>
              <a:rPr lang="ru-RU" sz="1200" dirty="0">
                <a:solidFill>
                  <a:schemeClr val="tx1">
                    <a:lumMod val="85000"/>
                    <a:lumOff val="15000"/>
                  </a:schemeClr>
                </a:solidFill>
                <a:latin typeface="Century Gothic Pro" panose="020B0502020202020204" pitchFamily="34" charset="0"/>
                <a:ea typeface="ヒラギノ角ゴ Pro W3" pitchFamily="48" charset="-128"/>
                <a:cs typeface="Arial" charset="0"/>
              </a:rPr>
              <a:t>выстраивает новые связи как внутри белковой структуры так и междусоседним белковыми структурами</a:t>
            </a:r>
          </a:p>
          <a:p>
            <a:pPr marL="0" marR="0" indent="0" algn="l" defTabSz="914400" rtl="0" eaLnBrk="0" fontAlgn="base" latinLnBrk="0" hangingPunct="0">
              <a:lnSpc>
                <a:spcPct val="100000"/>
              </a:lnSpc>
              <a:spcBef>
                <a:spcPct val="0"/>
              </a:spcBef>
              <a:spcAft>
                <a:spcPct val="0"/>
              </a:spcAft>
              <a:buClrTx/>
              <a:buSzTx/>
              <a:tabLst/>
            </a:pPr>
            <a:r>
              <a:rPr kumimoji="0" lang="ru-RU" sz="1200" b="0" i="0" u="none" strike="noStrike" cap="none" normalizeH="0" baseline="0" dirty="0">
                <a:ln>
                  <a:noFill/>
                </a:ln>
                <a:solidFill>
                  <a:schemeClr val="tx1">
                    <a:lumMod val="85000"/>
                    <a:lumOff val="15000"/>
                  </a:schemeClr>
                </a:solidFill>
                <a:effectLst/>
                <a:latin typeface="Century Gothic Pro" panose="020B0502020202020204" pitchFamily="34" charset="0"/>
                <a:ea typeface="ヒラギノ角ゴ Pro W3" pitchFamily="48" charset="-128"/>
                <a:cs typeface="Arial" charset="0"/>
              </a:rPr>
              <a:t>(двойной механизм действия)</a:t>
            </a:r>
            <a:endParaRPr kumimoji="0" lang="en-US" sz="1200" b="0" i="0" u="none" strike="noStrike" cap="none" normalizeH="0" baseline="0" dirty="0">
              <a:ln>
                <a:noFill/>
              </a:ln>
              <a:solidFill>
                <a:schemeClr val="tx1">
                  <a:lumMod val="85000"/>
                  <a:lumOff val="15000"/>
                </a:schemeClr>
              </a:solidFill>
              <a:effectLst/>
              <a:latin typeface="Century Gothic Pro" panose="020B0502020202020204" pitchFamily="34" charset="0"/>
              <a:ea typeface="ヒラギノ角ゴ Pro W3" pitchFamily="48" charset="-128"/>
              <a:cs typeface="Arial" charset="0"/>
            </a:endParaRPr>
          </a:p>
        </p:txBody>
      </p:sp>
      <p:sp>
        <p:nvSpPr>
          <p:cNvPr id="4" name="TextBox 3"/>
          <p:cNvSpPr txBox="1"/>
          <p:nvPr/>
        </p:nvSpPr>
        <p:spPr>
          <a:xfrm>
            <a:off x="429743" y="2464975"/>
            <a:ext cx="2270479" cy="461665"/>
          </a:xfrm>
          <a:prstGeom prst="rect">
            <a:avLst/>
          </a:prstGeom>
          <a:noFill/>
        </p:spPr>
        <p:txBody>
          <a:bodyPr wrap="square" rtlCol="0">
            <a:spAutoFit/>
          </a:bodyPr>
          <a:lstStyle/>
          <a:p>
            <a:r>
              <a:rPr lang="ru-RU" sz="1200" dirty="0">
                <a:solidFill>
                  <a:schemeClr val="bg2">
                    <a:lumMod val="25000"/>
                  </a:schemeClr>
                </a:solidFill>
                <a:latin typeface="Century Gothic Pro" panose="020B0502020202020204" pitchFamily="34" charset="0"/>
              </a:rPr>
              <a:t>Водородные связи внутри альфа-спирали</a:t>
            </a:r>
            <a:endParaRPr lang="en-GB" sz="1200" dirty="0">
              <a:solidFill>
                <a:schemeClr val="bg2">
                  <a:lumMod val="25000"/>
                </a:schemeClr>
              </a:solidFill>
              <a:latin typeface="Century Gothic Pro" panose="020B0502020202020204" pitchFamily="34" charset="0"/>
            </a:endParaRPr>
          </a:p>
        </p:txBody>
      </p:sp>
      <p:sp>
        <p:nvSpPr>
          <p:cNvPr id="75" name="TextBox 74"/>
          <p:cNvSpPr txBox="1"/>
          <p:nvPr/>
        </p:nvSpPr>
        <p:spPr>
          <a:xfrm>
            <a:off x="5467945" y="2473947"/>
            <a:ext cx="2270479" cy="461665"/>
          </a:xfrm>
          <a:prstGeom prst="rect">
            <a:avLst/>
          </a:prstGeom>
          <a:noFill/>
        </p:spPr>
        <p:txBody>
          <a:bodyPr wrap="square" rtlCol="0">
            <a:spAutoFit/>
          </a:bodyPr>
          <a:lstStyle/>
          <a:p>
            <a:r>
              <a:rPr lang="ru-RU" sz="1200" dirty="0">
                <a:solidFill>
                  <a:schemeClr val="bg2">
                    <a:lumMod val="25000"/>
                  </a:schemeClr>
                </a:solidFill>
                <a:latin typeface="Century Gothic Pro" panose="020B0502020202020204" pitchFamily="34" charset="0"/>
              </a:rPr>
              <a:t>Водородные связи между альфа-спиралями</a:t>
            </a:r>
            <a:endParaRPr lang="en-GB" sz="1200" dirty="0">
              <a:solidFill>
                <a:schemeClr val="bg2">
                  <a:lumMod val="25000"/>
                </a:schemeClr>
              </a:solidFill>
              <a:latin typeface="Century Gothic Pro" panose="020B0502020202020204" pitchFamily="34" charset="0"/>
            </a:endParaRPr>
          </a:p>
        </p:txBody>
      </p:sp>
    </p:spTree>
    <p:extLst>
      <p:ext uri="{BB962C8B-B14F-4D97-AF65-F5344CB8AC3E}">
        <p14:creationId xmlns:p14="http://schemas.microsoft.com/office/powerpoint/2010/main" val="16242840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52438" y="4818065"/>
            <a:ext cx="7306899" cy="2031325"/>
          </a:xfrm>
          <a:prstGeom prst="rect">
            <a:avLst/>
          </a:prstGeom>
        </p:spPr>
        <p:txBody>
          <a:bodyPr wrap="square">
            <a:spAutoFit/>
          </a:bodyPr>
          <a:lstStyle/>
          <a:p>
            <a:endParaRPr lang="ru-RU" sz="1400" dirty="0">
              <a:solidFill>
                <a:schemeClr val="bg2">
                  <a:lumMod val="25000"/>
                </a:schemeClr>
              </a:solidFill>
              <a:latin typeface="Century Gothic Pro" panose="020B0502020202020204" pitchFamily="34" charset="0"/>
            </a:endParaRPr>
          </a:p>
          <a:p>
            <a:r>
              <a:rPr lang="ru-RU" sz="1400" dirty="0">
                <a:solidFill>
                  <a:schemeClr val="bg2">
                    <a:lumMod val="25000"/>
                  </a:schemeClr>
                </a:solidFill>
                <a:latin typeface="Century Gothic Pro" panose="020B0502020202020204" pitchFamily="34" charset="0"/>
              </a:rPr>
              <a:t>Дважды обесцвеченные волосы, обработанные </a:t>
            </a:r>
            <a:r>
              <a:rPr lang="en-US" sz="1400" dirty="0">
                <a:solidFill>
                  <a:schemeClr val="bg2">
                    <a:lumMod val="25000"/>
                  </a:schemeClr>
                </a:solidFill>
                <a:latin typeface="Century Gothic Pro" panose="020B0502020202020204" pitchFamily="34" charset="0"/>
              </a:rPr>
              <a:t> </a:t>
            </a:r>
            <a:r>
              <a:rPr lang="en-US" sz="1400" dirty="0" err="1">
                <a:solidFill>
                  <a:schemeClr val="accent3"/>
                </a:solidFill>
                <a:latin typeface="Century Gothic Pro" panose="020B0502020202020204" pitchFamily="34" charset="0"/>
              </a:rPr>
              <a:t>fiberHance</a:t>
            </a:r>
            <a:r>
              <a:rPr lang="en-US" sz="1400" dirty="0">
                <a:solidFill>
                  <a:schemeClr val="accent3"/>
                </a:solidFill>
                <a:latin typeface="Century Gothic Pro" panose="020B0502020202020204" pitchFamily="34" charset="0"/>
              </a:rPr>
              <a:t>™ </a:t>
            </a:r>
            <a:r>
              <a:rPr lang="en-US" sz="1400" dirty="0" err="1">
                <a:solidFill>
                  <a:schemeClr val="accent3"/>
                </a:solidFill>
                <a:latin typeface="Century Gothic Pro" panose="020B0502020202020204" pitchFamily="34" charset="0"/>
              </a:rPr>
              <a:t>bm</a:t>
            </a:r>
            <a:r>
              <a:rPr lang="en-US" sz="1400" dirty="0">
                <a:solidFill>
                  <a:schemeClr val="accent3"/>
                </a:solidFill>
                <a:latin typeface="Century Gothic Pro" panose="020B0502020202020204" pitchFamily="34" charset="0"/>
              </a:rPr>
              <a:t> solution  </a:t>
            </a:r>
            <a:r>
              <a:rPr lang="en-US" sz="1400" dirty="0">
                <a:solidFill>
                  <a:schemeClr val="bg2">
                    <a:lumMod val="25000"/>
                  </a:schemeClr>
                </a:solidFill>
                <a:latin typeface="Century Gothic Pro" panose="020B0502020202020204" pitchFamily="34" charset="0"/>
              </a:rPr>
              <a:t>(</a:t>
            </a:r>
            <a:r>
              <a:rPr lang="ru-RU" sz="1400" dirty="0">
                <a:solidFill>
                  <a:schemeClr val="bg2">
                    <a:lumMod val="25000"/>
                  </a:schemeClr>
                </a:solidFill>
                <a:latin typeface="Century Gothic Pro" panose="020B0502020202020204" pitchFamily="34" charset="0"/>
              </a:rPr>
              <a:t>смоченные раствором 2% как есть и затем промытые водой)</a:t>
            </a:r>
            <a:endParaRPr lang="en-US" sz="1400" dirty="0">
              <a:solidFill>
                <a:schemeClr val="bg2">
                  <a:lumMod val="25000"/>
                </a:schemeClr>
              </a:solidFill>
              <a:latin typeface="Century Gothic Pro" panose="020B0502020202020204" pitchFamily="34" charset="0"/>
            </a:endParaRPr>
          </a:p>
          <a:p>
            <a:endParaRPr lang="ru-RU" sz="1400" b="1" dirty="0">
              <a:solidFill>
                <a:schemeClr val="bg2">
                  <a:lumMod val="25000"/>
                </a:schemeClr>
              </a:solidFill>
              <a:latin typeface="Century Gothic Pro" panose="020B0502020202020204" pitchFamily="34" charset="0"/>
            </a:endParaRPr>
          </a:p>
          <a:p>
            <a:r>
              <a:rPr lang="ru-RU" sz="1400" b="1" dirty="0">
                <a:solidFill>
                  <a:schemeClr val="bg2">
                    <a:lumMod val="25000"/>
                  </a:schemeClr>
                </a:solidFill>
                <a:latin typeface="Century Gothic Pro" panose="020B0502020202020204" pitchFamily="34" charset="0"/>
              </a:rPr>
              <a:t>Карта интенсивности полосы</a:t>
            </a:r>
            <a:r>
              <a:rPr lang="en-US" sz="1400" b="1" dirty="0">
                <a:solidFill>
                  <a:schemeClr val="bg2">
                    <a:lumMod val="25000"/>
                  </a:schemeClr>
                </a:solidFill>
                <a:latin typeface="Century Gothic Pro" panose="020B0502020202020204" pitchFamily="34" charset="0"/>
              </a:rPr>
              <a:t> 1400 cm</a:t>
            </a:r>
            <a:r>
              <a:rPr lang="en-US" sz="1400" b="1" baseline="30000" dirty="0">
                <a:solidFill>
                  <a:schemeClr val="bg2">
                    <a:lumMod val="25000"/>
                  </a:schemeClr>
                </a:solidFill>
                <a:latin typeface="Century Gothic Pro" panose="020B0502020202020204" pitchFamily="34" charset="0"/>
              </a:rPr>
              <a:t>-1</a:t>
            </a:r>
            <a:r>
              <a:rPr lang="en-US" sz="1400" b="1" dirty="0">
                <a:solidFill>
                  <a:schemeClr val="bg2">
                    <a:lumMod val="25000"/>
                  </a:schemeClr>
                </a:solidFill>
                <a:latin typeface="Century Gothic Pro" panose="020B0502020202020204" pitchFamily="34" charset="0"/>
              </a:rPr>
              <a:t> </a:t>
            </a:r>
            <a:r>
              <a:rPr lang="ru-RU" sz="1400" b="1" dirty="0">
                <a:solidFill>
                  <a:schemeClr val="bg2">
                    <a:lumMod val="25000"/>
                  </a:schemeClr>
                </a:solidFill>
                <a:latin typeface="Century Gothic Pro" panose="020B0502020202020204" pitchFamily="34" charset="0"/>
              </a:rPr>
              <a:t>по</a:t>
            </a:r>
            <a:r>
              <a:rPr lang="en-US" sz="1400" b="1" dirty="0">
                <a:solidFill>
                  <a:schemeClr val="bg2">
                    <a:lumMod val="25000"/>
                  </a:schemeClr>
                </a:solidFill>
                <a:latin typeface="Century Gothic Pro" panose="020B0502020202020204" pitchFamily="34" charset="0"/>
              </a:rPr>
              <a:t> FTIR.</a:t>
            </a:r>
            <a:endParaRPr lang="ru-RU" sz="1400" b="1" dirty="0">
              <a:solidFill>
                <a:schemeClr val="bg2">
                  <a:lumMod val="25000"/>
                </a:schemeClr>
              </a:solidFill>
              <a:latin typeface="Century Gothic Pro" panose="020B0502020202020204" pitchFamily="34" charset="0"/>
            </a:endParaRPr>
          </a:p>
          <a:p>
            <a:r>
              <a:rPr lang="ru-RU" sz="1400" dirty="0"/>
              <a:t>повышенная интенсивность полосы при 1400 см-1 наблюдалась в обработанных поперечных сечениях волос. Интенсивность FTIR нормализуется по содержанию белка, красный соответствует самой высокой интенсивности (или уровню FiberHance), а синий соответствует самой низкой интенсивности (или отсутствию FiberHance</a:t>
            </a:r>
          </a:p>
        </p:txBody>
      </p:sp>
      <p:pic>
        <p:nvPicPr>
          <p:cNvPr id="191490" name="Picture 2"/>
          <p:cNvPicPr>
            <a:picLocks noChangeAspect="1" noChangeArrowheads="1"/>
          </p:cNvPicPr>
          <p:nvPr/>
        </p:nvPicPr>
        <p:blipFill>
          <a:blip r:embed="rId3" cstate="print"/>
          <a:srcRect/>
          <a:stretch>
            <a:fillRect/>
          </a:stretch>
        </p:blipFill>
        <p:spPr bwMode="auto">
          <a:xfrm rot="10800000">
            <a:off x="1481175" y="1785573"/>
            <a:ext cx="4627923" cy="3129164"/>
          </a:xfrm>
          <a:prstGeom prst="rect">
            <a:avLst/>
          </a:prstGeom>
          <a:ln>
            <a:noFill/>
          </a:ln>
          <a:effectLst>
            <a:outerShdw blurRad="292100" dist="139700" dir="2700000" algn="tl" rotWithShape="0">
              <a:srgbClr val="333333">
                <a:alpha val="65000"/>
              </a:srgbClr>
            </a:outerShdw>
          </a:effectLst>
        </p:spPr>
      </p:pic>
      <p:sp>
        <p:nvSpPr>
          <p:cNvPr id="7" name="Down Arrow 6"/>
          <p:cNvSpPr/>
          <p:nvPr/>
        </p:nvSpPr>
        <p:spPr bwMode="auto">
          <a:xfrm rot="5400000">
            <a:off x="7369875" y="641435"/>
            <a:ext cx="1467326" cy="3469548"/>
          </a:xfrm>
          <a:prstGeom prst="downArrow">
            <a:avLst/>
          </a:prstGeom>
          <a:solidFill>
            <a:schemeClr val="accent3"/>
          </a:solidFill>
        </p:spPr>
        <p:txBody>
          <a:bodyPr vert="vert270" wrap="square" rtlCol="0">
            <a:spAutoFit/>
          </a:bodyPr>
          <a:lstStyle/>
          <a:p>
            <a:r>
              <a:rPr lang="ru-RU" b="1" dirty="0">
                <a:solidFill>
                  <a:schemeClr val="bg1"/>
                </a:solidFill>
                <a:latin typeface="Century Gothic" panose="020B0502020202020204" pitchFamily="34" charset="0"/>
              </a:rPr>
              <a:t>обработано</a:t>
            </a:r>
            <a:endParaRPr lang="nl-NL" b="1" dirty="0">
              <a:solidFill>
                <a:schemeClr val="bg1"/>
              </a:solidFill>
              <a:latin typeface="Century Gothic" panose="020B0502020202020204" pitchFamily="34" charset="0"/>
            </a:endParaRPr>
          </a:p>
          <a:p>
            <a:r>
              <a:rPr lang="nl-NL" b="1" dirty="0">
                <a:solidFill>
                  <a:schemeClr val="bg1"/>
                </a:solidFill>
                <a:latin typeface="Century Gothic" panose="020B0502020202020204" pitchFamily="34" charset="0"/>
              </a:rPr>
              <a:t>fiberHance™ bm solution</a:t>
            </a:r>
            <a:endParaRPr lang="en-US" b="1" dirty="0">
              <a:solidFill>
                <a:schemeClr val="bg1"/>
              </a:solidFill>
              <a:latin typeface="Century Gothic" panose="020B0502020202020204" pitchFamily="34" charset="0"/>
            </a:endParaRPr>
          </a:p>
        </p:txBody>
      </p:sp>
      <p:sp>
        <p:nvSpPr>
          <p:cNvPr id="8" name="Down Arrow 7"/>
          <p:cNvSpPr/>
          <p:nvPr/>
        </p:nvSpPr>
        <p:spPr bwMode="auto">
          <a:xfrm rot="5400000">
            <a:off x="7162688" y="3055416"/>
            <a:ext cx="917079" cy="1900234"/>
          </a:xfrm>
          <a:prstGeom prst="downArrow">
            <a:avLst/>
          </a:prstGeom>
          <a:solidFill>
            <a:schemeClr val="accent3"/>
          </a:solidFill>
        </p:spPr>
        <p:txBody>
          <a:bodyPr vert="vert270" wrap="square" rtlCol="0">
            <a:spAutoFit/>
          </a:bodyPr>
          <a:lstStyle/>
          <a:p>
            <a:r>
              <a:rPr lang="ru-RU" b="1" dirty="0">
                <a:solidFill>
                  <a:schemeClr val="bg1"/>
                </a:solidFill>
                <a:latin typeface="Century Gothic" panose="020B0502020202020204" pitchFamily="34" charset="0"/>
              </a:rPr>
              <a:t>Контроль</a:t>
            </a:r>
            <a:endParaRPr lang="nl-NL" b="1" dirty="0">
              <a:solidFill>
                <a:schemeClr val="bg1"/>
              </a:solidFill>
              <a:latin typeface="Century Gothic" panose="020B0502020202020204" pitchFamily="34" charset="0"/>
            </a:endParaRPr>
          </a:p>
        </p:txBody>
      </p:sp>
      <p:sp>
        <p:nvSpPr>
          <p:cNvPr id="10" name="Title 2"/>
          <p:cNvSpPr>
            <a:spLocks noGrp="1"/>
          </p:cNvSpPr>
          <p:nvPr>
            <p:ph type="title"/>
          </p:nvPr>
        </p:nvSpPr>
        <p:spPr/>
        <p:txBody>
          <a:bodyPr vert="horz" lIns="91440" tIns="45720" rIns="91440" bIns="45720" rtlCol="0" anchor="ctr">
            <a:normAutofit/>
          </a:bodyPr>
          <a:lstStyle/>
          <a:p>
            <a:r>
              <a:rPr lang="nl-NL" dirty="0"/>
              <a:t>fiberHance™ bm solution – </a:t>
            </a:r>
            <a:r>
              <a:rPr lang="ru-RU" dirty="0"/>
              <a:t>проникновение внутрь волоса</a:t>
            </a:r>
            <a:endParaRPr lang="en-US" dirty="0"/>
          </a:p>
        </p:txBody>
      </p:sp>
      <p:pic>
        <p:nvPicPr>
          <p:cNvPr id="9" name="Picture 3"/>
          <p:cNvPicPr>
            <a:picLocks noChangeAspect="1" noChangeArrowheads="1"/>
          </p:cNvPicPr>
          <p:nvPr/>
        </p:nvPicPr>
        <p:blipFill>
          <a:blip r:embed="rId4" cstate="print"/>
          <a:srcRect/>
          <a:stretch>
            <a:fillRect/>
          </a:stretch>
        </p:blipFill>
        <p:spPr bwMode="auto">
          <a:xfrm>
            <a:off x="452438" y="1930273"/>
            <a:ext cx="466725" cy="2752725"/>
          </a:xfrm>
          <a:prstGeom prst="rect">
            <a:avLst/>
          </a:prstGeom>
          <a:ln>
            <a:noFill/>
          </a:ln>
          <a:effectLst>
            <a:outerShdw blurRad="292100" dist="139700" dir="2700000" algn="tl" rotWithShape="0">
              <a:srgbClr val="333333">
                <a:alpha val="65000"/>
              </a:srgbClr>
            </a:outerShdw>
          </a:effectLst>
        </p:spPr>
      </p:pic>
      <p:sp>
        <p:nvSpPr>
          <p:cNvPr id="2" name="TextBox 1"/>
          <p:cNvSpPr txBox="1"/>
          <p:nvPr/>
        </p:nvSpPr>
        <p:spPr>
          <a:xfrm>
            <a:off x="1097280" y="1571333"/>
            <a:ext cx="184731" cy="369332"/>
          </a:xfrm>
          <a:prstGeom prst="rect">
            <a:avLst/>
          </a:prstGeom>
          <a:noFill/>
        </p:spPr>
        <p:txBody>
          <a:bodyPr wrap="none" rtlCol="0">
            <a:spAutoFit/>
          </a:bodyPr>
          <a:lstStyle/>
          <a:p>
            <a:endParaRPr lang="en-GB" dirty="0"/>
          </a:p>
        </p:txBody>
      </p:sp>
      <p:sp>
        <p:nvSpPr>
          <p:cNvPr id="3" name="TextBox 2"/>
          <p:cNvSpPr txBox="1"/>
          <p:nvPr/>
        </p:nvSpPr>
        <p:spPr>
          <a:xfrm>
            <a:off x="1189645" y="1397054"/>
            <a:ext cx="6492355" cy="369332"/>
          </a:xfrm>
          <a:prstGeom prst="rect">
            <a:avLst/>
          </a:prstGeom>
          <a:noFill/>
        </p:spPr>
        <p:txBody>
          <a:bodyPr wrap="none" rtlCol="0">
            <a:spAutoFit/>
          </a:bodyPr>
          <a:lstStyle/>
          <a:p>
            <a:r>
              <a:rPr lang="ru-RU" dirty="0">
                <a:solidFill>
                  <a:schemeClr val="accent3"/>
                </a:solidFill>
                <a:latin typeface="Century Gothic Pro" panose="020B0502020202020204" pitchFamily="34" charset="0"/>
              </a:rPr>
              <a:t>Внутри волосяного волокна дважды обесвеченных волос</a:t>
            </a:r>
            <a:r>
              <a:rPr lang="en-US" dirty="0">
                <a:solidFill>
                  <a:schemeClr val="accent3"/>
                </a:solidFill>
                <a:latin typeface="Century Gothic Pro" panose="020B0502020202020204" pitchFamily="34" charset="0"/>
              </a:rPr>
              <a:t> - FTIR</a:t>
            </a:r>
            <a:endParaRPr lang="en-GB" dirty="0">
              <a:solidFill>
                <a:schemeClr val="accent3"/>
              </a:solidFill>
            </a:endParaRPr>
          </a:p>
        </p:txBody>
      </p:sp>
    </p:spTree>
    <p:extLst>
      <p:ext uri="{BB962C8B-B14F-4D97-AF65-F5344CB8AC3E}">
        <p14:creationId xmlns:p14="http://schemas.microsoft.com/office/powerpoint/2010/main" val="3027598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p:cNvGraphicFramePr>
            <a:graphicFrameLocks/>
          </p:cNvGraphicFramePr>
          <p:nvPr>
            <p:extLst>
              <p:ext uri="{D42A27DB-BD31-4B8C-83A1-F6EECF244321}">
                <p14:modId xmlns:p14="http://schemas.microsoft.com/office/powerpoint/2010/main" val="41162326"/>
              </p:ext>
            </p:extLst>
          </p:nvPr>
        </p:nvGraphicFramePr>
        <p:xfrm>
          <a:off x="750027" y="1760319"/>
          <a:ext cx="6914105" cy="3419476"/>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a:xfrm>
            <a:off x="310717" y="102440"/>
            <a:ext cx="9522599" cy="1118508"/>
          </a:xfrm>
        </p:spPr>
        <p:txBody>
          <a:bodyPr>
            <a:normAutofit fontScale="90000"/>
          </a:bodyPr>
          <a:lstStyle/>
          <a:p>
            <a:r>
              <a:rPr lang="en-US" dirty="0">
                <a:latin typeface="Century Gothic Pro" panose="020B0502020202020204" pitchFamily="34" charset="0"/>
              </a:rPr>
              <a:t>fiberHance™ </a:t>
            </a:r>
            <a:r>
              <a:rPr lang="en-US" dirty="0" err="1">
                <a:latin typeface="Century Gothic Pro" panose="020B0502020202020204" pitchFamily="34" charset="0"/>
              </a:rPr>
              <a:t>bm</a:t>
            </a:r>
            <a:r>
              <a:rPr lang="en-US" dirty="0">
                <a:latin typeface="Century Gothic Pro" panose="020B0502020202020204" pitchFamily="34" charset="0"/>
              </a:rPr>
              <a:t> </a:t>
            </a:r>
            <a:r>
              <a:rPr lang="ru-RU" dirty="0">
                <a:latin typeface="Century Gothic Pro" panose="020B0502020202020204" pitchFamily="34" charset="0"/>
              </a:rPr>
              <a:t>обеспечивает превосходное укрепление волос в тестовом шампуне</a:t>
            </a:r>
            <a:r>
              <a:rPr lang="en-US" sz="1600" dirty="0">
                <a:latin typeface="Century Gothic Pro" panose="020B0502020202020204" pitchFamily="34" charset="0"/>
              </a:rPr>
              <a:t>(ref Z351-18A) </a:t>
            </a:r>
          </a:p>
        </p:txBody>
      </p:sp>
      <p:sp>
        <p:nvSpPr>
          <p:cNvPr id="6" name="TextBox 5"/>
          <p:cNvSpPr txBox="1"/>
          <p:nvPr/>
        </p:nvSpPr>
        <p:spPr>
          <a:xfrm flipH="1">
            <a:off x="522513" y="6173566"/>
            <a:ext cx="6235337"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chemeClr val="accent3"/>
                </a:solidFill>
                <a:effectLst/>
                <a:uLnTx/>
                <a:uFillTx/>
                <a:latin typeface="Century Gothic Pro" panose="020B0502020202020204" pitchFamily="34" charset="0"/>
              </a:rPr>
              <a:t>Действие наблюдается даже после прекращения использования</a:t>
            </a:r>
            <a:endParaRPr kumimoji="0" lang="en-US" sz="1600" b="0" i="0" u="none" strike="noStrike" kern="0" cap="none" spc="0" normalizeH="0" baseline="0" noProof="0" dirty="0">
              <a:ln>
                <a:noFill/>
              </a:ln>
              <a:solidFill>
                <a:schemeClr val="accent3"/>
              </a:solidFill>
              <a:effectLst/>
              <a:uLnTx/>
              <a:uFillTx/>
              <a:latin typeface="Century Gothic Pro" panose="020B0502020202020204" pitchFamily="34" charset="0"/>
            </a:endParaRPr>
          </a:p>
        </p:txBody>
      </p:sp>
      <p:cxnSp>
        <p:nvCxnSpPr>
          <p:cNvPr id="7" name="Straight Connector 6"/>
          <p:cNvCxnSpPr/>
          <p:nvPr/>
        </p:nvCxnSpPr>
        <p:spPr>
          <a:xfrm>
            <a:off x="1454795" y="4253134"/>
            <a:ext cx="6324600" cy="0"/>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8237989" y="3007367"/>
            <a:ext cx="1447500" cy="2123658"/>
          </a:xfrm>
          <a:prstGeom prst="rect">
            <a:avLst/>
          </a:prstGeom>
          <a:noFill/>
        </p:spPr>
        <p:txBody>
          <a:bodyPr wrap="square" rtlCol="0">
            <a:spAutoFit/>
          </a:bodyPr>
          <a:lstStyle/>
          <a:p>
            <a:r>
              <a:rPr lang="ru-RU" sz="1200" dirty="0"/>
              <a:t>циклические значения усталости при растяжении, 50% относительной влажности, 23 ° С, n = 40-50 волокон, режим постоянной толщины 0,014 г / м 2, диастрон CYC801</a:t>
            </a:r>
            <a:endParaRPr lang="en-US" sz="1200" dirty="0">
              <a:solidFill>
                <a:schemeClr val="bg2">
                  <a:lumMod val="25000"/>
                </a:schemeClr>
              </a:solidFill>
              <a:latin typeface="Century Gothic Pro" panose="020B0502020202020204" pitchFamily="34" charset="0"/>
            </a:endParaRPr>
          </a:p>
        </p:txBody>
      </p:sp>
      <p:grpSp>
        <p:nvGrpSpPr>
          <p:cNvPr id="16" name="Group 15"/>
          <p:cNvGrpSpPr/>
          <p:nvPr/>
        </p:nvGrpSpPr>
        <p:grpSpPr>
          <a:xfrm>
            <a:off x="1591698" y="5298339"/>
            <a:ext cx="5818971" cy="584775"/>
            <a:chOff x="2522347" y="4863935"/>
            <a:chExt cx="5210399" cy="584775"/>
          </a:xfrm>
        </p:grpSpPr>
        <p:sp>
          <p:nvSpPr>
            <p:cNvPr id="17" name="TextBox 16"/>
            <p:cNvSpPr txBox="1"/>
            <p:nvPr/>
          </p:nvSpPr>
          <p:spPr>
            <a:xfrm>
              <a:off x="3591961" y="4863935"/>
              <a:ext cx="898580" cy="584775"/>
            </a:xfrm>
            <a:prstGeom prst="rect">
              <a:avLst/>
            </a:prstGeom>
            <a:noFill/>
          </p:spPr>
          <p:txBody>
            <a:bodyPr wrap="square" rtlCol="0">
              <a:spAutoFit/>
            </a:bodyPr>
            <a:lstStyle/>
            <a:p>
              <a:pPr algn="ctr"/>
              <a:r>
                <a:rPr lang="ru-RU" sz="800" dirty="0">
                  <a:solidFill>
                    <a:schemeClr val="tx1">
                      <a:lumMod val="75000"/>
                      <a:lumOff val="25000"/>
                    </a:schemeClr>
                  </a:solidFill>
                  <a:latin typeface="Century Gothic Pro" panose="020B0502020202020204" pitchFamily="34" charset="0"/>
                </a:rPr>
                <a:t>Шампунь с</a:t>
              </a:r>
              <a:endParaRPr lang="nl-NL" sz="800" dirty="0">
                <a:solidFill>
                  <a:schemeClr val="tx1">
                    <a:lumMod val="75000"/>
                    <a:lumOff val="25000"/>
                  </a:schemeClr>
                </a:solidFill>
                <a:latin typeface="Century Gothic Pro" panose="020B0502020202020204" pitchFamily="34" charset="0"/>
              </a:endParaRPr>
            </a:p>
            <a:p>
              <a:pPr algn="ctr"/>
              <a:r>
                <a:rPr lang="nl-NL" sz="800" dirty="0">
                  <a:solidFill>
                    <a:schemeClr val="tx1">
                      <a:lumMod val="75000"/>
                      <a:lumOff val="25000"/>
                    </a:schemeClr>
                  </a:solidFill>
                  <a:latin typeface="Century Gothic Pro" panose="020B0502020202020204" pitchFamily="34" charset="0"/>
                </a:rPr>
                <a:t>FiberHance™</a:t>
              </a:r>
            </a:p>
            <a:p>
              <a:pPr algn="ctr"/>
              <a:r>
                <a:rPr lang="ru-RU" sz="800" dirty="0">
                  <a:solidFill>
                    <a:schemeClr val="tx1">
                      <a:lumMod val="75000"/>
                      <a:lumOff val="25000"/>
                    </a:schemeClr>
                  </a:solidFill>
                  <a:latin typeface="Century Gothic Pro" panose="020B0502020202020204" pitchFamily="34" charset="0"/>
                </a:rPr>
                <a:t>1 раз промытые волосы</a:t>
              </a:r>
              <a:endParaRPr lang="nl-NL" sz="800" dirty="0">
                <a:solidFill>
                  <a:schemeClr val="tx1">
                    <a:lumMod val="75000"/>
                    <a:lumOff val="25000"/>
                  </a:schemeClr>
                </a:solidFill>
                <a:latin typeface="Century Gothic Pro" panose="020B0502020202020204" pitchFamily="34" charset="0"/>
              </a:endParaRPr>
            </a:p>
          </p:txBody>
        </p:sp>
        <p:sp>
          <p:nvSpPr>
            <p:cNvPr id="18" name="TextBox 17"/>
            <p:cNvSpPr txBox="1"/>
            <p:nvPr/>
          </p:nvSpPr>
          <p:spPr>
            <a:xfrm>
              <a:off x="2522347" y="4878641"/>
              <a:ext cx="841404" cy="338554"/>
            </a:xfrm>
            <a:prstGeom prst="rect">
              <a:avLst/>
            </a:prstGeom>
            <a:noFill/>
          </p:spPr>
          <p:txBody>
            <a:bodyPr wrap="none" rtlCol="0">
              <a:spAutoFit/>
            </a:bodyPr>
            <a:lstStyle/>
            <a:p>
              <a:pPr algn="ctr"/>
              <a:r>
                <a:rPr lang="ru-RU" sz="800" dirty="0">
                  <a:solidFill>
                    <a:schemeClr val="tx1">
                      <a:lumMod val="75000"/>
                      <a:lumOff val="25000"/>
                    </a:schemeClr>
                  </a:solidFill>
                  <a:latin typeface="Century Gothic Pro" panose="020B0502020202020204" pitchFamily="34" charset="0"/>
                </a:rPr>
                <a:t>Контроль 3 раза </a:t>
              </a:r>
            </a:p>
            <a:p>
              <a:pPr algn="ctr"/>
              <a:r>
                <a:rPr lang="ru-RU" sz="800" dirty="0">
                  <a:solidFill>
                    <a:schemeClr val="tx1">
                      <a:lumMod val="75000"/>
                      <a:lumOff val="25000"/>
                    </a:schemeClr>
                  </a:solidFill>
                  <a:latin typeface="Century Gothic Pro" panose="020B0502020202020204" pitchFamily="34" charset="0"/>
                </a:rPr>
                <a:t>обесцвеченные</a:t>
              </a:r>
              <a:endParaRPr lang="en-US" sz="800" dirty="0">
                <a:solidFill>
                  <a:schemeClr val="tx1">
                    <a:lumMod val="75000"/>
                    <a:lumOff val="25000"/>
                  </a:schemeClr>
                </a:solidFill>
                <a:latin typeface="Century Gothic Pro" panose="020B0502020202020204" pitchFamily="34" charset="0"/>
              </a:endParaRPr>
            </a:p>
          </p:txBody>
        </p:sp>
        <p:sp>
          <p:nvSpPr>
            <p:cNvPr id="19" name="TextBox 18"/>
            <p:cNvSpPr txBox="1"/>
            <p:nvPr/>
          </p:nvSpPr>
          <p:spPr>
            <a:xfrm>
              <a:off x="4559544" y="4863935"/>
              <a:ext cx="1260949" cy="461665"/>
            </a:xfrm>
            <a:prstGeom prst="rect">
              <a:avLst/>
            </a:prstGeom>
            <a:noFill/>
          </p:spPr>
          <p:txBody>
            <a:bodyPr wrap="square" rtlCol="0">
              <a:spAutoFit/>
            </a:bodyPr>
            <a:lstStyle/>
            <a:p>
              <a:pPr algn="ctr"/>
              <a:r>
                <a:rPr lang="ru-RU" sz="800" dirty="0">
                  <a:solidFill>
                    <a:schemeClr val="tx1">
                      <a:lumMod val="75000"/>
                      <a:lumOff val="25000"/>
                    </a:schemeClr>
                  </a:solidFill>
                  <a:latin typeface="Century Gothic Pro" panose="020B0502020202020204" pitchFamily="34" charset="0"/>
                </a:rPr>
                <a:t>Шампунь с </a:t>
              </a:r>
              <a:r>
                <a:rPr lang="nl-NL" sz="800" dirty="0">
                  <a:solidFill>
                    <a:schemeClr val="tx1">
                      <a:lumMod val="75000"/>
                      <a:lumOff val="25000"/>
                    </a:schemeClr>
                  </a:solidFill>
                  <a:latin typeface="Century Gothic Pro" panose="020B0502020202020204" pitchFamily="34" charset="0"/>
                </a:rPr>
                <a:t> </a:t>
              </a:r>
            </a:p>
            <a:p>
              <a:pPr algn="ctr"/>
              <a:r>
                <a:rPr lang="nl-NL" sz="800" dirty="0">
                  <a:solidFill>
                    <a:schemeClr val="tx1">
                      <a:lumMod val="75000"/>
                      <a:lumOff val="25000"/>
                    </a:schemeClr>
                  </a:solidFill>
                  <a:latin typeface="Century Gothic Pro" panose="020B0502020202020204" pitchFamily="34" charset="0"/>
                </a:rPr>
                <a:t>FiberHance™</a:t>
              </a:r>
            </a:p>
            <a:p>
              <a:pPr algn="ctr"/>
              <a:r>
                <a:rPr lang="ru-RU" sz="800" dirty="0">
                  <a:solidFill>
                    <a:schemeClr val="tx1">
                      <a:lumMod val="75000"/>
                      <a:lumOff val="25000"/>
                    </a:schemeClr>
                  </a:solidFill>
                  <a:latin typeface="Century Gothic Pro" panose="020B0502020202020204" pitchFamily="34" charset="0"/>
                </a:rPr>
                <a:t>Посел 5-ти промывок</a:t>
              </a:r>
              <a:endParaRPr lang="nl-NL" sz="800" dirty="0">
                <a:solidFill>
                  <a:schemeClr val="tx1">
                    <a:lumMod val="75000"/>
                    <a:lumOff val="25000"/>
                  </a:schemeClr>
                </a:solidFill>
                <a:latin typeface="Century Gothic Pro" panose="020B0502020202020204" pitchFamily="34" charset="0"/>
              </a:endParaRPr>
            </a:p>
          </p:txBody>
        </p:sp>
        <p:sp>
          <p:nvSpPr>
            <p:cNvPr id="20" name="TextBox 19"/>
            <p:cNvSpPr txBox="1"/>
            <p:nvPr/>
          </p:nvSpPr>
          <p:spPr>
            <a:xfrm>
              <a:off x="7064613" y="4878203"/>
              <a:ext cx="668133" cy="338554"/>
            </a:xfrm>
            <a:prstGeom prst="rect">
              <a:avLst/>
            </a:prstGeom>
            <a:noFill/>
          </p:spPr>
          <p:txBody>
            <a:bodyPr wrap="square" rtlCol="0">
              <a:spAutoFit/>
            </a:bodyPr>
            <a:lstStyle/>
            <a:p>
              <a:pPr algn="ctr"/>
              <a:r>
                <a:rPr lang="ru-RU" sz="800" dirty="0">
                  <a:solidFill>
                    <a:schemeClr val="tx1">
                      <a:lumMod val="75000"/>
                      <a:lumOff val="25000"/>
                    </a:schemeClr>
                  </a:solidFill>
                  <a:latin typeface="Century Gothic Pro" panose="020B0502020202020204" pitchFamily="34" charset="0"/>
                </a:rPr>
                <a:t>10 раз промытые</a:t>
              </a:r>
              <a:endParaRPr lang="nl-NL" sz="800" dirty="0">
                <a:solidFill>
                  <a:schemeClr val="tx1">
                    <a:lumMod val="75000"/>
                    <a:lumOff val="25000"/>
                  </a:schemeClr>
                </a:solidFill>
                <a:latin typeface="Century Gothic Pro" panose="020B0502020202020204" pitchFamily="34" charset="0"/>
              </a:endParaRPr>
            </a:p>
          </p:txBody>
        </p:sp>
        <p:sp>
          <p:nvSpPr>
            <p:cNvPr id="21" name="TextBox 20"/>
            <p:cNvSpPr txBox="1"/>
            <p:nvPr/>
          </p:nvSpPr>
          <p:spPr>
            <a:xfrm>
              <a:off x="5958500" y="4875942"/>
              <a:ext cx="675441" cy="338554"/>
            </a:xfrm>
            <a:prstGeom prst="rect">
              <a:avLst/>
            </a:prstGeom>
            <a:noFill/>
          </p:spPr>
          <p:txBody>
            <a:bodyPr wrap="square" rtlCol="0">
              <a:spAutoFit/>
            </a:bodyPr>
            <a:lstStyle/>
            <a:p>
              <a:pPr algn="ctr"/>
              <a:r>
                <a:rPr lang="ru-RU" sz="800" dirty="0">
                  <a:solidFill>
                    <a:schemeClr val="tx1">
                      <a:lumMod val="75000"/>
                      <a:lumOff val="25000"/>
                    </a:schemeClr>
                  </a:solidFill>
                  <a:latin typeface="Century Gothic Pro" panose="020B0502020202020204" pitchFamily="34" charset="0"/>
                </a:rPr>
                <a:t>5 раз промытые</a:t>
              </a:r>
              <a:endParaRPr lang="nl-NL" sz="800" dirty="0">
                <a:solidFill>
                  <a:schemeClr val="tx1">
                    <a:lumMod val="75000"/>
                    <a:lumOff val="25000"/>
                  </a:schemeClr>
                </a:solidFill>
                <a:latin typeface="Century Gothic Pro" panose="020B0502020202020204" pitchFamily="34" charset="0"/>
              </a:endParaRPr>
            </a:p>
          </p:txBody>
        </p:sp>
      </p:grpSp>
    </p:spTree>
    <p:extLst>
      <p:ext uri="{BB962C8B-B14F-4D97-AF65-F5344CB8AC3E}">
        <p14:creationId xmlns:p14="http://schemas.microsoft.com/office/powerpoint/2010/main" val="20570708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205681" y="102439"/>
            <a:ext cx="9697973" cy="1325563"/>
          </a:xfrm>
        </p:spPr>
        <p:txBody>
          <a:bodyPr>
            <a:normAutofit fontScale="90000"/>
          </a:bodyPr>
          <a:lstStyle/>
          <a:p>
            <a:r>
              <a:rPr lang="en-US" dirty="0"/>
              <a:t>fiberHance</a:t>
            </a:r>
            <a:r>
              <a:rPr lang="en-US" dirty="0">
                <a:latin typeface="Arial" panose="020B0604020202020204" pitchFamily="34" charset="0"/>
              </a:rPr>
              <a:t>™</a:t>
            </a:r>
            <a:r>
              <a:rPr lang="en-US" dirty="0"/>
              <a:t> bm solution – </a:t>
            </a:r>
            <a:r>
              <a:rPr lang="ru-RU" dirty="0"/>
              <a:t>предлагает</a:t>
            </a:r>
            <a:r>
              <a:rPr lang="en-US" dirty="0"/>
              <a:t> </a:t>
            </a:r>
            <a:r>
              <a:rPr lang="ru-RU" dirty="0"/>
              <a:t>новую</a:t>
            </a:r>
            <a:r>
              <a:rPr lang="en-US" dirty="0">
                <a:latin typeface="Century Gothic Pro" panose="020B0502020202020204" pitchFamily="34" charset="0"/>
              </a:rPr>
              <a:t>“</a:t>
            </a:r>
            <a:r>
              <a:rPr lang="en-US" dirty="0" err="1">
                <a:latin typeface="Century Gothic Pro" panose="020B0502020202020204" pitchFamily="34" charset="0"/>
              </a:rPr>
              <a:t>plex</a:t>
            </a:r>
            <a:r>
              <a:rPr lang="en-US" dirty="0">
                <a:latin typeface="Century Gothic Pro" panose="020B0502020202020204" pitchFamily="34" charset="0"/>
              </a:rPr>
              <a:t>” </a:t>
            </a:r>
            <a:r>
              <a:rPr lang="ru-RU" dirty="0">
                <a:latin typeface="Century Gothic Pro" panose="020B0502020202020204" pitchFamily="34" charset="0"/>
              </a:rPr>
              <a:t>– подобную защиту окращенных волос</a:t>
            </a:r>
            <a:endParaRPr lang="en-US" dirty="0">
              <a:latin typeface="Century Gothic Pro" panose="020B0502020202020204" pitchFamily="34" charset="0"/>
            </a:endParaRPr>
          </a:p>
        </p:txBody>
      </p:sp>
      <p:sp>
        <p:nvSpPr>
          <p:cNvPr id="11" name="TextBox 10"/>
          <p:cNvSpPr txBox="1"/>
          <p:nvPr/>
        </p:nvSpPr>
        <p:spPr>
          <a:xfrm>
            <a:off x="3829586" y="1198128"/>
            <a:ext cx="1672253" cy="738664"/>
          </a:xfrm>
          <a:prstGeom prst="rect">
            <a:avLst/>
          </a:prstGeom>
        </p:spPr>
        <p:style>
          <a:lnRef idx="1">
            <a:schemeClr val="accent3"/>
          </a:lnRef>
          <a:fillRef idx="2">
            <a:schemeClr val="accent3"/>
          </a:fillRef>
          <a:effectRef idx="1">
            <a:schemeClr val="accent3"/>
          </a:effectRef>
          <a:fontRef idx="minor">
            <a:schemeClr val="dk1"/>
          </a:fontRef>
        </p:style>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Century Gothic Pro" panose="020B0502020202020204" pitchFamily="34" charset="0"/>
                <a:ea typeface="+mn-ea"/>
                <a:cs typeface="+mn-cs"/>
              </a:rPr>
              <a:t>Рыночный образец</a:t>
            </a:r>
            <a:endParaRPr kumimoji="0" lang="nl-NL" sz="1400" b="0" i="0" u="none" strike="noStrike" kern="1200" cap="none" spc="0" normalizeH="0" baseline="0" noProof="0" dirty="0">
              <a:ln>
                <a:noFill/>
              </a:ln>
              <a:solidFill>
                <a:prstClr val="black"/>
              </a:solidFill>
              <a:effectLst/>
              <a:uLnTx/>
              <a:uFillTx/>
              <a:latin typeface="Century Gothic Pro"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Century Gothic Pro" panose="020B0502020202020204" pitchFamily="34" charset="0"/>
                <a:ea typeface="+mn-ea"/>
                <a:cs typeface="+mn-cs"/>
              </a:rPr>
              <a:t>Краска для волос</a:t>
            </a:r>
            <a:endParaRPr kumimoji="0" lang="nl-NL" sz="1400" b="0" i="0" u="none" strike="noStrike" kern="1200" cap="none" spc="0" normalizeH="0" baseline="0" noProof="0" dirty="0">
              <a:ln>
                <a:noFill/>
              </a:ln>
              <a:solidFill>
                <a:prstClr val="black"/>
              </a:solidFill>
              <a:effectLst/>
              <a:uLnTx/>
              <a:uFillTx/>
              <a:latin typeface="Century Gothic Pro"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Century Gothic Pro" panose="020B0502020202020204" pitchFamily="34" charset="0"/>
                <a:ea typeface="+mn-ea"/>
                <a:cs typeface="+mn-cs"/>
              </a:rPr>
              <a:t>Масс-маркет </a:t>
            </a:r>
            <a:r>
              <a:rPr kumimoji="0" lang="nl-NL" sz="1400" b="0" i="0" u="none" strike="noStrike" kern="1200" cap="none" spc="0" normalizeH="0" baseline="0" noProof="0" dirty="0">
                <a:ln>
                  <a:noFill/>
                </a:ln>
                <a:solidFill>
                  <a:prstClr val="black"/>
                </a:solidFill>
                <a:effectLst/>
                <a:uLnTx/>
                <a:uFillTx/>
                <a:latin typeface="Century Gothic Pro" panose="020B0502020202020204" pitchFamily="34" charset="0"/>
                <a:ea typeface="+mn-ea"/>
                <a:cs typeface="+mn-cs"/>
              </a:rPr>
              <a:t> #1</a:t>
            </a:r>
            <a:endParaRPr kumimoji="0" lang="en-US" sz="1400" b="0" i="0" u="none" strike="noStrike" kern="1200" cap="none" spc="0" normalizeH="0" baseline="0" noProof="0" dirty="0">
              <a:ln>
                <a:noFill/>
              </a:ln>
              <a:solidFill>
                <a:prstClr val="black"/>
              </a:solidFill>
              <a:effectLst/>
              <a:uLnTx/>
              <a:uFillTx/>
              <a:latin typeface="Century Gothic Pro" panose="020B0502020202020204" pitchFamily="34" charset="0"/>
              <a:ea typeface="+mn-ea"/>
              <a:cs typeface="+mn-cs"/>
            </a:endParaRPr>
          </a:p>
        </p:txBody>
      </p:sp>
      <p:graphicFrame>
        <p:nvGraphicFramePr>
          <p:cNvPr id="12" name="Table 11"/>
          <p:cNvGraphicFramePr>
            <a:graphicFrameLocks noGrp="1"/>
          </p:cNvGraphicFramePr>
          <p:nvPr>
            <p:extLst>
              <p:ext uri="{D42A27DB-BD31-4B8C-83A1-F6EECF244321}">
                <p14:modId xmlns:p14="http://schemas.microsoft.com/office/powerpoint/2010/main" val="2811327712"/>
              </p:ext>
            </p:extLst>
          </p:nvPr>
        </p:nvGraphicFramePr>
        <p:xfrm>
          <a:off x="205681" y="2114159"/>
          <a:ext cx="9561829" cy="3469667"/>
        </p:xfrm>
        <a:graphic>
          <a:graphicData uri="http://schemas.openxmlformats.org/drawingml/2006/table">
            <a:tbl>
              <a:tblPr firstRow="1" bandRow="1">
                <a:tableStyleId>{F5AB1C69-6EDB-4FF4-983F-18BD219EF322}</a:tableStyleId>
              </a:tblPr>
              <a:tblGrid>
                <a:gridCol w="3797000">
                  <a:extLst>
                    <a:ext uri="{9D8B030D-6E8A-4147-A177-3AD203B41FA5}">
                      <a16:colId xmlns:a16="http://schemas.microsoft.com/office/drawing/2014/main" xmlns="" val="530765680"/>
                    </a:ext>
                  </a:extLst>
                </a:gridCol>
                <a:gridCol w="1737465">
                  <a:extLst>
                    <a:ext uri="{9D8B030D-6E8A-4147-A177-3AD203B41FA5}">
                      <a16:colId xmlns:a16="http://schemas.microsoft.com/office/drawing/2014/main" xmlns="" val="2561397471"/>
                    </a:ext>
                  </a:extLst>
                </a:gridCol>
                <a:gridCol w="208280">
                  <a:extLst>
                    <a:ext uri="{9D8B030D-6E8A-4147-A177-3AD203B41FA5}">
                      <a16:colId xmlns:a16="http://schemas.microsoft.com/office/drawing/2014/main" xmlns="" val="2813105908"/>
                    </a:ext>
                  </a:extLst>
                </a:gridCol>
                <a:gridCol w="1809691">
                  <a:extLst>
                    <a:ext uri="{9D8B030D-6E8A-4147-A177-3AD203B41FA5}">
                      <a16:colId xmlns:a16="http://schemas.microsoft.com/office/drawing/2014/main" xmlns="" val="1703946245"/>
                    </a:ext>
                  </a:extLst>
                </a:gridCol>
                <a:gridCol w="208280">
                  <a:extLst>
                    <a:ext uri="{9D8B030D-6E8A-4147-A177-3AD203B41FA5}">
                      <a16:colId xmlns:a16="http://schemas.microsoft.com/office/drawing/2014/main" xmlns="" val="2905433065"/>
                    </a:ext>
                  </a:extLst>
                </a:gridCol>
                <a:gridCol w="1801113">
                  <a:extLst>
                    <a:ext uri="{9D8B030D-6E8A-4147-A177-3AD203B41FA5}">
                      <a16:colId xmlns:a16="http://schemas.microsoft.com/office/drawing/2014/main" xmlns="" val="798148043"/>
                    </a:ext>
                  </a:extLst>
                </a:gridCol>
              </a:tblGrid>
              <a:tr h="289759">
                <a:tc>
                  <a:txBody>
                    <a:bodyPr/>
                    <a:lstStyle/>
                    <a:p>
                      <a:endParaRPr lang="en-US" sz="1600" dirty="0">
                        <a:solidFill>
                          <a:schemeClr val="bg2">
                            <a:lumMod val="25000"/>
                          </a:schemeClr>
                        </a:solidFill>
                      </a:endParaRPr>
                    </a:p>
                  </a:txBody>
                  <a:tcPr/>
                </a:tc>
                <a:tc>
                  <a:txBody>
                    <a:bodyPr/>
                    <a:lstStyle/>
                    <a:p>
                      <a:pPr algn="ctr"/>
                      <a:r>
                        <a:rPr lang="nl-NL" sz="1600" dirty="0">
                          <a:solidFill>
                            <a:schemeClr val="bg2">
                              <a:lumMod val="25000"/>
                            </a:schemeClr>
                          </a:solidFill>
                        </a:rPr>
                        <a:t>EDF</a:t>
                      </a:r>
                      <a:endParaRPr lang="en-US" sz="1600" dirty="0">
                        <a:solidFill>
                          <a:schemeClr val="bg2">
                            <a:lumMod val="25000"/>
                          </a:schemeClr>
                        </a:solidFill>
                      </a:endParaRPr>
                    </a:p>
                  </a:txBody>
                  <a:tcPr/>
                </a:tc>
                <a:tc>
                  <a:txBody>
                    <a:bodyPr/>
                    <a:lstStyle/>
                    <a:p>
                      <a:endParaRPr lang="en-US" sz="1600" dirty="0">
                        <a:solidFill>
                          <a:schemeClr val="bg2">
                            <a:lumMod val="25000"/>
                          </a:schemeClr>
                        </a:solidFill>
                      </a:endParaRPr>
                    </a:p>
                  </a:txBody>
                  <a:tcPr/>
                </a:tc>
                <a:tc>
                  <a:txBody>
                    <a:bodyPr/>
                    <a:lstStyle/>
                    <a:p>
                      <a:pPr algn="ctr"/>
                      <a:r>
                        <a:rPr lang="nl-NL" sz="1600" dirty="0">
                          <a:solidFill>
                            <a:schemeClr val="bg2">
                              <a:lumMod val="25000"/>
                            </a:schemeClr>
                          </a:solidFill>
                        </a:rPr>
                        <a:t>EDF</a:t>
                      </a:r>
                      <a:endParaRPr lang="en-US" sz="1600" dirty="0">
                        <a:solidFill>
                          <a:schemeClr val="bg2">
                            <a:lumMod val="25000"/>
                          </a:schemeClr>
                        </a:solidFill>
                      </a:endParaRPr>
                    </a:p>
                  </a:txBody>
                  <a:tcPr/>
                </a:tc>
                <a:tc>
                  <a:txBody>
                    <a:bodyPr/>
                    <a:lstStyle/>
                    <a:p>
                      <a:pPr algn="ctr"/>
                      <a:endParaRPr lang="en-US" sz="1600">
                        <a:solidFill>
                          <a:schemeClr val="bg2">
                            <a:lumMod val="25000"/>
                          </a:schemeClr>
                        </a:solidFill>
                      </a:endParaRPr>
                    </a:p>
                  </a:txBody>
                  <a:tcPr/>
                </a:tc>
                <a:tc>
                  <a:txBody>
                    <a:bodyPr/>
                    <a:lstStyle/>
                    <a:p>
                      <a:pPr algn="ctr"/>
                      <a:r>
                        <a:rPr lang="nl-NL" sz="1600" dirty="0">
                          <a:solidFill>
                            <a:schemeClr val="bg2">
                              <a:lumMod val="25000"/>
                            </a:schemeClr>
                          </a:solidFill>
                        </a:rPr>
                        <a:t>EDF</a:t>
                      </a:r>
                      <a:endParaRPr lang="en-US" sz="1600" dirty="0">
                        <a:solidFill>
                          <a:schemeClr val="bg2">
                            <a:lumMod val="25000"/>
                          </a:schemeClr>
                        </a:solidFill>
                      </a:endParaRPr>
                    </a:p>
                  </a:txBody>
                  <a:tcPr/>
                </a:tc>
                <a:extLst>
                  <a:ext uri="{0D108BD9-81ED-4DB2-BD59-A6C34878D82A}">
                    <a16:rowId xmlns:a16="http://schemas.microsoft.com/office/drawing/2014/main" xmlns="" val="316286731"/>
                  </a:ext>
                </a:extLst>
              </a:tr>
              <a:tr h="289759">
                <a:tc>
                  <a:txBody>
                    <a:bodyPr/>
                    <a:lstStyle/>
                    <a:p>
                      <a:r>
                        <a:rPr lang="ru-RU" sz="1600" dirty="0">
                          <a:solidFill>
                            <a:schemeClr val="bg2">
                              <a:lumMod val="25000"/>
                            </a:schemeClr>
                          </a:solidFill>
                        </a:rPr>
                        <a:t>До окрашивания</a:t>
                      </a:r>
                      <a:endParaRPr lang="en-US" sz="1600" dirty="0">
                        <a:solidFill>
                          <a:schemeClr val="bg2">
                            <a:lumMod val="25000"/>
                          </a:schemeClr>
                        </a:solidFill>
                      </a:endParaRPr>
                    </a:p>
                  </a:txBody>
                  <a:tcPr/>
                </a:tc>
                <a:tc>
                  <a:txBody>
                    <a:bodyPr/>
                    <a:lstStyle/>
                    <a:p>
                      <a:pPr algn="ctr"/>
                      <a:r>
                        <a:rPr lang="nl-NL" sz="1600" dirty="0">
                          <a:solidFill>
                            <a:schemeClr val="bg2">
                              <a:lumMod val="25000"/>
                            </a:schemeClr>
                          </a:solidFill>
                        </a:rPr>
                        <a:t>1,00</a:t>
                      </a:r>
                      <a:endParaRPr lang="en-US" sz="1600" dirty="0">
                        <a:solidFill>
                          <a:schemeClr val="bg2">
                            <a:lumMod val="25000"/>
                          </a:schemeClr>
                        </a:solidFill>
                      </a:endParaRPr>
                    </a:p>
                  </a:txBody>
                  <a:tcPr/>
                </a:tc>
                <a:tc>
                  <a:txBody>
                    <a:bodyPr/>
                    <a:lstStyle/>
                    <a:p>
                      <a:pPr algn="ctr"/>
                      <a:endParaRPr lang="en-US" sz="1600">
                        <a:solidFill>
                          <a:schemeClr val="bg2">
                            <a:lumMod val="25000"/>
                          </a:schemeClr>
                        </a:solidFill>
                      </a:endParaRPr>
                    </a:p>
                  </a:txBody>
                  <a:tcPr/>
                </a:tc>
                <a:tc>
                  <a:txBody>
                    <a:bodyPr/>
                    <a:lstStyle/>
                    <a:p>
                      <a:pPr algn="ctr"/>
                      <a:r>
                        <a:rPr lang="nl-NL" sz="1600" dirty="0">
                          <a:solidFill>
                            <a:schemeClr val="bg2">
                              <a:lumMod val="25000"/>
                            </a:schemeClr>
                          </a:solidFill>
                        </a:rPr>
                        <a:t>0,99</a:t>
                      </a:r>
                      <a:endParaRPr lang="en-US" sz="1600" dirty="0">
                        <a:solidFill>
                          <a:schemeClr val="bg2">
                            <a:lumMod val="25000"/>
                          </a:schemeClr>
                        </a:solidFill>
                      </a:endParaRPr>
                    </a:p>
                  </a:txBody>
                  <a:tcPr/>
                </a:tc>
                <a:tc>
                  <a:txBody>
                    <a:bodyPr/>
                    <a:lstStyle/>
                    <a:p>
                      <a:pPr algn="ctr"/>
                      <a:endParaRPr lang="en-US" sz="1600">
                        <a:solidFill>
                          <a:schemeClr val="bg2">
                            <a:lumMod val="25000"/>
                          </a:schemeClr>
                        </a:solidFill>
                      </a:endParaRPr>
                    </a:p>
                  </a:txBody>
                  <a:tcPr/>
                </a:tc>
                <a:tc>
                  <a:txBody>
                    <a:bodyPr/>
                    <a:lstStyle/>
                    <a:p>
                      <a:pPr algn="ctr"/>
                      <a:r>
                        <a:rPr lang="nl-NL" sz="1600" dirty="0">
                          <a:solidFill>
                            <a:schemeClr val="bg2">
                              <a:lumMod val="25000"/>
                            </a:schemeClr>
                          </a:solidFill>
                        </a:rPr>
                        <a:t>0,00</a:t>
                      </a:r>
                      <a:endParaRPr lang="en-US" sz="1600" dirty="0">
                        <a:solidFill>
                          <a:schemeClr val="bg2">
                            <a:lumMod val="25000"/>
                          </a:schemeClr>
                        </a:solidFill>
                      </a:endParaRPr>
                    </a:p>
                  </a:txBody>
                  <a:tcPr/>
                </a:tc>
                <a:extLst>
                  <a:ext uri="{0D108BD9-81ED-4DB2-BD59-A6C34878D82A}">
                    <a16:rowId xmlns:a16="http://schemas.microsoft.com/office/drawing/2014/main" xmlns="" val="605265273"/>
                  </a:ext>
                </a:extLst>
              </a:tr>
              <a:tr h="289759">
                <a:tc>
                  <a:txBody>
                    <a:bodyPr/>
                    <a:lstStyle/>
                    <a:p>
                      <a:r>
                        <a:rPr lang="ru-RU" sz="1600" dirty="0">
                          <a:solidFill>
                            <a:schemeClr val="bg2">
                              <a:lumMod val="25000"/>
                            </a:schemeClr>
                          </a:solidFill>
                        </a:rPr>
                        <a:t>После окрашивания</a:t>
                      </a:r>
                      <a:endParaRPr lang="en-US" sz="1600" dirty="0">
                        <a:solidFill>
                          <a:schemeClr val="bg2">
                            <a:lumMod val="25000"/>
                          </a:schemeClr>
                        </a:solidFill>
                      </a:endParaRPr>
                    </a:p>
                  </a:txBody>
                  <a:tcPr/>
                </a:tc>
                <a:tc>
                  <a:txBody>
                    <a:bodyPr/>
                    <a:lstStyle/>
                    <a:p>
                      <a:pPr algn="ctr"/>
                      <a:r>
                        <a:rPr lang="nl-NL" sz="1600" dirty="0">
                          <a:solidFill>
                            <a:schemeClr val="bg2">
                              <a:lumMod val="25000"/>
                            </a:schemeClr>
                          </a:solidFill>
                        </a:rPr>
                        <a:t>1,17</a:t>
                      </a:r>
                      <a:endParaRPr lang="en-US" sz="1600" dirty="0">
                        <a:solidFill>
                          <a:schemeClr val="bg2">
                            <a:lumMod val="25000"/>
                          </a:schemeClr>
                        </a:solidFill>
                      </a:endParaRPr>
                    </a:p>
                  </a:txBody>
                  <a:tcPr/>
                </a:tc>
                <a:tc>
                  <a:txBody>
                    <a:bodyPr/>
                    <a:lstStyle/>
                    <a:p>
                      <a:pPr algn="ctr"/>
                      <a:endParaRPr lang="en-US" sz="1600" dirty="0">
                        <a:solidFill>
                          <a:schemeClr val="bg2">
                            <a:lumMod val="25000"/>
                          </a:schemeClr>
                        </a:solidFill>
                      </a:endParaRPr>
                    </a:p>
                  </a:txBody>
                  <a:tcPr/>
                </a:tc>
                <a:tc>
                  <a:txBody>
                    <a:bodyPr/>
                    <a:lstStyle/>
                    <a:p>
                      <a:pPr algn="ctr"/>
                      <a:r>
                        <a:rPr lang="nl-NL" sz="1600" dirty="0">
                          <a:solidFill>
                            <a:schemeClr val="bg2">
                              <a:lumMod val="25000"/>
                            </a:schemeClr>
                          </a:solidFill>
                        </a:rPr>
                        <a:t>1,02</a:t>
                      </a:r>
                      <a:endParaRPr lang="en-US" sz="1600" dirty="0">
                        <a:solidFill>
                          <a:schemeClr val="bg2">
                            <a:lumMod val="25000"/>
                          </a:schemeClr>
                        </a:solidFill>
                      </a:endParaRPr>
                    </a:p>
                  </a:txBody>
                  <a:tcPr/>
                </a:tc>
                <a:tc>
                  <a:txBody>
                    <a:bodyPr/>
                    <a:lstStyle/>
                    <a:p>
                      <a:pPr algn="ctr"/>
                      <a:endParaRPr lang="en-US" sz="1600">
                        <a:solidFill>
                          <a:schemeClr val="bg2">
                            <a:lumMod val="25000"/>
                          </a:schemeClr>
                        </a:solidFill>
                      </a:endParaRPr>
                    </a:p>
                  </a:txBody>
                  <a:tcPr/>
                </a:tc>
                <a:tc>
                  <a:txBody>
                    <a:bodyPr/>
                    <a:lstStyle/>
                    <a:p>
                      <a:pPr algn="ctr"/>
                      <a:r>
                        <a:rPr lang="nl-NL" sz="1600" dirty="0">
                          <a:solidFill>
                            <a:schemeClr val="bg2">
                              <a:lumMod val="25000"/>
                            </a:schemeClr>
                          </a:solidFill>
                        </a:rPr>
                        <a:t>0,22</a:t>
                      </a:r>
                      <a:endParaRPr lang="en-US" sz="1600" dirty="0">
                        <a:solidFill>
                          <a:schemeClr val="bg2">
                            <a:lumMod val="25000"/>
                          </a:schemeClr>
                        </a:solidFill>
                      </a:endParaRPr>
                    </a:p>
                  </a:txBody>
                  <a:tcPr/>
                </a:tc>
                <a:extLst>
                  <a:ext uri="{0D108BD9-81ED-4DB2-BD59-A6C34878D82A}">
                    <a16:rowId xmlns:a16="http://schemas.microsoft.com/office/drawing/2014/main" xmlns="" val="3171169450"/>
                  </a:ext>
                </a:extLst>
              </a:tr>
              <a:tr h="7112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600" dirty="0">
                          <a:solidFill>
                            <a:schemeClr val="bg2">
                              <a:lumMod val="25000"/>
                            </a:schemeClr>
                          </a:solidFill>
                        </a:rPr>
                        <a:t>После окрашивания</a:t>
                      </a:r>
                      <a:endParaRPr lang="en-US" sz="1600" dirty="0">
                        <a:solidFill>
                          <a:schemeClr val="bg2">
                            <a:lumMod val="25000"/>
                          </a:schemeClr>
                        </a:solidFill>
                      </a:endParaRPr>
                    </a:p>
                    <a:p>
                      <a:r>
                        <a:rPr lang="nl-NL" sz="1600" dirty="0">
                          <a:solidFill>
                            <a:schemeClr val="bg2">
                              <a:lumMod val="25000"/>
                            </a:schemeClr>
                          </a:solidFill>
                        </a:rPr>
                        <a:t>(</a:t>
                      </a:r>
                      <a:r>
                        <a:rPr lang="ru-RU" sz="1600" dirty="0">
                          <a:solidFill>
                            <a:schemeClr val="bg2">
                              <a:lumMod val="25000"/>
                            </a:schemeClr>
                          </a:solidFill>
                        </a:rPr>
                        <a:t>с рыночным образцом</a:t>
                      </a:r>
                      <a:r>
                        <a:rPr lang="ru-RU" sz="1600" baseline="0" dirty="0">
                          <a:solidFill>
                            <a:schemeClr val="bg2">
                              <a:lumMod val="25000"/>
                            </a:schemeClr>
                          </a:solidFill>
                        </a:rPr>
                        <a:t> </a:t>
                      </a:r>
                      <a:r>
                        <a:rPr lang="ru-RU" sz="1600" dirty="0">
                          <a:solidFill>
                            <a:schemeClr val="bg2">
                              <a:lumMod val="25000"/>
                            </a:schemeClr>
                          </a:solidFill>
                        </a:rPr>
                        <a:t>мультипликатора</a:t>
                      </a:r>
                      <a:r>
                        <a:rPr lang="ru-RU" sz="1600" baseline="0" dirty="0">
                          <a:solidFill>
                            <a:schemeClr val="bg2">
                              <a:lumMod val="25000"/>
                            </a:schemeClr>
                          </a:solidFill>
                        </a:rPr>
                        <a:t> связей</a:t>
                      </a:r>
                      <a:r>
                        <a:rPr lang="nl-NL" sz="1600" baseline="0" dirty="0">
                          <a:solidFill>
                            <a:schemeClr val="bg2">
                              <a:lumMod val="25000"/>
                            </a:schemeClr>
                          </a:solidFill>
                        </a:rPr>
                        <a:t>)</a:t>
                      </a:r>
                      <a:endParaRPr lang="en-US" sz="1600" dirty="0">
                        <a:solidFill>
                          <a:schemeClr val="bg2">
                            <a:lumMod val="25000"/>
                          </a:schemeClr>
                        </a:solidFill>
                      </a:endParaRPr>
                    </a:p>
                  </a:txBody>
                  <a:tcPr/>
                </a:tc>
                <a:tc>
                  <a:txBody>
                    <a:bodyPr/>
                    <a:lstStyle/>
                    <a:p>
                      <a:pPr algn="ctr"/>
                      <a:r>
                        <a:rPr lang="nl-NL" sz="1600" dirty="0">
                          <a:solidFill>
                            <a:schemeClr val="bg2">
                              <a:lumMod val="25000"/>
                            </a:schemeClr>
                          </a:solidFill>
                        </a:rPr>
                        <a:t>0,91</a:t>
                      </a:r>
                      <a:endParaRPr lang="en-US" sz="1600" dirty="0">
                        <a:solidFill>
                          <a:schemeClr val="bg2">
                            <a:lumMod val="25000"/>
                          </a:schemeClr>
                        </a:solidFill>
                      </a:endParaRPr>
                    </a:p>
                  </a:txBody>
                  <a:tcPr/>
                </a:tc>
                <a:tc>
                  <a:txBody>
                    <a:bodyPr/>
                    <a:lstStyle/>
                    <a:p>
                      <a:pPr algn="ctr"/>
                      <a:endParaRPr lang="en-US" sz="1600" dirty="0">
                        <a:solidFill>
                          <a:schemeClr val="bg2">
                            <a:lumMod val="25000"/>
                          </a:schemeClr>
                        </a:solidFill>
                      </a:endParaRPr>
                    </a:p>
                  </a:txBody>
                  <a:tcPr/>
                </a:tc>
                <a:tc>
                  <a:txBody>
                    <a:bodyPr/>
                    <a:lstStyle/>
                    <a:p>
                      <a:pPr algn="ctr"/>
                      <a:r>
                        <a:rPr lang="nl-NL" sz="1600" dirty="0">
                          <a:solidFill>
                            <a:schemeClr val="bg2">
                              <a:lumMod val="25000"/>
                            </a:schemeClr>
                          </a:solidFill>
                        </a:rPr>
                        <a:t>0,94</a:t>
                      </a:r>
                      <a:endParaRPr lang="en-US" sz="1600" dirty="0">
                        <a:solidFill>
                          <a:schemeClr val="bg2">
                            <a:lumMod val="25000"/>
                          </a:schemeClr>
                        </a:solidFill>
                      </a:endParaRPr>
                    </a:p>
                  </a:txBody>
                  <a:tcPr/>
                </a:tc>
                <a:tc>
                  <a:txBody>
                    <a:bodyPr/>
                    <a:lstStyle/>
                    <a:p>
                      <a:pPr algn="ctr"/>
                      <a:endParaRPr lang="en-US" sz="1600" dirty="0">
                        <a:solidFill>
                          <a:schemeClr val="bg2">
                            <a:lumMod val="25000"/>
                          </a:schemeClr>
                        </a:solidFill>
                      </a:endParaRPr>
                    </a:p>
                  </a:txBody>
                  <a:tcPr/>
                </a:tc>
                <a:tc>
                  <a:txBody>
                    <a:bodyPr/>
                    <a:lstStyle/>
                    <a:p>
                      <a:pPr algn="ctr"/>
                      <a:r>
                        <a:rPr lang="nl-NL" sz="1600" dirty="0">
                          <a:solidFill>
                            <a:schemeClr val="bg2">
                              <a:lumMod val="25000"/>
                            </a:schemeClr>
                          </a:solidFill>
                        </a:rPr>
                        <a:t>0,14</a:t>
                      </a:r>
                      <a:endParaRPr lang="en-US" sz="1600" dirty="0">
                        <a:solidFill>
                          <a:schemeClr val="bg2">
                            <a:lumMod val="25000"/>
                          </a:schemeClr>
                        </a:solidFill>
                      </a:endParaRPr>
                    </a:p>
                  </a:txBody>
                  <a:tcPr/>
                </a:tc>
                <a:extLst>
                  <a:ext uri="{0D108BD9-81ED-4DB2-BD59-A6C34878D82A}">
                    <a16:rowId xmlns:a16="http://schemas.microsoft.com/office/drawing/2014/main" xmlns="" val="3429000805"/>
                  </a:ext>
                </a:extLst>
              </a:tr>
              <a:tr h="7112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600" dirty="0">
                          <a:solidFill>
                            <a:schemeClr val="bg2">
                              <a:lumMod val="25000"/>
                            </a:schemeClr>
                          </a:solidFill>
                        </a:rPr>
                        <a:t>После окрашивания</a:t>
                      </a:r>
                      <a:endParaRPr lang="en-US" sz="1600" dirty="0">
                        <a:solidFill>
                          <a:schemeClr val="bg2">
                            <a:lumMod val="25000"/>
                          </a:schemeClr>
                        </a:solidFill>
                      </a:endParaRPr>
                    </a:p>
                    <a:p>
                      <a:r>
                        <a:rPr lang="nl-NL" sz="1600" dirty="0">
                          <a:solidFill>
                            <a:schemeClr val="bg2">
                              <a:lumMod val="25000"/>
                            </a:schemeClr>
                          </a:solidFill>
                        </a:rPr>
                        <a:t>(</a:t>
                      </a:r>
                      <a:r>
                        <a:rPr lang="ru-RU" sz="1600" dirty="0">
                          <a:solidFill>
                            <a:schemeClr val="bg2">
                              <a:lumMod val="25000"/>
                            </a:schemeClr>
                          </a:solidFill>
                        </a:rPr>
                        <a:t>с</a:t>
                      </a:r>
                      <a:r>
                        <a:rPr lang="nl-NL" sz="1600" baseline="0" dirty="0">
                          <a:solidFill>
                            <a:schemeClr val="bg2">
                              <a:lumMod val="25000"/>
                            </a:schemeClr>
                          </a:solidFill>
                        </a:rPr>
                        <a:t> FiberHance™ BM solution)</a:t>
                      </a:r>
                      <a:endParaRPr lang="en-US" sz="1600" dirty="0">
                        <a:solidFill>
                          <a:schemeClr val="bg2">
                            <a:lumMod val="25000"/>
                          </a:schemeClr>
                        </a:solidFill>
                      </a:endParaRPr>
                    </a:p>
                  </a:txBody>
                  <a:tcPr/>
                </a:tc>
                <a:tc>
                  <a:txBody>
                    <a:bodyPr/>
                    <a:lstStyle/>
                    <a:p>
                      <a:pPr algn="ctr"/>
                      <a:r>
                        <a:rPr lang="nl-NL" sz="1600" dirty="0">
                          <a:solidFill>
                            <a:schemeClr val="bg2">
                              <a:lumMod val="25000"/>
                            </a:schemeClr>
                          </a:solidFill>
                        </a:rPr>
                        <a:t>0,89</a:t>
                      </a:r>
                      <a:endParaRPr lang="en-US" sz="1600" dirty="0">
                        <a:solidFill>
                          <a:schemeClr val="bg2">
                            <a:lumMod val="25000"/>
                          </a:schemeClr>
                        </a:solidFill>
                      </a:endParaRPr>
                    </a:p>
                  </a:txBody>
                  <a:tcPr/>
                </a:tc>
                <a:tc>
                  <a:txBody>
                    <a:bodyPr/>
                    <a:lstStyle/>
                    <a:p>
                      <a:pPr algn="ctr"/>
                      <a:endParaRPr lang="en-US" sz="1600" dirty="0">
                        <a:solidFill>
                          <a:schemeClr val="bg2">
                            <a:lumMod val="25000"/>
                          </a:schemeClr>
                        </a:solidFill>
                      </a:endParaRPr>
                    </a:p>
                  </a:txBody>
                  <a:tcPr/>
                </a:tc>
                <a:tc>
                  <a:txBody>
                    <a:bodyPr/>
                    <a:lstStyle/>
                    <a:p>
                      <a:pPr algn="ctr"/>
                      <a:r>
                        <a:rPr lang="nl-NL" sz="1600" dirty="0">
                          <a:solidFill>
                            <a:schemeClr val="bg2">
                              <a:lumMod val="25000"/>
                            </a:schemeClr>
                          </a:solidFill>
                        </a:rPr>
                        <a:t>0,92</a:t>
                      </a:r>
                      <a:endParaRPr lang="en-US" sz="1600" dirty="0">
                        <a:solidFill>
                          <a:schemeClr val="bg2">
                            <a:lumMod val="25000"/>
                          </a:schemeClr>
                        </a:solidFill>
                      </a:endParaRPr>
                    </a:p>
                  </a:txBody>
                  <a:tcPr/>
                </a:tc>
                <a:tc>
                  <a:txBody>
                    <a:bodyPr/>
                    <a:lstStyle/>
                    <a:p>
                      <a:pPr algn="ctr"/>
                      <a:endParaRPr lang="en-US" sz="1600" dirty="0">
                        <a:solidFill>
                          <a:schemeClr val="bg2">
                            <a:lumMod val="25000"/>
                          </a:schemeClr>
                        </a:solidFill>
                      </a:endParaRPr>
                    </a:p>
                  </a:txBody>
                  <a:tcPr/>
                </a:tc>
                <a:tc>
                  <a:txBody>
                    <a:bodyPr/>
                    <a:lstStyle/>
                    <a:p>
                      <a:pPr algn="ctr"/>
                      <a:r>
                        <a:rPr lang="nl-NL" sz="1600" dirty="0">
                          <a:solidFill>
                            <a:schemeClr val="bg2">
                              <a:lumMod val="25000"/>
                            </a:schemeClr>
                          </a:solidFill>
                        </a:rPr>
                        <a:t>0,</a:t>
                      </a:r>
                      <a:r>
                        <a:rPr lang="en-US" sz="1600" dirty="0">
                          <a:solidFill>
                            <a:schemeClr val="bg2">
                              <a:lumMod val="25000"/>
                            </a:schemeClr>
                          </a:solidFill>
                        </a:rPr>
                        <a:t>16</a:t>
                      </a:r>
                      <a:endParaRPr lang="nl-NL" sz="1600" dirty="0">
                        <a:solidFill>
                          <a:schemeClr val="bg2">
                            <a:lumMod val="25000"/>
                          </a:schemeClr>
                        </a:solidFill>
                      </a:endParaRPr>
                    </a:p>
                  </a:txBody>
                  <a:tcPr/>
                </a:tc>
                <a:extLst>
                  <a:ext uri="{0D108BD9-81ED-4DB2-BD59-A6C34878D82A}">
                    <a16:rowId xmlns:a16="http://schemas.microsoft.com/office/drawing/2014/main" xmlns="" val="3376741069"/>
                  </a:ext>
                </a:extLst>
              </a:tr>
              <a:tr h="803423">
                <a:tc>
                  <a:txBody>
                    <a:bodyPr/>
                    <a:lstStyle/>
                    <a:p>
                      <a:r>
                        <a:rPr lang="ru-RU" sz="1100" dirty="0">
                          <a:solidFill>
                            <a:schemeClr val="bg2">
                              <a:lumMod val="25000"/>
                            </a:schemeClr>
                          </a:solidFill>
                        </a:rPr>
                        <a:t>Типы</a:t>
                      </a:r>
                      <a:r>
                        <a:rPr lang="ru-RU" sz="1100" baseline="0" dirty="0">
                          <a:solidFill>
                            <a:schemeClr val="bg2">
                              <a:lumMod val="25000"/>
                            </a:schemeClr>
                          </a:solidFill>
                        </a:rPr>
                        <a:t> волос</a:t>
                      </a:r>
                      <a:r>
                        <a:rPr lang="nl-NL" sz="1100" dirty="0">
                          <a:solidFill>
                            <a:schemeClr val="bg2">
                              <a:lumMod val="25000"/>
                            </a:schemeClr>
                          </a:solidFill>
                        </a:rPr>
                        <a:t>/ </a:t>
                      </a:r>
                      <a:r>
                        <a:rPr lang="ru-RU" sz="1100" dirty="0">
                          <a:solidFill>
                            <a:schemeClr val="bg2">
                              <a:lumMod val="25000"/>
                            </a:schemeClr>
                          </a:solidFill>
                        </a:rPr>
                        <a:t>концентрации</a:t>
                      </a:r>
                      <a:endParaRPr lang="en-US" sz="1100" dirty="0">
                        <a:solidFill>
                          <a:schemeClr val="bg2">
                            <a:lumMod val="25000"/>
                          </a:schemeClr>
                        </a:solidFill>
                      </a:endParaRPr>
                    </a:p>
                  </a:txBody>
                  <a:tcPr/>
                </a:tc>
                <a:tc>
                  <a:txBody>
                    <a:bodyPr/>
                    <a:lstStyle/>
                    <a:p>
                      <a:r>
                        <a:rPr lang="nl-NL" sz="1100" dirty="0">
                          <a:solidFill>
                            <a:schemeClr val="bg2">
                              <a:lumMod val="25000"/>
                            </a:schemeClr>
                          </a:solidFill>
                        </a:rPr>
                        <a:t>1x </a:t>
                      </a:r>
                      <a:r>
                        <a:rPr lang="ru-RU" sz="1100" dirty="0">
                          <a:solidFill>
                            <a:schemeClr val="bg2">
                              <a:lumMod val="25000"/>
                            </a:schemeClr>
                          </a:solidFill>
                        </a:rPr>
                        <a:t>обесцвеченные волосы европейские</a:t>
                      </a:r>
                      <a:r>
                        <a:rPr lang="nl-NL" sz="1100" dirty="0">
                          <a:solidFill>
                            <a:schemeClr val="bg2">
                              <a:lumMod val="25000"/>
                            </a:schemeClr>
                          </a:solidFill>
                        </a:rPr>
                        <a:t>, 20g</a:t>
                      </a:r>
                      <a:r>
                        <a:rPr lang="nl-NL" sz="1100" baseline="0" dirty="0">
                          <a:solidFill>
                            <a:schemeClr val="bg2">
                              <a:lumMod val="25000"/>
                            </a:schemeClr>
                          </a:solidFill>
                        </a:rPr>
                        <a:t> </a:t>
                      </a:r>
                      <a:r>
                        <a:rPr lang="ru-RU" sz="1100" baseline="0" dirty="0">
                          <a:solidFill>
                            <a:schemeClr val="bg2">
                              <a:lumMod val="25000"/>
                            </a:schemeClr>
                          </a:solidFill>
                        </a:rPr>
                        <a:t>краска</a:t>
                      </a:r>
                      <a:r>
                        <a:rPr lang="nl-NL" sz="1100" baseline="0" dirty="0">
                          <a:solidFill>
                            <a:schemeClr val="bg2">
                              <a:lumMod val="25000"/>
                            </a:schemeClr>
                          </a:solidFill>
                        </a:rPr>
                        <a:t>, 20g </a:t>
                      </a:r>
                      <a:r>
                        <a:rPr lang="ru-RU" sz="1100" baseline="0" dirty="0">
                          <a:solidFill>
                            <a:schemeClr val="bg2">
                              <a:lumMod val="25000"/>
                            </a:schemeClr>
                          </a:solidFill>
                        </a:rPr>
                        <a:t>проявитель</a:t>
                      </a:r>
                      <a:r>
                        <a:rPr lang="nl-NL" sz="1100" baseline="0" dirty="0">
                          <a:solidFill>
                            <a:schemeClr val="bg2">
                              <a:lumMod val="25000"/>
                            </a:schemeClr>
                          </a:solidFill>
                        </a:rPr>
                        <a:t>, </a:t>
                      </a:r>
                    </a:p>
                    <a:p>
                      <a:r>
                        <a:rPr lang="nl-NL" sz="1100" baseline="0" dirty="0">
                          <a:solidFill>
                            <a:schemeClr val="bg2">
                              <a:lumMod val="25000"/>
                            </a:schemeClr>
                          </a:solidFill>
                        </a:rPr>
                        <a:t>5g </a:t>
                      </a:r>
                      <a:r>
                        <a:rPr lang="ru-RU" sz="1100" baseline="0" dirty="0">
                          <a:solidFill>
                            <a:schemeClr val="bg2">
                              <a:lumMod val="25000"/>
                            </a:schemeClr>
                          </a:solidFill>
                        </a:rPr>
                        <a:t>добавка</a:t>
                      </a:r>
                      <a:endParaRPr lang="en-US" sz="1100" dirty="0">
                        <a:solidFill>
                          <a:schemeClr val="bg2">
                            <a:lumMod val="25000"/>
                          </a:schemeClr>
                        </a:solidFill>
                      </a:endParaRPr>
                    </a:p>
                  </a:txBody>
                  <a:tcPr/>
                </a:tc>
                <a:tc>
                  <a:txBody>
                    <a:bodyPr/>
                    <a:lstStyle/>
                    <a:p>
                      <a:endParaRPr lang="en-US" sz="1100" dirty="0">
                        <a:solidFill>
                          <a:schemeClr val="bg2">
                            <a:lumMod val="25000"/>
                          </a:schemeClr>
                        </a:solidFill>
                      </a:endParaRPr>
                    </a:p>
                  </a:txBody>
                  <a:tcPr/>
                </a:tc>
                <a:tc>
                  <a:txBody>
                    <a:bodyPr/>
                    <a:lstStyle/>
                    <a:p>
                      <a:r>
                        <a:rPr lang="nl-NL" sz="1100" dirty="0">
                          <a:solidFill>
                            <a:schemeClr val="bg2">
                              <a:lumMod val="25000"/>
                            </a:schemeClr>
                          </a:solidFill>
                        </a:rPr>
                        <a:t>1x </a:t>
                      </a:r>
                      <a:r>
                        <a:rPr lang="ru-RU" sz="1100" dirty="0">
                          <a:solidFill>
                            <a:schemeClr val="bg2">
                              <a:lumMod val="25000"/>
                            </a:schemeClr>
                          </a:solidFill>
                        </a:rPr>
                        <a:t>обесцвеченные волосы европейские</a:t>
                      </a:r>
                      <a:r>
                        <a:rPr lang="nl-NL" sz="1100" dirty="0">
                          <a:solidFill>
                            <a:schemeClr val="bg2">
                              <a:lumMod val="25000"/>
                            </a:schemeClr>
                          </a:solidFill>
                        </a:rPr>
                        <a:t>, </a:t>
                      </a:r>
                    </a:p>
                    <a:p>
                      <a:r>
                        <a:rPr lang="nl-NL" sz="1100" dirty="0">
                          <a:solidFill>
                            <a:schemeClr val="bg2">
                              <a:lumMod val="25000"/>
                            </a:schemeClr>
                          </a:solidFill>
                        </a:rPr>
                        <a:t>6g</a:t>
                      </a:r>
                      <a:r>
                        <a:rPr lang="ru-RU" sz="1100" dirty="0">
                          <a:solidFill>
                            <a:schemeClr val="bg2">
                              <a:lumMod val="25000"/>
                            </a:schemeClr>
                          </a:solidFill>
                        </a:rPr>
                        <a:t> краска</a:t>
                      </a:r>
                      <a:r>
                        <a:rPr lang="nl-NL" sz="1100" dirty="0">
                          <a:solidFill>
                            <a:schemeClr val="bg2">
                              <a:lumMod val="25000"/>
                            </a:schemeClr>
                          </a:solidFill>
                        </a:rPr>
                        <a:t>, </a:t>
                      </a:r>
                    </a:p>
                    <a:p>
                      <a:r>
                        <a:rPr lang="nl-NL" sz="1100" dirty="0">
                          <a:solidFill>
                            <a:schemeClr val="bg2">
                              <a:lumMod val="25000"/>
                            </a:schemeClr>
                          </a:solidFill>
                        </a:rPr>
                        <a:t>6g </a:t>
                      </a:r>
                      <a:r>
                        <a:rPr lang="ru-RU" sz="1100" dirty="0">
                          <a:solidFill>
                            <a:schemeClr val="bg2">
                              <a:lumMod val="25000"/>
                            </a:schemeClr>
                          </a:solidFill>
                        </a:rPr>
                        <a:t>проявитель</a:t>
                      </a:r>
                      <a:r>
                        <a:rPr lang="nl-NL" sz="1100" dirty="0">
                          <a:solidFill>
                            <a:schemeClr val="bg2">
                              <a:lumMod val="25000"/>
                            </a:schemeClr>
                          </a:solidFill>
                        </a:rPr>
                        <a:t>,</a:t>
                      </a:r>
                      <a:r>
                        <a:rPr lang="nl-NL" sz="1100" baseline="0" dirty="0">
                          <a:solidFill>
                            <a:schemeClr val="bg2">
                              <a:lumMod val="25000"/>
                            </a:schemeClr>
                          </a:solidFill>
                        </a:rPr>
                        <a:t> </a:t>
                      </a:r>
                    </a:p>
                    <a:p>
                      <a:r>
                        <a:rPr lang="nl-NL" sz="1100" baseline="0" dirty="0">
                          <a:solidFill>
                            <a:schemeClr val="bg2">
                              <a:lumMod val="25000"/>
                            </a:schemeClr>
                          </a:solidFill>
                        </a:rPr>
                        <a:t>2g </a:t>
                      </a:r>
                      <a:r>
                        <a:rPr lang="ru-RU" sz="1100" baseline="0" dirty="0">
                          <a:solidFill>
                            <a:schemeClr val="bg2">
                              <a:lumMod val="25000"/>
                            </a:schemeClr>
                          </a:solidFill>
                        </a:rPr>
                        <a:t>добавка</a:t>
                      </a:r>
                      <a:endParaRPr lang="en-US" sz="1100" dirty="0">
                        <a:solidFill>
                          <a:schemeClr val="bg2">
                            <a:lumMod val="25000"/>
                          </a:schemeClr>
                        </a:solidFill>
                      </a:endParaRPr>
                    </a:p>
                  </a:txBody>
                  <a:tcPr/>
                </a:tc>
                <a:tc>
                  <a:txBody>
                    <a:bodyPr/>
                    <a:lstStyle/>
                    <a:p>
                      <a:endParaRPr lang="en-US" sz="1100" dirty="0">
                        <a:solidFill>
                          <a:schemeClr val="bg2">
                            <a:lumMod val="25000"/>
                          </a:schemeClr>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a:solidFill>
                            <a:schemeClr val="bg2">
                              <a:lumMod val="25000"/>
                            </a:schemeClr>
                          </a:solidFill>
                        </a:rPr>
                        <a:t>европейские</a:t>
                      </a:r>
                      <a:r>
                        <a:rPr lang="ru-RU" sz="1100" baseline="0" dirty="0">
                          <a:solidFill>
                            <a:schemeClr val="bg2">
                              <a:lumMod val="25000"/>
                            </a:schemeClr>
                          </a:solidFill>
                        </a:rPr>
                        <a:t> волосы</a:t>
                      </a:r>
                      <a:r>
                        <a:rPr lang="nl-NL" sz="1100" dirty="0">
                          <a:solidFill>
                            <a:schemeClr val="bg2">
                              <a:lumMod val="25000"/>
                            </a:schemeClr>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lang="nl-NL" sz="1100" dirty="0">
                          <a:solidFill>
                            <a:schemeClr val="bg2">
                              <a:lumMod val="25000"/>
                            </a:schemeClr>
                          </a:solidFill>
                        </a:rPr>
                        <a:t>6g</a:t>
                      </a:r>
                      <a:r>
                        <a:rPr lang="ru-RU" sz="1100" baseline="0" dirty="0">
                          <a:solidFill>
                            <a:schemeClr val="bg2">
                              <a:lumMod val="25000"/>
                            </a:schemeClr>
                          </a:solidFill>
                        </a:rPr>
                        <a:t> краска</a:t>
                      </a:r>
                      <a:r>
                        <a:rPr lang="nl-NL" sz="1100" dirty="0">
                          <a:solidFill>
                            <a:schemeClr val="bg2">
                              <a:lumMod val="25000"/>
                            </a:schemeClr>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lang="nl-NL" sz="1100" dirty="0">
                          <a:solidFill>
                            <a:schemeClr val="bg2">
                              <a:lumMod val="25000"/>
                            </a:schemeClr>
                          </a:solidFill>
                        </a:rPr>
                        <a:t>6g</a:t>
                      </a:r>
                      <a:r>
                        <a:rPr lang="ru-RU" sz="1100" baseline="0" dirty="0">
                          <a:solidFill>
                            <a:schemeClr val="bg2">
                              <a:lumMod val="25000"/>
                            </a:schemeClr>
                          </a:solidFill>
                        </a:rPr>
                        <a:t> проявитель</a:t>
                      </a:r>
                      <a:r>
                        <a:rPr lang="nl-NL" sz="1100" dirty="0">
                          <a:solidFill>
                            <a:schemeClr val="bg2">
                              <a:lumMod val="25000"/>
                            </a:schemeClr>
                          </a:solidFill>
                        </a:rPr>
                        <a:t>,</a:t>
                      </a:r>
                      <a:r>
                        <a:rPr lang="nl-NL" sz="1100" baseline="0" dirty="0">
                          <a:solidFill>
                            <a:schemeClr val="bg2">
                              <a:lumMod val="25000"/>
                            </a:schemeClr>
                          </a:solidFill>
                        </a:rPr>
                        <a:t> </a:t>
                      </a:r>
                    </a:p>
                    <a:p>
                      <a:pPr marL="0" marR="0" indent="0" algn="l" defTabSz="914400" rtl="0" eaLnBrk="1" fontAlgn="auto" latinLnBrk="0" hangingPunct="1">
                        <a:lnSpc>
                          <a:spcPct val="100000"/>
                        </a:lnSpc>
                        <a:spcBef>
                          <a:spcPts val="0"/>
                        </a:spcBef>
                        <a:spcAft>
                          <a:spcPts val="0"/>
                        </a:spcAft>
                        <a:buClrTx/>
                        <a:buSzTx/>
                        <a:buFontTx/>
                        <a:buNone/>
                        <a:tabLst/>
                        <a:defRPr/>
                      </a:pPr>
                      <a:r>
                        <a:rPr lang="nl-NL" sz="1100" baseline="0" dirty="0">
                          <a:solidFill>
                            <a:schemeClr val="bg2">
                              <a:lumMod val="25000"/>
                            </a:schemeClr>
                          </a:solidFill>
                        </a:rPr>
                        <a:t>2g </a:t>
                      </a:r>
                      <a:r>
                        <a:rPr lang="ru-RU" sz="1100" baseline="0" dirty="0">
                          <a:solidFill>
                            <a:schemeClr val="bg2">
                              <a:lumMod val="25000"/>
                            </a:schemeClr>
                          </a:solidFill>
                        </a:rPr>
                        <a:t>добавка</a:t>
                      </a:r>
                      <a:endParaRPr lang="en-US" sz="1100" dirty="0">
                        <a:solidFill>
                          <a:schemeClr val="bg2">
                            <a:lumMod val="25000"/>
                          </a:schemeClr>
                        </a:solidFill>
                      </a:endParaRPr>
                    </a:p>
                  </a:txBody>
                  <a:tcPr/>
                </a:tc>
                <a:extLst>
                  <a:ext uri="{0D108BD9-81ED-4DB2-BD59-A6C34878D82A}">
                    <a16:rowId xmlns:a16="http://schemas.microsoft.com/office/drawing/2014/main" xmlns="" val="2894113426"/>
                  </a:ext>
                </a:extLst>
              </a:tr>
            </a:tbl>
          </a:graphicData>
        </a:graphic>
      </p:graphicFrame>
      <p:sp>
        <p:nvSpPr>
          <p:cNvPr id="13" name="TextBox 12"/>
          <p:cNvSpPr txBox="1"/>
          <p:nvPr/>
        </p:nvSpPr>
        <p:spPr>
          <a:xfrm>
            <a:off x="205681" y="6435613"/>
            <a:ext cx="786394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dirty="0" smtClean="0">
                <a:solidFill>
                  <a:prstClr val="black">
                    <a:lumMod val="75000"/>
                    <a:lumOff val="25000"/>
                  </a:prstClr>
                </a:solidFill>
                <a:latin typeface="Century Gothic Pro" panose="020B0502020202020204" pitchFamily="34" charset="0"/>
              </a:rPr>
              <a:t>Чем </a:t>
            </a:r>
            <a:r>
              <a:rPr lang="ru-RU" sz="1400" dirty="0">
                <a:solidFill>
                  <a:prstClr val="black">
                    <a:lumMod val="75000"/>
                    <a:lumOff val="25000"/>
                  </a:prstClr>
                </a:solidFill>
                <a:latin typeface="Century Gothic Pro" panose="020B0502020202020204" pitchFamily="34" charset="0"/>
              </a:rPr>
              <a:t>ниже</a:t>
            </a:r>
            <a:r>
              <a:rPr kumimoji="0" lang="nl-NL" sz="1400" b="0" i="0" u="none" strike="noStrike" kern="1200" cap="none" spc="0" normalizeH="0" baseline="0" noProof="0" dirty="0">
                <a:ln>
                  <a:noFill/>
                </a:ln>
                <a:solidFill>
                  <a:prstClr val="black">
                    <a:lumMod val="75000"/>
                    <a:lumOff val="25000"/>
                  </a:prstClr>
                </a:solidFill>
                <a:effectLst/>
                <a:uLnTx/>
                <a:uFillTx/>
                <a:latin typeface="Century Gothic Pro" panose="020B0502020202020204" pitchFamily="34" charset="0"/>
                <a:ea typeface="+mn-ea"/>
                <a:cs typeface="+mn-cs"/>
              </a:rPr>
              <a:t> EDF </a:t>
            </a:r>
            <a:r>
              <a:rPr kumimoji="0" lang="ru-RU" sz="1400" b="0" i="0" u="none" strike="noStrike" kern="1200" cap="none" spc="0" normalizeH="0" baseline="0" noProof="0" dirty="0">
                <a:ln>
                  <a:noFill/>
                </a:ln>
                <a:solidFill>
                  <a:prstClr val="black">
                    <a:lumMod val="75000"/>
                    <a:lumOff val="25000"/>
                  </a:prstClr>
                </a:solidFill>
                <a:effectLst/>
                <a:uLnTx/>
                <a:uFillTx/>
                <a:latin typeface="Century Gothic Pro" panose="020B0502020202020204" pitchFamily="34" charset="0"/>
                <a:ea typeface="+mn-ea"/>
                <a:cs typeface="+mn-cs"/>
              </a:rPr>
              <a:t>значение</a:t>
            </a:r>
            <a:r>
              <a:rPr kumimoji="0" lang="nl-NL" sz="1400" b="0" i="0" u="none" strike="noStrike" kern="1200" cap="none" spc="0" normalizeH="0" baseline="0" noProof="0" dirty="0">
                <a:ln>
                  <a:noFill/>
                </a:ln>
                <a:solidFill>
                  <a:prstClr val="black">
                    <a:lumMod val="75000"/>
                    <a:lumOff val="25000"/>
                  </a:prstClr>
                </a:solidFill>
                <a:effectLst/>
                <a:uLnTx/>
                <a:uFillTx/>
                <a:latin typeface="Century Gothic Pro" panose="020B0502020202020204" pitchFamily="34" charset="0"/>
                <a:ea typeface="+mn-ea"/>
                <a:cs typeface="+mn-cs"/>
              </a:rPr>
              <a:t> (</a:t>
            </a:r>
            <a:r>
              <a:rPr kumimoji="0" lang="ru-RU" sz="1400" b="0" i="0" u="none" strike="noStrike" kern="1200" cap="none" spc="0" normalizeH="0" baseline="0" noProof="0" dirty="0">
                <a:ln>
                  <a:noFill/>
                </a:ln>
                <a:solidFill>
                  <a:prstClr val="black">
                    <a:lumMod val="75000"/>
                    <a:lumOff val="25000"/>
                  </a:prstClr>
                </a:solidFill>
                <a:effectLst/>
                <a:uLnTx/>
                <a:uFillTx/>
                <a:latin typeface="Century Gothic Pro" panose="020B0502020202020204" pitchFamily="34" charset="0"/>
                <a:ea typeface="+mn-ea"/>
                <a:cs typeface="+mn-cs"/>
              </a:rPr>
              <a:t>эквивалентный</a:t>
            </a:r>
            <a:r>
              <a:rPr kumimoji="0" lang="ru-RU" sz="1400" b="0" i="0" u="none" strike="noStrike" kern="1200" cap="none" spc="0" normalizeH="0" noProof="0" dirty="0">
                <a:ln>
                  <a:noFill/>
                </a:ln>
                <a:solidFill>
                  <a:prstClr val="black">
                    <a:lumMod val="75000"/>
                    <a:lumOff val="25000"/>
                  </a:prstClr>
                </a:solidFill>
                <a:effectLst/>
                <a:uLnTx/>
                <a:uFillTx/>
                <a:latin typeface="Century Gothic Pro" panose="020B0502020202020204" pitchFamily="34" charset="0"/>
                <a:ea typeface="+mn-ea"/>
                <a:cs typeface="+mn-cs"/>
              </a:rPr>
              <a:t> фактор повреждения</a:t>
            </a:r>
            <a:r>
              <a:rPr kumimoji="0" lang="nl-NL" sz="1400" b="0" i="0" u="none" strike="noStrike" kern="1200" cap="none" spc="0" normalizeH="0" baseline="0" noProof="0" dirty="0">
                <a:ln>
                  <a:noFill/>
                </a:ln>
                <a:solidFill>
                  <a:prstClr val="black">
                    <a:lumMod val="75000"/>
                    <a:lumOff val="25000"/>
                  </a:prstClr>
                </a:solidFill>
                <a:effectLst/>
                <a:uLnTx/>
                <a:uFillTx/>
                <a:latin typeface="Century Gothic Pro" panose="020B0502020202020204" pitchFamily="34" charset="0"/>
                <a:ea typeface="+mn-ea"/>
                <a:cs typeface="+mn-cs"/>
              </a:rPr>
              <a:t>) = </a:t>
            </a:r>
            <a:r>
              <a:rPr kumimoji="0" lang="ru-RU" sz="1400" b="0" i="0" u="none" strike="noStrike" kern="1200" cap="none" spc="0" normalizeH="0" baseline="0" noProof="0" dirty="0">
                <a:ln>
                  <a:noFill/>
                </a:ln>
                <a:solidFill>
                  <a:prstClr val="black">
                    <a:lumMod val="75000"/>
                    <a:lumOff val="25000"/>
                  </a:prstClr>
                </a:solidFill>
                <a:effectLst/>
                <a:uLnTx/>
                <a:uFillTx/>
                <a:latin typeface="Century Gothic Pro" panose="020B0502020202020204" pitchFamily="34" charset="0"/>
                <a:ea typeface="+mn-ea"/>
                <a:cs typeface="+mn-cs"/>
              </a:rPr>
              <a:t>тем меньше повреждение</a:t>
            </a:r>
            <a:endParaRPr kumimoji="0" lang="en-US" sz="1400" b="0" i="0" u="none" strike="noStrike" kern="1200" cap="none" spc="0" normalizeH="0" baseline="0" noProof="0" dirty="0">
              <a:ln>
                <a:noFill/>
              </a:ln>
              <a:solidFill>
                <a:prstClr val="black">
                  <a:lumMod val="75000"/>
                  <a:lumOff val="25000"/>
                </a:prstClr>
              </a:solidFill>
              <a:effectLst/>
              <a:uLnTx/>
              <a:uFillTx/>
              <a:latin typeface="Century Gothic Pro" panose="020B0502020202020204" pitchFamily="34" charset="0"/>
              <a:ea typeface="+mn-ea"/>
              <a:cs typeface="+mn-cs"/>
            </a:endParaRPr>
          </a:p>
        </p:txBody>
      </p:sp>
      <p:sp>
        <p:nvSpPr>
          <p:cNvPr id="14" name="TextBox 13"/>
          <p:cNvSpPr txBox="1"/>
          <p:nvPr/>
        </p:nvSpPr>
        <p:spPr>
          <a:xfrm>
            <a:off x="5707549" y="1198128"/>
            <a:ext cx="1935787" cy="738664"/>
          </a:xfrm>
          <a:prstGeom prst="rect">
            <a:avLst/>
          </a:prstGeom>
        </p:spPr>
        <p:style>
          <a:lnRef idx="1">
            <a:schemeClr val="accent3"/>
          </a:lnRef>
          <a:fillRef idx="2">
            <a:schemeClr val="accent3"/>
          </a:fillRef>
          <a:effectRef idx="1">
            <a:schemeClr val="accent3"/>
          </a:effectRef>
          <a:fontRef idx="minor">
            <a:schemeClr val="dk1"/>
          </a:fontRef>
        </p:style>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Century Gothic Pro" panose="020B0502020202020204" pitchFamily="34" charset="0"/>
                <a:ea typeface="+mn-ea"/>
                <a:cs typeface="+mn-cs"/>
              </a:rPr>
              <a:t>Рыночный образец</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dirty="0">
                <a:solidFill>
                  <a:prstClr val="black"/>
                </a:solidFill>
                <a:latin typeface="Century Gothic Pro" panose="020B0502020202020204" pitchFamily="34" charset="0"/>
              </a:rPr>
              <a:t>Краска для волос</a:t>
            </a:r>
            <a:endParaRPr kumimoji="0" lang="en-US" sz="1400" b="0" i="0" u="none" strike="noStrike" kern="1200" cap="none" spc="0" normalizeH="0" baseline="0" noProof="0" dirty="0">
              <a:ln>
                <a:noFill/>
              </a:ln>
              <a:solidFill>
                <a:prstClr val="black"/>
              </a:solidFill>
              <a:effectLst/>
              <a:uLnTx/>
              <a:uFillTx/>
              <a:latin typeface="Century Gothic Pro"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Century Gothic Pro" panose="020B0502020202020204" pitchFamily="34" charset="0"/>
                <a:ea typeface="+mn-ea"/>
                <a:cs typeface="+mn-cs"/>
              </a:rPr>
              <a:t>Профессиональная </a:t>
            </a:r>
            <a:r>
              <a:rPr kumimoji="0" lang="en-US" sz="1400" b="0" i="0" u="none" strike="noStrike" kern="1200" cap="none" spc="0" normalizeH="0" baseline="0" noProof="0" dirty="0">
                <a:ln>
                  <a:noFill/>
                </a:ln>
                <a:solidFill>
                  <a:prstClr val="black"/>
                </a:solidFill>
                <a:effectLst/>
                <a:uLnTx/>
                <a:uFillTx/>
                <a:latin typeface="Century Gothic Pro" panose="020B0502020202020204" pitchFamily="34" charset="0"/>
                <a:ea typeface="+mn-ea"/>
                <a:cs typeface="+mn-cs"/>
              </a:rPr>
              <a:t>#2</a:t>
            </a:r>
          </a:p>
        </p:txBody>
      </p:sp>
      <p:sp>
        <p:nvSpPr>
          <p:cNvPr id="15" name="TextBox 14"/>
          <p:cNvSpPr txBox="1"/>
          <p:nvPr/>
        </p:nvSpPr>
        <p:spPr>
          <a:xfrm>
            <a:off x="7820154" y="1198128"/>
            <a:ext cx="1916550" cy="738664"/>
          </a:xfrm>
          <a:prstGeom prst="rect">
            <a:avLst/>
          </a:prstGeom>
        </p:spPr>
        <p:style>
          <a:lnRef idx="1">
            <a:schemeClr val="accent3"/>
          </a:lnRef>
          <a:fillRef idx="2">
            <a:schemeClr val="accent3"/>
          </a:fillRef>
          <a:effectRef idx="1">
            <a:schemeClr val="accent3"/>
          </a:effectRef>
          <a:fontRef idx="minor">
            <a:schemeClr val="dk1"/>
          </a:fontRef>
        </p:style>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Century Gothic Pro" panose="020B0502020202020204" pitchFamily="34" charset="0"/>
                <a:ea typeface="+mn-ea"/>
                <a:cs typeface="+mn-cs"/>
              </a:rPr>
              <a:t>Рыночный образец</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dirty="0">
                <a:solidFill>
                  <a:prstClr val="black"/>
                </a:solidFill>
                <a:latin typeface="Century Gothic Pro" panose="020B0502020202020204" pitchFamily="34" charset="0"/>
              </a:rPr>
              <a:t>Краска для волос</a:t>
            </a:r>
            <a:endParaRPr kumimoji="0" lang="nl-NL" sz="1400" b="0" i="0" u="none" strike="noStrike" kern="1200" cap="none" spc="0" normalizeH="0" baseline="0" noProof="0" dirty="0">
              <a:ln>
                <a:noFill/>
              </a:ln>
              <a:solidFill>
                <a:prstClr val="black"/>
              </a:solidFill>
              <a:effectLst/>
              <a:uLnTx/>
              <a:uFillTx/>
              <a:latin typeface="Century Gothic Pro"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Century Gothic Pro" panose="020B0502020202020204" pitchFamily="34" charset="0"/>
                <a:ea typeface="+mn-ea"/>
                <a:cs typeface="+mn-cs"/>
              </a:rPr>
              <a:t>профессиональная</a:t>
            </a:r>
            <a:r>
              <a:rPr kumimoji="0" lang="nl-NL" sz="1400" b="0" i="0" u="none" strike="noStrike" kern="1200" cap="none" spc="0" normalizeH="0" baseline="0" noProof="0" dirty="0">
                <a:ln>
                  <a:noFill/>
                </a:ln>
                <a:solidFill>
                  <a:prstClr val="black"/>
                </a:solidFill>
                <a:effectLst/>
                <a:uLnTx/>
                <a:uFillTx/>
                <a:latin typeface="Century Gothic Pro" panose="020B0502020202020204" pitchFamily="34" charset="0"/>
                <a:ea typeface="+mn-ea"/>
                <a:cs typeface="+mn-cs"/>
              </a:rPr>
              <a:t> #3</a:t>
            </a:r>
            <a:endParaRPr kumimoji="0" lang="en-US" sz="1400" b="0" i="0" u="none" strike="noStrike" kern="1200" cap="none" spc="0" normalizeH="0" baseline="0" noProof="0" dirty="0">
              <a:ln>
                <a:noFill/>
              </a:ln>
              <a:solidFill>
                <a:prstClr val="black"/>
              </a:solidFill>
              <a:effectLst/>
              <a:uLnTx/>
              <a:uFillTx/>
              <a:latin typeface="Century Gothic Pro" panose="020B0502020202020204" pitchFamily="34" charset="0"/>
              <a:ea typeface="+mn-ea"/>
              <a:cs typeface="+mn-cs"/>
            </a:endParaRPr>
          </a:p>
        </p:txBody>
      </p:sp>
      <p:sp>
        <p:nvSpPr>
          <p:cNvPr id="16" name="TextBox 15"/>
          <p:cNvSpPr txBox="1"/>
          <p:nvPr/>
        </p:nvSpPr>
        <p:spPr>
          <a:xfrm flipH="1">
            <a:off x="334990" y="5731782"/>
            <a:ext cx="6640576" cy="584775"/>
          </a:xfrm>
          <a:prstGeom prst="rect">
            <a:avLst/>
          </a:prstGeom>
          <a:solidFill>
            <a:schemeClr val="bg2">
              <a:lumMod val="50000"/>
            </a:schemeClr>
          </a:solidFill>
        </p:spPr>
        <p:txBody>
          <a:bodyPr wrap="square" rtlCol="0">
            <a:spAutoFit/>
          </a:bodyPr>
          <a:lstStyle>
            <a:defPPr>
              <a:defRPr lang="en-US"/>
            </a:defPPr>
            <a:lvl1pPr>
              <a:defRPr sz="1600" b="1">
                <a:solidFill>
                  <a:schemeClr val="bg1"/>
                </a:solidFill>
                <a:latin typeface="Century Gothic" panose="020B0502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white"/>
                </a:solidFill>
                <a:effectLst/>
                <a:uLnTx/>
                <a:uFillTx/>
                <a:latin typeface="Century Gothic" panose="020B0502020202020204" pitchFamily="34" charset="0"/>
                <a:ea typeface="+mn-ea"/>
                <a:cs typeface="+mn-cs"/>
              </a:rPr>
              <a:t>fiberHance</a:t>
            </a:r>
            <a:r>
              <a:rPr kumimoji="0" lang="en-US" sz="16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BM solution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dirty="0">
                <a:solidFill>
                  <a:prstClr val="white"/>
                </a:solidFill>
              </a:rPr>
              <a:t>Уменьшает повреждение волос в процессе окрашивания</a:t>
            </a:r>
            <a:endParaRPr kumimoji="0" lang="en-US" sz="16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5237373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1393B01-7800-434A-B836-B3320A3476BB}" type="slidenum">
              <a:rPr kumimoji="0" lang="en-US" sz="1200" b="1"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Rectangle 5"/>
          <p:cNvSpPr/>
          <p:nvPr/>
        </p:nvSpPr>
        <p:spPr>
          <a:xfrm>
            <a:off x="0" y="0"/>
            <a:ext cx="10058400" cy="53062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4950" marR="0" lvl="0" indent="0" algn="l" defTabSz="914400" rtl="0" eaLnBrk="1" fontAlgn="auto" latinLnBrk="0" hangingPunct="1">
              <a:lnSpc>
                <a:spcPct val="100000"/>
              </a:lnSpc>
              <a:spcBef>
                <a:spcPts val="0"/>
              </a:spcBef>
              <a:spcAft>
                <a:spcPts val="0"/>
              </a:spcAft>
              <a:buClrTx/>
              <a:buSzTx/>
              <a:buFontTx/>
              <a:buNone/>
              <a:tabLst/>
              <a:defRPr/>
            </a:pPr>
            <a:r>
              <a:rPr kumimoji="0" lang="ru-RU" sz="4200" b="1" i="0" u="none" strike="noStrike" kern="1200" cap="none" spc="0" normalizeH="0" baseline="0" noProof="0" dirty="0">
                <a:ln>
                  <a:noFill/>
                </a:ln>
                <a:solidFill>
                  <a:prstClr val="white"/>
                </a:solidFill>
                <a:effectLst/>
                <a:uLnTx/>
                <a:uFillTx/>
                <a:latin typeface="Century Gothic"/>
                <a:ea typeface="+mn-ea"/>
                <a:cs typeface="+mn-cs"/>
              </a:rPr>
              <a:t>Защита поверхности волос</a:t>
            </a:r>
            <a:endParaRPr kumimoji="0" lang="en-US" sz="4200" b="1" i="0" u="none" strike="noStrike" kern="1200" cap="none" spc="0" normalizeH="0" baseline="0" noProof="0" dirty="0">
              <a:ln>
                <a:noFill/>
              </a:ln>
              <a:solidFill>
                <a:prstClr val="white"/>
              </a:solidFill>
              <a:effectLst/>
              <a:uLnTx/>
              <a:uFillTx/>
              <a:latin typeface="Century Gothic"/>
              <a:ea typeface="+mn-ea"/>
              <a:cs typeface="+mn-cs"/>
            </a:endParaRPr>
          </a:p>
          <a:p>
            <a:pPr marL="234950" marR="0" lvl="0" indent="0" algn="l" defTabSz="914400" rtl="0" eaLnBrk="1" fontAlgn="auto" latinLnBrk="0" hangingPunct="1">
              <a:lnSpc>
                <a:spcPct val="100000"/>
              </a:lnSpc>
              <a:spcBef>
                <a:spcPts val="0"/>
              </a:spcBef>
              <a:spcAft>
                <a:spcPts val="0"/>
              </a:spcAft>
              <a:buClrTx/>
              <a:buSzTx/>
              <a:buFontTx/>
              <a:buNone/>
              <a:tabLst/>
              <a:defRPr/>
            </a:pPr>
            <a:r>
              <a:rPr lang="ru-RU" sz="4200" b="1" dirty="0">
                <a:solidFill>
                  <a:prstClr val="white"/>
                </a:solidFill>
                <a:latin typeface="Century Gothic"/>
              </a:rPr>
              <a:t>Защита цвета волос</a:t>
            </a:r>
            <a:endParaRPr kumimoji="0" lang="en-US" sz="4200" b="1" i="0" u="none" strike="noStrike" kern="1200" cap="none" spc="0" normalizeH="0" baseline="0" noProof="0" dirty="0">
              <a:ln>
                <a:noFill/>
              </a:ln>
              <a:solidFill>
                <a:prstClr val="white"/>
              </a:solidFill>
              <a:effectLst/>
              <a:uLnTx/>
              <a:uFillTx/>
              <a:latin typeface="Century Gothic"/>
              <a:ea typeface="+mn-ea"/>
              <a:cs typeface="+mn-cs"/>
            </a:endParaRPr>
          </a:p>
        </p:txBody>
      </p:sp>
    </p:spTree>
    <p:extLst>
      <p:ext uri="{BB962C8B-B14F-4D97-AF65-F5344CB8AC3E}">
        <p14:creationId xmlns:p14="http://schemas.microsoft.com/office/powerpoint/2010/main" val="7662950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457198" y="24805"/>
            <a:ext cx="9144000" cy="1325563"/>
          </a:xfrm>
        </p:spPr>
        <p:txBody>
          <a:bodyPr>
            <a:noAutofit/>
          </a:bodyPr>
          <a:lstStyle/>
          <a:p>
            <a:r>
              <a:rPr lang="en-US" dirty="0">
                <a:solidFill>
                  <a:srgbClr val="4CCEDE"/>
                </a:solidFill>
                <a:latin typeface="Century Gothic Pro" panose="020B0502020202020204" pitchFamily="34" charset="0"/>
              </a:rPr>
              <a:t/>
            </a:r>
            <a:br>
              <a:rPr lang="en-US" dirty="0">
                <a:solidFill>
                  <a:srgbClr val="4CCEDE"/>
                </a:solidFill>
                <a:latin typeface="Century Gothic Pro" panose="020B0502020202020204" pitchFamily="34" charset="0"/>
              </a:rPr>
            </a:br>
            <a:r>
              <a:rPr lang="en-US" dirty="0">
                <a:solidFill>
                  <a:srgbClr val="4CCEDE"/>
                </a:solidFill>
                <a:latin typeface="Century Gothic Pro" panose="020B0502020202020204" pitchFamily="34" charset="0"/>
              </a:rPr>
              <a:t>ChromoHance</a:t>
            </a:r>
            <a:r>
              <a:rPr lang="en-US" baseline="30000" dirty="0">
                <a:solidFill>
                  <a:srgbClr val="4CCEDE"/>
                </a:solidFill>
                <a:latin typeface="Century Gothic Pro" panose="020B0502020202020204" pitchFamily="34" charset="0"/>
              </a:rPr>
              <a:t>™</a:t>
            </a:r>
            <a:r>
              <a:rPr lang="en-US" dirty="0">
                <a:solidFill>
                  <a:srgbClr val="4CCEDE"/>
                </a:solidFill>
                <a:latin typeface="Century Gothic Pro" panose="020B0502020202020204" pitchFamily="34" charset="0"/>
              </a:rPr>
              <a:t> 113 </a:t>
            </a:r>
            <a:r>
              <a:rPr lang="ru-RU" dirty="0">
                <a:solidFill>
                  <a:srgbClr val="4CCEDE"/>
                </a:solidFill>
                <a:latin typeface="Century Gothic Pro" panose="020B0502020202020204" pitchFamily="34" charset="0"/>
              </a:rPr>
              <a:t>полимер</a:t>
            </a:r>
            <a:r>
              <a:rPr lang="en-US" dirty="0">
                <a:solidFill>
                  <a:srgbClr val="4CCEDE"/>
                </a:solidFill>
                <a:latin typeface="Century Gothic Pro" panose="020B0502020202020204" pitchFamily="34" charset="0"/>
              </a:rPr>
              <a:t/>
            </a:r>
            <a:br>
              <a:rPr lang="en-US" dirty="0">
                <a:solidFill>
                  <a:srgbClr val="4CCEDE"/>
                </a:solidFill>
                <a:latin typeface="Century Gothic Pro" panose="020B0502020202020204" pitchFamily="34" charset="0"/>
              </a:rPr>
            </a:br>
            <a:endParaRPr lang="en-US" sz="2800" dirty="0">
              <a:solidFill>
                <a:srgbClr val="4CCEDE"/>
              </a:solidFill>
              <a:latin typeface="Century Gothic Pro" panose="020B0502020202020204" pitchFamily="34" charset="0"/>
            </a:endParaRPr>
          </a:p>
        </p:txBody>
      </p:sp>
      <p:sp>
        <p:nvSpPr>
          <p:cNvPr id="2" name="Content Placeholder 1"/>
          <p:cNvSpPr>
            <a:spLocks noGrp="1"/>
          </p:cNvSpPr>
          <p:nvPr>
            <p:ph idx="1"/>
          </p:nvPr>
        </p:nvSpPr>
        <p:spPr>
          <a:xfrm>
            <a:off x="457199" y="1632217"/>
            <a:ext cx="5901656" cy="4724134"/>
          </a:xfrm>
        </p:spPr>
        <p:txBody>
          <a:bodyPr/>
          <a:lstStyle/>
          <a:p>
            <a:pPr marL="0" indent="0">
              <a:buNone/>
            </a:pPr>
            <a:r>
              <a:rPr lang="nl-NL" sz="1800" b="1" dirty="0">
                <a:latin typeface="Century Gothic Pro" panose="020B0502020202020204" pitchFamily="34" charset="0"/>
              </a:rPr>
              <a:t>INCI: Polyquaternium-113</a:t>
            </a:r>
            <a:br>
              <a:rPr lang="nl-NL" sz="1800" b="1" dirty="0">
                <a:latin typeface="Century Gothic Pro" panose="020B0502020202020204" pitchFamily="34" charset="0"/>
              </a:rPr>
            </a:br>
            <a:endParaRPr lang="nl-NL" sz="1800" dirty="0">
              <a:latin typeface="Century Gothic Pro" panose="020B0502020202020204" pitchFamily="34" charset="0"/>
            </a:endParaRPr>
          </a:p>
          <a:p>
            <a:pPr marL="0" indent="0">
              <a:buNone/>
            </a:pPr>
            <a:r>
              <a:rPr lang="ru-RU" sz="1800" b="1" dirty="0">
                <a:latin typeface="Century Gothic Pro" panose="020B0502020202020204" pitchFamily="34" charset="0"/>
              </a:rPr>
              <a:t>Описание и преимущества</a:t>
            </a:r>
            <a:r>
              <a:rPr lang="nl-NL" sz="1800" b="1" dirty="0">
                <a:latin typeface="Century Gothic Pro" panose="020B0502020202020204" pitchFamily="34" charset="0"/>
              </a:rPr>
              <a:t>:</a:t>
            </a:r>
          </a:p>
          <a:p>
            <a:pPr marL="0" indent="0">
              <a:buNone/>
            </a:pPr>
            <a:r>
              <a:rPr lang="ru-RU" sz="1800" dirty="0">
                <a:latin typeface="Century Gothic Pro" panose="020B0502020202020204" pitchFamily="34" charset="0"/>
              </a:rPr>
              <a:t>Полимер </a:t>
            </a:r>
            <a:r>
              <a:rPr lang="nl-NL" sz="1800" dirty="0">
                <a:latin typeface="Century Gothic Pro" panose="020B0502020202020204" pitchFamily="34" charset="0"/>
              </a:rPr>
              <a:t>ChromoHance 113 </a:t>
            </a:r>
            <a:r>
              <a:rPr lang="ru-RU" sz="1800" dirty="0">
                <a:latin typeface="Century Gothic Pro" panose="020B0502020202020204" pitchFamily="34" charset="0"/>
              </a:rPr>
              <a:t> -  уникальный запатентованный сильно заряженный катионный терполимер для применения в различных типах продуктов по уходу за волосами </a:t>
            </a:r>
            <a:r>
              <a:rPr lang="nl-NL" sz="1800" dirty="0">
                <a:latin typeface="Century Gothic Pro" panose="020B0502020202020204" pitchFamily="34" charset="0"/>
              </a:rPr>
              <a:t>(</a:t>
            </a:r>
            <a:r>
              <a:rPr lang="ru-RU" sz="1800" dirty="0">
                <a:latin typeface="Century Gothic Pro" panose="020B0502020202020204" pitchFamily="34" charset="0"/>
              </a:rPr>
              <a:t>шампуни, смываемые и несмываемые кондиционеры, маски, сыворотки</a:t>
            </a:r>
            <a:r>
              <a:rPr lang="nl-NL" sz="1800" dirty="0">
                <a:latin typeface="Century Gothic Pro" panose="020B0502020202020204" pitchFamily="34" charset="0"/>
              </a:rPr>
              <a:t>), </a:t>
            </a:r>
            <a:r>
              <a:rPr lang="ru-RU" sz="1800" dirty="0">
                <a:latin typeface="Century Gothic Pro" panose="020B0502020202020204" pitchFamily="34" charset="0"/>
              </a:rPr>
              <a:t>обеспечивает воспринимаемое потребителем длительное сохранение цвета волос и кондиционирование. </a:t>
            </a:r>
            <a:endParaRPr lang="nl-NL" sz="1800" dirty="0">
              <a:latin typeface="Century Gothic Pro" panose="020B0502020202020204" pitchFamily="34" charset="0"/>
            </a:endParaRPr>
          </a:p>
          <a:p>
            <a:pPr>
              <a:buClr>
                <a:srgbClr val="867F7C"/>
              </a:buClr>
            </a:pPr>
            <a:r>
              <a:rPr lang="ru-RU" sz="1800" dirty="0">
                <a:latin typeface="Century Gothic Pro" panose="020B0502020202020204" pitchFamily="34" charset="0"/>
              </a:rPr>
              <a:t>Поставляется в виде</a:t>
            </a:r>
            <a:r>
              <a:rPr lang="nl-NL" sz="1800" dirty="0">
                <a:latin typeface="Century Gothic Pro" panose="020B0502020202020204" pitchFamily="34" charset="0"/>
              </a:rPr>
              <a:t>: </a:t>
            </a:r>
            <a:r>
              <a:rPr lang="ru-RU" sz="1800" dirty="0">
                <a:latin typeface="Century Gothic Pro" panose="020B0502020202020204" pitchFamily="34" charset="0"/>
              </a:rPr>
              <a:t>легко-используемого 20% водного прозрачного раствора</a:t>
            </a:r>
            <a:endParaRPr lang="nl-NL" sz="1800" dirty="0">
              <a:latin typeface="Century Gothic Pro" panose="020B0502020202020204" pitchFamily="34" charset="0"/>
            </a:endParaRPr>
          </a:p>
          <a:p>
            <a:pPr>
              <a:buClr>
                <a:srgbClr val="867F7C"/>
              </a:buClr>
            </a:pPr>
            <a:r>
              <a:rPr lang="ru-RU" sz="1800" dirty="0">
                <a:latin typeface="Century Gothic Pro" panose="020B0502020202020204" pitchFamily="34" charset="0"/>
              </a:rPr>
              <a:t>Уровни применения</a:t>
            </a:r>
            <a:r>
              <a:rPr lang="nl-NL" sz="1800" dirty="0">
                <a:latin typeface="Century Gothic Pro" panose="020B0502020202020204" pitchFamily="34" charset="0"/>
              </a:rPr>
              <a:t>: 1-5% </a:t>
            </a:r>
            <a:r>
              <a:rPr lang="ru-RU" sz="1800" dirty="0">
                <a:latin typeface="Century Gothic Pro" panose="020B0502020202020204" pitchFamily="34" charset="0"/>
              </a:rPr>
              <a:t>как есть (как поставляется)</a:t>
            </a:r>
            <a:endParaRPr lang="nl-NL" sz="1800" dirty="0">
              <a:latin typeface="Century Gothic Pro" panose="020B0502020202020204" pitchFamily="34" charset="0"/>
            </a:endParaRP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16200000">
            <a:off x="5985335" y="2381567"/>
            <a:ext cx="4118998" cy="28384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017465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74171" y="102439"/>
            <a:ext cx="9753599" cy="1325563"/>
          </a:xfrm>
        </p:spPr>
        <p:txBody>
          <a:bodyPr>
            <a:normAutofit/>
          </a:bodyPr>
          <a:lstStyle/>
          <a:p>
            <a:r>
              <a:rPr lang="nl-NL" dirty="0">
                <a:solidFill>
                  <a:srgbClr val="4CCEDE"/>
                </a:solidFill>
              </a:rPr>
              <a:t>ChromoHance</a:t>
            </a:r>
            <a:r>
              <a:rPr lang="nl-NL" baseline="30000" dirty="0">
                <a:solidFill>
                  <a:srgbClr val="4CCEDE"/>
                </a:solidFill>
              </a:rPr>
              <a:t>™</a:t>
            </a:r>
            <a:r>
              <a:rPr lang="nl-NL" dirty="0">
                <a:solidFill>
                  <a:srgbClr val="4CCEDE"/>
                </a:solidFill>
              </a:rPr>
              <a:t> 113 polymer –</a:t>
            </a:r>
            <a:br>
              <a:rPr lang="nl-NL" dirty="0">
                <a:solidFill>
                  <a:srgbClr val="4CCEDE"/>
                </a:solidFill>
              </a:rPr>
            </a:br>
            <a:r>
              <a:rPr lang="ru-RU" sz="2700" dirty="0">
                <a:solidFill>
                  <a:srgbClr val="4CCEDE"/>
                </a:solidFill>
              </a:rPr>
              <a:t>работа в фокус-группе, информация о потребителях</a:t>
            </a:r>
            <a:endParaRPr lang="nl-NL" sz="2700" dirty="0">
              <a:solidFill>
                <a:srgbClr val="4CCEDE"/>
              </a:solidFill>
            </a:endParaRPr>
          </a:p>
        </p:txBody>
      </p:sp>
      <p:sp>
        <p:nvSpPr>
          <p:cNvPr id="3" name="Content Placeholder 2"/>
          <p:cNvSpPr>
            <a:spLocks noGrp="1"/>
          </p:cNvSpPr>
          <p:nvPr>
            <p:ph idx="1"/>
          </p:nvPr>
        </p:nvSpPr>
        <p:spPr/>
        <p:txBody>
          <a:bodyPr>
            <a:normAutofit fontScale="92500" lnSpcReduction="10000"/>
          </a:bodyPr>
          <a:lstStyle/>
          <a:p>
            <a:pPr marL="0" indent="0">
              <a:buNone/>
            </a:pPr>
            <a:r>
              <a:rPr lang="ru-RU" sz="1600" b="1" dirty="0">
                <a:solidFill>
                  <a:schemeClr val="accent3"/>
                </a:solidFill>
              </a:rPr>
              <a:t>Основной момент</a:t>
            </a:r>
            <a:r>
              <a:rPr lang="nl-NL" sz="1600" b="1" dirty="0">
                <a:solidFill>
                  <a:schemeClr val="accent3"/>
                </a:solidFill>
              </a:rPr>
              <a:t>–</a:t>
            </a:r>
            <a:r>
              <a:rPr lang="ru-RU" sz="1600" b="1" dirty="0">
                <a:solidFill>
                  <a:schemeClr val="accent3"/>
                </a:solidFill>
              </a:rPr>
              <a:t> кондиционер для использования в системах окрашивания волос на дому  - наилучшее применение</a:t>
            </a:r>
            <a:endParaRPr lang="nl-NL" sz="1600" dirty="0">
              <a:solidFill>
                <a:schemeClr val="accent3"/>
              </a:solidFill>
            </a:endParaRPr>
          </a:p>
          <a:p>
            <a:pPr marL="0" indent="0">
              <a:buNone/>
            </a:pPr>
            <a:endParaRPr lang="nl-NL" sz="1600" dirty="0"/>
          </a:p>
          <a:p>
            <a:pPr marL="0" indent="0">
              <a:buNone/>
            </a:pPr>
            <a:r>
              <a:rPr lang="ru-RU" sz="1600" dirty="0"/>
              <a:t>Основные показатели</a:t>
            </a:r>
            <a:r>
              <a:rPr lang="nl-NL" sz="1600" dirty="0"/>
              <a:t>:</a:t>
            </a:r>
          </a:p>
          <a:p>
            <a:r>
              <a:rPr lang="ru-RU" sz="1600" dirty="0"/>
              <a:t>Улучшенныый внешний вид и ощущения только что окрашенных волос- внешний вид как уокрашенных в салоне волос</a:t>
            </a:r>
            <a:endParaRPr lang="nl-NL" sz="1600" dirty="0"/>
          </a:p>
          <a:p>
            <a:r>
              <a:rPr lang="ru-RU" sz="1600" dirty="0"/>
              <a:t>Увлажнение</a:t>
            </a:r>
            <a:endParaRPr lang="nl-NL" sz="1600" dirty="0"/>
          </a:p>
          <a:p>
            <a:r>
              <a:rPr lang="ru-RU" sz="1600" dirty="0"/>
              <a:t>Улучшенный цвет, блеск, сияние волос, интенсивность, яркость и длительность сохранения окраски </a:t>
            </a:r>
            <a:endParaRPr lang="nl-NL" sz="1600" dirty="0"/>
          </a:p>
          <a:p>
            <a:r>
              <a:rPr lang="ru-RU" sz="1600" dirty="0"/>
              <a:t>Подходит для всех типов окрашивания </a:t>
            </a:r>
            <a:r>
              <a:rPr lang="nl-NL" sz="1600" dirty="0"/>
              <a:t>(</a:t>
            </a:r>
            <a:r>
              <a:rPr lang="ru-RU" sz="1600" dirty="0"/>
              <a:t>перманентные, полу-перманентные, ретуширование, прямые красители, интенсивные тона, обесцвечивание, оттеночные шампуни</a:t>
            </a:r>
            <a:r>
              <a:rPr lang="nl-NL" sz="1600" dirty="0"/>
              <a:t>)</a:t>
            </a:r>
          </a:p>
          <a:p>
            <a:r>
              <a:rPr lang="ru-RU" sz="1600" dirty="0"/>
              <a:t>Делает волосы послушными и облегчает последующую укладку волос</a:t>
            </a:r>
            <a:endParaRPr lang="nl-NL" sz="1600" dirty="0"/>
          </a:p>
          <a:p>
            <a:endParaRPr lang="nl-NL" sz="1600" dirty="0">
              <a:solidFill>
                <a:srgbClr val="867F7C"/>
              </a:solidFill>
            </a:endParaRPr>
          </a:p>
          <a:p>
            <a:pPr marL="0" indent="0">
              <a:buNone/>
            </a:pPr>
            <a:r>
              <a:rPr lang="ru-RU" sz="1600" b="1" dirty="0">
                <a:solidFill>
                  <a:schemeClr val="accent3"/>
                </a:solidFill>
              </a:rPr>
              <a:t>Основной момент</a:t>
            </a:r>
            <a:r>
              <a:rPr lang="nl-NL" sz="1600" b="1" dirty="0">
                <a:solidFill>
                  <a:schemeClr val="accent3"/>
                </a:solidFill>
              </a:rPr>
              <a:t>– </a:t>
            </a:r>
            <a:r>
              <a:rPr lang="ru-RU" sz="1600" b="1" dirty="0">
                <a:solidFill>
                  <a:schemeClr val="accent3"/>
                </a:solidFill>
              </a:rPr>
              <a:t>окрашивание волос (цикл окрашивания обычно повторяется через 4-6 недель)  - является началом уходовых процедур для большинства  женщин, который наичнается в подзнем подростковом возрасте и продолжается в восрасте </a:t>
            </a:r>
            <a:r>
              <a:rPr lang="nl-NL" sz="1600" b="1" dirty="0">
                <a:solidFill>
                  <a:schemeClr val="accent3"/>
                </a:solidFill>
              </a:rPr>
              <a:t>60+.</a:t>
            </a:r>
          </a:p>
        </p:txBody>
      </p:sp>
    </p:spTree>
    <p:extLst>
      <p:ext uri="{BB962C8B-B14F-4D97-AF65-F5344CB8AC3E}">
        <p14:creationId xmlns:p14="http://schemas.microsoft.com/office/powerpoint/2010/main" val="31099553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latin typeface="Century Gothic Pro" panose="020B0502020202020204" pitchFamily="34" charset="0"/>
              </a:rPr>
              <a:t>chromoHance</a:t>
            </a:r>
            <a:r>
              <a:rPr lang="en-US" dirty="0">
                <a:latin typeface="Century Gothic Pro" panose="020B0502020202020204" pitchFamily="34" charset="0"/>
              </a:rPr>
              <a:t>™</a:t>
            </a:r>
            <a:r>
              <a:rPr lang="en-US" baseline="30000" dirty="0">
                <a:latin typeface="Century Gothic Pro" panose="020B0502020202020204" pitchFamily="34" charset="0"/>
              </a:rPr>
              <a:t> </a:t>
            </a:r>
            <a:r>
              <a:rPr lang="en-US" dirty="0">
                <a:latin typeface="Century Gothic Pro" panose="020B0502020202020204" pitchFamily="34" charset="0"/>
              </a:rPr>
              <a:t>113 </a:t>
            </a:r>
            <a:r>
              <a:rPr lang="ru-RU" dirty="0">
                <a:latin typeface="Century Gothic Pro" panose="020B0502020202020204" pitchFamily="34" charset="0"/>
              </a:rPr>
              <a:t>полимер</a:t>
            </a:r>
            <a:r>
              <a:rPr lang="en-US" dirty="0">
                <a:latin typeface="Century Gothic Pro" panose="020B0502020202020204" pitchFamily="34" charset="0"/>
              </a:rPr>
              <a:t> –</a:t>
            </a:r>
            <a:br>
              <a:rPr lang="en-US" dirty="0">
                <a:latin typeface="Century Gothic Pro" panose="020B0502020202020204" pitchFamily="34" charset="0"/>
              </a:rPr>
            </a:br>
            <a:r>
              <a:rPr lang="ru-RU" dirty="0">
                <a:latin typeface="Century Gothic Pro" panose="020B0502020202020204" pitchFamily="34" charset="0"/>
              </a:rPr>
              <a:t>структура</a:t>
            </a:r>
            <a:endParaRPr lang="en-US" dirty="0">
              <a:latin typeface="Century Gothic Pro" panose="020B0502020202020204" pitchFamily="34" charset="0"/>
            </a:endParaRPr>
          </a:p>
        </p:txBody>
      </p:sp>
      <p:sp>
        <p:nvSpPr>
          <p:cNvPr id="4" name="Slide Number Placeholder 3"/>
          <p:cNvSpPr>
            <a:spLocks noGrp="1"/>
          </p:cNvSpPr>
          <p:nvPr>
            <p:ph type="sldNum" sz="quarter" idx="4294967295"/>
          </p:nvPr>
        </p:nvSpPr>
        <p:spPr>
          <a:xfrm>
            <a:off x="294372" y="6270090"/>
            <a:ext cx="1137611" cy="365125"/>
          </a:xfrm>
        </p:spPr>
        <p:txBody>
          <a:bodyPr/>
          <a:lstStyle/>
          <a:p>
            <a:fld id="{91393B01-7800-434A-B836-B3320A3476BB}" type="slidenum">
              <a:rPr lang="en-US" smtClean="0">
                <a:latin typeface="Century Gothic Pro" panose="020B0502020202020204" pitchFamily="34" charset="0"/>
              </a:rPr>
              <a:pPr/>
              <a:t>18</a:t>
            </a:fld>
            <a:endParaRPr lang="en-US">
              <a:latin typeface="Century Gothic Pro" panose="020B0502020202020204" pitchFamily="34" charset="0"/>
            </a:endParaRPr>
          </a:p>
        </p:txBody>
      </p:sp>
      <p:sp>
        <p:nvSpPr>
          <p:cNvPr id="5" name="TextBox 4"/>
          <p:cNvSpPr txBox="1"/>
          <p:nvPr/>
        </p:nvSpPr>
        <p:spPr>
          <a:xfrm>
            <a:off x="377965" y="2076874"/>
            <a:ext cx="3430637" cy="369332"/>
          </a:xfrm>
          <a:prstGeom prst="rect">
            <a:avLst/>
          </a:prstGeom>
          <a:solidFill>
            <a:schemeClr val="accent3"/>
          </a:solidFill>
        </p:spPr>
        <p:txBody>
          <a:bodyPr wrap="square" rtlCol="0">
            <a:spAutoFit/>
          </a:bodyPr>
          <a:lstStyle/>
          <a:p>
            <a:r>
              <a:rPr lang="ru-RU" b="1" dirty="0">
                <a:solidFill>
                  <a:schemeClr val="bg1"/>
                </a:solidFill>
                <a:latin typeface="Century Gothic Pro" panose="020B0502020202020204" pitchFamily="34" charset="0"/>
              </a:rPr>
              <a:t>Химическая структура</a:t>
            </a:r>
            <a:endParaRPr lang="nl-NL" b="1" dirty="0">
              <a:solidFill>
                <a:schemeClr val="bg1"/>
              </a:solidFill>
              <a:latin typeface="Century Gothic Pro" panose="020B0502020202020204" pitchFamily="34" charset="0"/>
            </a:endParaRPr>
          </a:p>
        </p:txBody>
      </p:sp>
      <p:sp>
        <p:nvSpPr>
          <p:cNvPr id="6" name="TextBox 5"/>
          <p:cNvSpPr txBox="1"/>
          <p:nvPr/>
        </p:nvSpPr>
        <p:spPr>
          <a:xfrm>
            <a:off x="294372" y="2694604"/>
            <a:ext cx="3934090" cy="338554"/>
          </a:xfrm>
          <a:prstGeom prst="rect">
            <a:avLst/>
          </a:prstGeom>
          <a:noFill/>
        </p:spPr>
        <p:txBody>
          <a:bodyPr wrap="none" rtlCol="0">
            <a:spAutoFit/>
          </a:bodyPr>
          <a:lstStyle/>
          <a:p>
            <a:r>
              <a:rPr lang="en-GB" sz="1600" b="1" u="sng" dirty="0">
                <a:solidFill>
                  <a:schemeClr val="tx1">
                    <a:lumMod val="50000"/>
                    <a:lumOff val="50000"/>
                  </a:schemeClr>
                </a:solidFill>
                <a:latin typeface="Century Gothic Pro" panose="020B0502020202020204" pitchFamily="34" charset="0"/>
              </a:rPr>
              <a:t>APTAC:AMPS:MAPLDMAC Copolymer</a:t>
            </a:r>
          </a:p>
        </p:txBody>
      </p:sp>
      <p:graphicFrame>
        <p:nvGraphicFramePr>
          <p:cNvPr id="7" name="Object 6"/>
          <p:cNvGraphicFramePr>
            <a:graphicFrameLocks noChangeAspect="1"/>
          </p:cNvGraphicFramePr>
          <p:nvPr>
            <p:extLst/>
          </p:nvPr>
        </p:nvGraphicFramePr>
        <p:xfrm>
          <a:off x="377966" y="3281556"/>
          <a:ext cx="2971800" cy="2219383"/>
        </p:xfrm>
        <a:graphic>
          <a:graphicData uri="http://schemas.openxmlformats.org/presentationml/2006/ole">
            <mc:AlternateContent xmlns:mc="http://schemas.openxmlformats.org/markup-compatibility/2006">
              <mc:Choice xmlns:v="urn:schemas-microsoft-com:vml" Requires="v">
                <p:oleObj spid="_x0000_s2100" name="CS ChemDraw Drawing" r:id="rId3" imgW="1769101" imgH="1439910" progId="">
                  <p:embed/>
                </p:oleObj>
              </mc:Choice>
              <mc:Fallback>
                <p:oleObj name="CS ChemDraw Drawing" r:id="rId3" imgW="1769101" imgH="1439910" progId="">
                  <p:embed/>
                  <p:pic>
                    <p:nvPicPr>
                      <p:cNvPr id="7" name="Object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966" y="3281556"/>
                        <a:ext cx="2971800" cy="2219383"/>
                      </a:xfrm>
                      <a:prstGeom prst="rect">
                        <a:avLst/>
                      </a:prstGeom>
                      <a:noFill/>
                      <a:extLst/>
                    </p:spPr>
                  </p:pic>
                </p:oleObj>
              </mc:Fallback>
            </mc:AlternateContent>
          </a:graphicData>
        </a:graphic>
      </p:graphicFrame>
      <p:cxnSp>
        <p:nvCxnSpPr>
          <p:cNvPr id="9" name="Straight Connector 8"/>
          <p:cNvCxnSpPr/>
          <p:nvPr/>
        </p:nvCxnSpPr>
        <p:spPr>
          <a:xfrm>
            <a:off x="4558342" y="2225689"/>
            <a:ext cx="0" cy="3291840"/>
          </a:xfrm>
          <a:prstGeom prst="line">
            <a:avLst/>
          </a:prstGeom>
          <a:ln/>
        </p:spPr>
        <p:style>
          <a:lnRef idx="1">
            <a:schemeClr val="accent3"/>
          </a:lnRef>
          <a:fillRef idx="0">
            <a:schemeClr val="accent3"/>
          </a:fillRef>
          <a:effectRef idx="0">
            <a:schemeClr val="accent3"/>
          </a:effectRef>
          <a:fontRef idx="minor">
            <a:schemeClr val="tx1"/>
          </a:fontRef>
        </p:style>
      </p:cxnSp>
      <p:graphicFrame>
        <p:nvGraphicFramePr>
          <p:cNvPr id="10" name="Table 9"/>
          <p:cNvGraphicFramePr>
            <a:graphicFrameLocks noGrp="1"/>
          </p:cNvGraphicFramePr>
          <p:nvPr>
            <p:extLst>
              <p:ext uri="{D42A27DB-BD31-4B8C-83A1-F6EECF244321}">
                <p14:modId xmlns:p14="http://schemas.microsoft.com/office/powerpoint/2010/main" val="1949731258"/>
              </p:ext>
            </p:extLst>
          </p:nvPr>
        </p:nvGraphicFramePr>
        <p:xfrm>
          <a:off x="4897661" y="2694604"/>
          <a:ext cx="4946176" cy="2834640"/>
        </p:xfrm>
        <a:graphic>
          <a:graphicData uri="http://schemas.openxmlformats.org/drawingml/2006/table">
            <a:tbl>
              <a:tblPr firstRow="1" bandRow="1">
                <a:tableStyleId>{8799B23B-EC83-4686-B30A-512413B5E67A}</a:tableStyleId>
              </a:tblPr>
              <a:tblGrid>
                <a:gridCol w="3380003">
                  <a:extLst>
                    <a:ext uri="{9D8B030D-6E8A-4147-A177-3AD203B41FA5}">
                      <a16:colId xmlns:a16="http://schemas.microsoft.com/office/drawing/2014/main" xmlns="" val="20000"/>
                    </a:ext>
                  </a:extLst>
                </a:gridCol>
                <a:gridCol w="1566173">
                  <a:extLst>
                    <a:ext uri="{9D8B030D-6E8A-4147-A177-3AD203B41FA5}">
                      <a16:colId xmlns:a16="http://schemas.microsoft.com/office/drawing/2014/main" xmlns="" val="20001"/>
                    </a:ext>
                  </a:extLst>
                </a:gridCol>
              </a:tblGrid>
              <a:tr h="259080">
                <a:tc>
                  <a:txBody>
                    <a:bodyPr/>
                    <a:lstStyle/>
                    <a:p>
                      <a:r>
                        <a:rPr lang="ru-RU" sz="1600" dirty="0">
                          <a:solidFill>
                            <a:schemeClr val="tx1">
                              <a:lumMod val="50000"/>
                              <a:lumOff val="50000"/>
                            </a:schemeClr>
                          </a:solidFill>
                          <a:latin typeface="Century Gothic" panose="020B0502020202020204" pitchFamily="34" charset="0"/>
                        </a:rPr>
                        <a:t>свойства</a:t>
                      </a:r>
                      <a:endParaRPr lang="nl-NL" sz="1600" dirty="0">
                        <a:solidFill>
                          <a:schemeClr val="tx1">
                            <a:lumMod val="50000"/>
                            <a:lumOff val="50000"/>
                          </a:schemeClr>
                        </a:solidFill>
                        <a:latin typeface="Century Gothic" panose="020B0502020202020204" pitchFamily="34" charset="0"/>
                      </a:endParaRPr>
                    </a:p>
                  </a:txBody>
                  <a:tcPr/>
                </a:tc>
                <a:tc>
                  <a:txBody>
                    <a:bodyPr/>
                    <a:lstStyle/>
                    <a:p>
                      <a:r>
                        <a:rPr lang="ru-RU" sz="1600" dirty="0">
                          <a:solidFill>
                            <a:schemeClr val="tx1">
                              <a:lumMod val="50000"/>
                              <a:lumOff val="50000"/>
                            </a:schemeClr>
                          </a:solidFill>
                          <a:latin typeface="Century Gothic" panose="020B0502020202020204" pitchFamily="34" charset="0"/>
                        </a:rPr>
                        <a:t>показатели</a:t>
                      </a:r>
                      <a:endParaRPr lang="nl-NL" sz="1600" dirty="0">
                        <a:solidFill>
                          <a:schemeClr val="tx1">
                            <a:lumMod val="50000"/>
                            <a:lumOff val="50000"/>
                          </a:schemeClr>
                        </a:solidFill>
                        <a:latin typeface="Century Gothic" panose="020B0502020202020204" pitchFamily="34" charset="0"/>
                      </a:endParaRPr>
                    </a:p>
                  </a:txBody>
                  <a:tcPr/>
                </a:tc>
                <a:extLst>
                  <a:ext uri="{0D108BD9-81ED-4DB2-BD59-A6C34878D82A}">
                    <a16:rowId xmlns:a16="http://schemas.microsoft.com/office/drawing/2014/main" xmlns="" val="10000"/>
                  </a:ext>
                </a:extLst>
              </a:tr>
              <a:tr h="222673">
                <a:tc>
                  <a:txBody>
                    <a:bodyPr/>
                    <a:lstStyle/>
                    <a:p>
                      <a:r>
                        <a:rPr lang="ru-RU" sz="1600" dirty="0">
                          <a:solidFill>
                            <a:schemeClr val="tx1">
                              <a:lumMod val="50000"/>
                              <a:lumOff val="50000"/>
                            </a:schemeClr>
                          </a:solidFill>
                          <a:latin typeface="Century Gothic" panose="020B0502020202020204" pitchFamily="34" charset="0"/>
                        </a:rPr>
                        <a:t>Внешний вид</a:t>
                      </a:r>
                      <a:endParaRPr lang="nl-NL" sz="1600" dirty="0">
                        <a:solidFill>
                          <a:schemeClr val="tx1">
                            <a:lumMod val="50000"/>
                            <a:lumOff val="50000"/>
                          </a:schemeClr>
                        </a:solidFill>
                        <a:latin typeface="Century Gothic" panose="020B0502020202020204" pitchFamily="34" charset="0"/>
                      </a:endParaRPr>
                    </a:p>
                  </a:txBody>
                  <a:tcPr/>
                </a:tc>
                <a:tc>
                  <a:txBody>
                    <a:bodyPr/>
                    <a:lstStyle/>
                    <a:p>
                      <a:r>
                        <a:rPr lang="ru-RU" sz="1600" dirty="0">
                          <a:solidFill>
                            <a:schemeClr val="tx1">
                              <a:lumMod val="50000"/>
                              <a:lumOff val="50000"/>
                            </a:schemeClr>
                          </a:solidFill>
                          <a:latin typeface="Century Gothic" panose="020B0502020202020204" pitchFamily="34" charset="0"/>
                        </a:rPr>
                        <a:t>Прозрачная жидкость</a:t>
                      </a:r>
                      <a:endParaRPr lang="nl-NL" sz="1600" dirty="0">
                        <a:solidFill>
                          <a:schemeClr val="tx1">
                            <a:lumMod val="50000"/>
                            <a:lumOff val="50000"/>
                          </a:schemeClr>
                        </a:solidFill>
                        <a:latin typeface="Century Gothic" panose="020B0502020202020204" pitchFamily="34" charset="0"/>
                      </a:endParaRPr>
                    </a:p>
                  </a:txBody>
                  <a:tcPr/>
                </a:tc>
                <a:extLst>
                  <a:ext uri="{0D108BD9-81ED-4DB2-BD59-A6C34878D82A}">
                    <a16:rowId xmlns:a16="http://schemas.microsoft.com/office/drawing/2014/main" xmlns="" val="10001"/>
                  </a:ext>
                </a:extLst>
              </a:tr>
              <a:tr h="222673">
                <a:tc>
                  <a:txBody>
                    <a:bodyPr/>
                    <a:lstStyle/>
                    <a:p>
                      <a:r>
                        <a:rPr lang="ru-RU" sz="1600" dirty="0">
                          <a:solidFill>
                            <a:schemeClr val="tx1">
                              <a:lumMod val="50000"/>
                              <a:lumOff val="50000"/>
                            </a:schemeClr>
                          </a:solidFill>
                          <a:latin typeface="Century Gothic" panose="020B0502020202020204" pitchFamily="34" charset="0"/>
                        </a:rPr>
                        <a:t>Запах </a:t>
                      </a:r>
                      <a:endParaRPr lang="nl-NL" sz="1600" dirty="0">
                        <a:solidFill>
                          <a:schemeClr val="tx1">
                            <a:lumMod val="50000"/>
                            <a:lumOff val="50000"/>
                          </a:schemeClr>
                        </a:solidFill>
                        <a:latin typeface="Century Gothic" panose="020B0502020202020204" pitchFamily="34" charset="0"/>
                      </a:endParaRPr>
                    </a:p>
                  </a:txBody>
                  <a:tcPr/>
                </a:tc>
                <a:tc>
                  <a:txBody>
                    <a:bodyPr/>
                    <a:lstStyle/>
                    <a:p>
                      <a:r>
                        <a:rPr lang="ru-RU" sz="1600" dirty="0">
                          <a:solidFill>
                            <a:schemeClr val="tx1">
                              <a:lumMod val="50000"/>
                              <a:lumOff val="50000"/>
                            </a:schemeClr>
                          </a:solidFill>
                          <a:latin typeface="Century Gothic" panose="020B0502020202020204" pitchFamily="34" charset="0"/>
                        </a:rPr>
                        <a:t>характерный</a:t>
                      </a:r>
                      <a:endParaRPr lang="nl-NL" sz="1600" dirty="0">
                        <a:solidFill>
                          <a:schemeClr val="tx1">
                            <a:lumMod val="50000"/>
                            <a:lumOff val="50000"/>
                          </a:schemeClr>
                        </a:solidFill>
                        <a:latin typeface="Century Gothic" panose="020B0502020202020204" pitchFamily="34" charset="0"/>
                      </a:endParaRPr>
                    </a:p>
                  </a:txBody>
                  <a:tcPr/>
                </a:tc>
                <a:extLst>
                  <a:ext uri="{0D108BD9-81ED-4DB2-BD59-A6C34878D82A}">
                    <a16:rowId xmlns:a16="http://schemas.microsoft.com/office/drawing/2014/main" xmlns="" val="10002"/>
                  </a:ext>
                </a:extLst>
              </a:tr>
              <a:tr h="222673">
                <a:tc>
                  <a:txBody>
                    <a:bodyPr/>
                    <a:lstStyle/>
                    <a:p>
                      <a:r>
                        <a:rPr lang="ru-RU" sz="1600" kern="1200" dirty="0">
                          <a:solidFill>
                            <a:schemeClr val="tx1">
                              <a:lumMod val="50000"/>
                              <a:lumOff val="50000"/>
                            </a:schemeClr>
                          </a:solidFill>
                          <a:latin typeface="Century Gothic" panose="020B0502020202020204" pitchFamily="34" charset="0"/>
                        </a:rPr>
                        <a:t>цветность</a:t>
                      </a:r>
                      <a:r>
                        <a:rPr lang="en-US" sz="1600" kern="1200" dirty="0">
                          <a:solidFill>
                            <a:schemeClr val="tx1">
                              <a:lumMod val="50000"/>
                              <a:lumOff val="50000"/>
                            </a:schemeClr>
                          </a:solidFill>
                          <a:latin typeface="Century Gothic" panose="020B0502020202020204" pitchFamily="34" charset="0"/>
                        </a:rPr>
                        <a:t>, APHA</a:t>
                      </a:r>
                      <a:endParaRPr lang="nl-NL" sz="1600" dirty="0">
                        <a:solidFill>
                          <a:schemeClr val="tx1">
                            <a:lumMod val="50000"/>
                            <a:lumOff val="50000"/>
                          </a:schemeClr>
                        </a:solidFill>
                        <a:latin typeface="Century Gothic" panose="020B0502020202020204" pitchFamily="34" charset="0"/>
                      </a:endParaRPr>
                    </a:p>
                  </a:txBody>
                  <a:tcPr/>
                </a:tc>
                <a:tc>
                  <a:txBody>
                    <a:bodyPr/>
                    <a:lstStyle/>
                    <a:p>
                      <a:r>
                        <a:rPr lang="nl-NL" sz="1600" dirty="0">
                          <a:solidFill>
                            <a:schemeClr val="tx1">
                              <a:lumMod val="50000"/>
                              <a:lumOff val="50000"/>
                            </a:schemeClr>
                          </a:solidFill>
                          <a:latin typeface="Century Gothic" panose="020B0502020202020204" pitchFamily="34" charset="0"/>
                        </a:rPr>
                        <a:t>&lt;300</a:t>
                      </a:r>
                    </a:p>
                  </a:txBody>
                  <a:tcPr/>
                </a:tc>
                <a:extLst>
                  <a:ext uri="{0D108BD9-81ED-4DB2-BD59-A6C34878D82A}">
                    <a16:rowId xmlns:a16="http://schemas.microsoft.com/office/drawing/2014/main" xmlns="" val="10003"/>
                  </a:ext>
                </a:extLst>
              </a:tr>
              <a:tr h="222673">
                <a:tc>
                  <a:txBody>
                    <a:bodyPr/>
                    <a:lstStyle/>
                    <a:p>
                      <a:r>
                        <a:rPr lang="ru-RU" sz="1600" kern="1200" dirty="0">
                          <a:solidFill>
                            <a:schemeClr val="tx1">
                              <a:lumMod val="50000"/>
                              <a:lumOff val="50000"/>
                            </a:schemeClr>
                          </a:solidFill>
                          <a:latin typeface="Century Gothic" panose="020B0502020202020204" pitchFamily="34" charset="0"/>
                        </a:rPr>
                        <a:t>Основной компонент</a:t>
                      </a:r>
                      <a:r>
                        <a:rPr lang="en-US" sz="1600" kern="1200" dirty="0">
                          <a:solidFill>
                            <a:schemeClr val="tx1">
                              <a:lumMod val="50000"/>
                              <a:lumOff val="50000"/>
                            </a:schemeClr>
                          </a:solidFill>
                          <a:latin typeface="Century Gothic" panose="020B0502020202020204" pitchFamily="34" charset="0"/>
                        </a:rPr>
                        <a:t>%</a:t>
                      </a:r>
                      <a:endParaRPr lang="nl-NL" sz="1600" dirty="0">
                        <a:solidFill>
                          <a:schemeClr val="tx1">
                            <a:lumMod val="50000"/>
                            <a:lumOff val="50000"/>
                          </a:schemeClr>
                        </a:solidFill>
                        <a:latin typeface="Century Gothic" panose="020B0502020202020204" pitchFamily="34" charset="0"/>
                      </a:endParaRPr>
                    </a:p>
                  </a:txBody>
                  <a:tcPr/>
                </a:tc>
                <a:tc>
                  <a:txBody>
                    <a:bodyPr/>
                    <a:lstStyle/>
                    <a:p>
                      <a:r>
                        <a:rPr lang="nl-NL" sz="1600" dirty="0">
                          <a:solidFill>
                            <a:schemeClr val="tx1">
                              <a:lumMod val="50000"/>
                              <a:lumOff val="50000"/>
                            </a:schemeClr>
                          </a:solidFill>
                          <a:latin typeface="Century Gothic" panose="020B0502020202020204" pitchFamily="34" charset="0"/>
                        </a:rPr>
                        <a:t>19-21</a:t>
                      </a:r>
                    </a:p>
                  </a:txBody>
                  <a:tcPr/>
                </a:tc>
                <a:extLst>
                  <a:ext uri="{0D108BD9-81ED-4DB2-BD59-A6C34878D82A}">
                    <a16:rowId xmlns:a16="http://schemas.microsoft.com/office/drawing/2014/main" xmlns="" val="10004"/>
                  </a:ext>
                </a:extLst>
              </a:tr>
              <a:tr h="222673">
                <a:tc>
                  <a:txBody>
                    <a:bodyPr/>
                    <a:lstStyle/>
                    <a:p>
                      <a:r>
                        <a:rPr lang="en-US" sz="1600" kern="1200" dirty="0">
                          <a:solidFill>
                            <a:schemeClr val="tx1">
                              <a:lumMod val="50000"/>
                              <a:lumOff val="50000"/>
                            </a:schemeClr>
                          </a:solidFill>
                          <a:latin typeface="Century Gothic" panose="020B0502020202020204" pitchFamily="34" charset="0"/>
                        </a:rPr>
                        <a:t>pH @ 25°C</a:t>
                      </a:r>
                      <a:endParaRPr lang="nl-NL" sz="1600" dirty="0">
                        <a:solidFill>
                          <a:schemeClr val="tx1">
                            <a:lumMod val="50000"/>
                            <a:lumOff val="50000"/>
                          </a:schemeClr>
                        </a:solidFill>
                        <a:latin typeface="Century Gothic" panose="020B0502020202020204" pitchFamily="34" charset="0"/>
                      </a:endParaRPr>
                    </a:p>
                  </a:txBody>
                  <a:tcPr/>
                </a:tc>
                <a:tc>
                  <a:txBody>
                    <a:bodyPr/>
                    <a:lstStyle/>
                    <a:p>
                      <a:r>
                        <a:rPr lang="nl-NL" sz="1600" dirty="0">
                          <a:solidFill>
                            <a:schemeClr val="tx1">
                              <a:lumMod val="50000"/>
                              <a:lumOff val="50000"/>
                            </a:schemeClr>
                          </a:solidFill>
                          <a:latin typeface="Century Gothic" panose="020B0502020202020204" pitchFamily="34" charset="0"/>
                        </a:rPr>
                        <a:t>3.5 -4.5</a:t>
                      </a:r>
                    </a:p>
                  </a:txBody>
                  <a:tcPr/>
                </a:tc>
                <a:extLst>
                  <a:ext uri="{0D108BD9-81ED-4DB2-BD59-A6C34878D82A}">
                    <a16:rowId xmlns:a16="http://schemas.microsoft.com/office/drawing/2014/main" xmlns="" val="10005"/>
                  </a:ext>
                </a:extLst>
              </a:tr>
              <a:tr h="222673">
                <a:tc>
                  <a:txBody>
                    <a:bodyPr/>
                    <a:lstStyle/>
                    <a:p>
                      <a:r>
                        <a:rPr lang="ru-RU" sz="1600" kern="1200" dirty="0">
                          <a:solidFill>
                            <a:schemeClr val="tx1">
                              <a:lumMod val="50000"/>
                              <a:lumOff val="50000"/>
                            </a:schemeClr>
                          </a:solidFill>
                          <a:latin typeface="Century Gothic" panose="020B0502020202020204" pitchFamily="34" charset="0"/>
                        </a:rPr>
                        <a:t>Вязкость, </a:t>
                      </a:r>
                      <a:r>
                        <a:rPr lang="en-US" sz="1600" kern="1200" dirty="0">
                          <a:solidFill>
                            <a:schemeClr val="tx1">
                              <a:lumMod val="50000"/>
                              <a:lumOff val="50000"/>
                            </a:schemeClr>
                          </a:solidFill>
                          <a:latin typeface="Century Gothic" panose="020B0502020202020204" pitchFamily="34" charset="0"/>
                        </a:rPr>
                        <a:t>Brookfield, cps (RVT,sp4,10 RPM @ 25°C)</a:t>
                      </a:r>
                      <a:endParaRPr lang="nl-NL" sz="1600" dirty="0">
                        <a:solidFill>
                          <a:schemeClr val="tx1">
                            <a:lumMod val="50000"/>
                            <a:lumOff val="50000"/>
                          </a:schemeClr>
                        </a:solidFill>
                        <a:latin typeface="Century Gothic" panose="020B0502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lumMod val="50000"/>
                              <a:lumOff val="50000"/>
                            </a:schemeClr>
                          </a:solidFill>
                          <a:latin typeface="Century Gothic" panose="020B0502020202020204" pitchFamily="34" charset="0"/>
                        </a:rPr>
                        <a:t>200 – 800 mPAS</a:t>
                      </a:r>
                    </a:p>
                  </a:txBody>
                  <a:tcPr/>
                </a:tc>
                <a:extLst>
                  <a:ext uri="{0D108BD9-81ED-4DB2-BD59-A6C34878D82A}">
                    <a16:rowId xmlns:a16="http://schemas.microsoft.com/office/drawing/2014/main" xmlns="" val="10006"/>
                  </a:ext>
                </a:extLst>
              </a:tr>
            </a:tbl>
          </a:graphicData>
        </a:graphic>
      </p:graphicFrame>
      <p:sp>
        <p:nvSpPr>
          <p:cNvPr id="11" name="TextBox 10"/>
          <p:cNvSpPr txBox="1"/>
          <p:nvPr/>
        </p:nvSpPr>
        <p:spPr>
          <a:xfrm>
            <a:off x="4897661" y="2106442"/>
            <a:ext cx="2526721" cy="369332"/>
          </a:xfrm>
          <a:prstGeom prst="rect">
            <a:avLst/>
          </a:prstGeom>
          <a:solidFill>
            <a:schemeClr val="accent3"/>
          </a:solidFill>
        </p:spPr>
        <p:txBody>
          <a:bodyPr wrap="square" rtlCol="0">
            <a:spAutoFit/>
          </a:bodyPr>
          <a:lstStyle/>
          <a:p>
            <a:r>
              <a:rPr lang="ru-RU" b="1" dirty="0">
                <a:solidFill>
                  <a:schemeClr val="bg1"/>
                </a:solidFill>
                <a:latin typeface="Century Gothic Pro" panose="020B0502020202020204" pitchFamily="34" charset="0"/>
              </a:rPr>
              <a:t>Типичные свойства</a:t>
            </a:r>
            <a:endParaRPr lang="nl-NL" b="1" dirty="0">
              <a:solidFill>
                <a:schemeClr val="bg1"/>
              </a:solidFill>
              <a:latin typeface="Century Gothic Pro" panose="020B0502020202020204" pitchFamily="34" charset="0"/>
            </a:endParaRPr>
          </a:p>
        </p:txBody>
      </p:sp>
      <p:sp>
        <p:nvSpPr>
          <p:cNvPr id="12" name="TextBox 11"/>
          <p:cNvSpPr txBox="1"/>
          <p:nvPr/>
        </p:nvSpPr>
        <p:spPr>
          <a:xfrm>
            <a:off x="457198" y="5673483"/>
            <a:ext cx="3351404" cy="338554"/>
          </a:xfrm>
          <a:prstGeom prst="rect">
            <a:avLst/>
          </a:prstGeom>
          <a:solidFill>
            <a:schemeClr val="accent3"/>
          </a:solidFill>
        </p:spPr>
        <p:txBody>
          <a:bodyPr wrap="square" rtlCol="0">
            <a:spAutoFit/>
          </a:bodyPr>
          <a:lstStyle/>
          <a:p>
            <a:r>
              <a:rPr lang="nl-NL" sz="1600" b="1" dirty="0">
                <a:solidFill>
                  <a:schemeClr val="bg1"/>
                </a:solidFill>
                <a:latin typeface="Century Gothic Pro" panose="020B0502020202020204" pitchFamily="34" charset="0"/>
              </a:rPr>
              <a:t>CAS Number: </a:t>
            </a:r>
            <a:r>
              <a:rPr lang="en-US" sz="1600" dirty="0">
                <a:solidFill>
                  <a:schemeClr val="bg1"/>
                </a:solidFill>
                <a:latin typeface="Century Gothic Pro" panose="020B0502020202020204" pitchFamily="34" charset="0"/>
              </a:rPr>
              <a:t>1801754-87-9</a:t>
            </a:r>
            <a:endParaRPr lang="nl-NL" sz="1600" b="1" dirty="0">
              <a:solidFill>
                <a:schemeClr val="bg1"/>
              </a:solidFill>
              <a:latin typeface="Century Gothic Pro" panose="020B0502020202020204" pitchFamily="34" charset="0"/>
            </a:endParaRPr>
          </a:p>
        </p:txBody>
      </p:sp>
    </p:spTree>
    <p:extLst>
      <p:ext uri="{BB962C8B-B14F-4D97-AF65-F5344CB8AC3E}">
        <p14:creationId xmlns:p14="http://schemas.microsoft.com/office/powerpoint/2010/main" val="16570996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noGrp="1"/>
          </p:cNvGraphicFramePr>
          <p:nvPr>
            <p:extLst>
              <p:ext uri="{D42A27DB-BD31-4B8C-83A1-F6EECF244321}">
                <p14:modId xmlns:p14="http://schemas.microsoft.com/office/powerpoint/2010/main" val="2675386803"/>
              </p:ext>
            </p:extLst>
          </p:nvPr>
        </p:nvGraphicFramePr>
        <p:xfrm>
          <a:off x="478264" y="1108359"/>
          <a:ext cx="8956677" cy="515389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Table 4"/>
          <p:cNvGraphicFramePr>
            <a:graphicFrameLocks noGrp="1"/>
          </p:cNvGraphicFramePr>
          <p:nvPr>
            <p:extLst/>
          </p:nvPr>
        </p:nvGraphicFramePr>
        <p:xfrm>
          <a:off x="4807528" y="3691617"/>
          <a:ext cx="4400954" cy="993492"/>
        </p:xfrm>
        <a:graphic>
          <a:graphicData uri="http://schemas.openxmlformats.org/drawingml/2006/table">
            <a:tbl>
              <a:tblPr firstRow="1">
                <a:tableStyleId>{5C22544A-7EE6-4342-B048-85BDC9FD1C3A}</a:tableStyleId>
              </a:tblPr>
              <a:tblGrid>
                <a:gridCol w="1602483">
                  <a:extLst>
                    <a:ext uri="{9D8B030D-6E8A-4147-A177-3AD203B41FA5}">
                      <a16:colId xmlns:a16="http://schemas.microsoft.com/office/drawing/2014/main" xmlns="" val="20000"/>
                    </a:ext>
                  </a:extLst>
                </a:gridCol>
                <a:gridCol w="965178">
                  <a:extLst>
                    <a:ext uri="{9D8B030D-6E8A-4147-A177-3AD203B41FA5}">
                      <a16:colId xmlns:a16="http://schemas.microsoft.com/office/drawing/2014/main" xmlns="" val="20001"/>
                    </a:ext>
                  </a:extLst>
                </a:gridCol>
                <a:gridCol w="1833293">
                  <a:extLst>
                    <a:ext uri="{9D8B030D-6E8A-4147-A177-3AD203B41FA5}">
                      <a16:colId xmlns:a16="http://schemas.microsoft.com/office/drawing/2014/main" xmlns="" val="20002"/>
                    </a:ext>
                  </a:extLst>
                </a:gridCol>
              </a:tblGrid>
              <a:tr h="364731">
                <a:tc>
                  <a:txBody>
                    <a:bodyPr/>
                    <a:lstStyle/>
                    <a:p>
                      <a:pPr algn="ctr" fontAlgn="b"/>
                      <a:r>
                        <a:rPr lang="en-US" sz="1200" u="none" strike="noStrike" dirty="0">
                          <a:effectLst/>
                        </a:rPr>
                        <a:t># of wash/rinse </a:t>
                      </a:r>
                      <a:r>
                        <a:rPr lang="en-US" sz="1200" u="none" strike="noStrike" baseline="0" dirty="0">
                          <a:effectLst/>
                        </a:rPr>
                        <a:t>cycles</a:t>
                      </a:r>
                      <a:endParaRPr lang="en-US" sz="1200" b="1" i="0" u="none" strike="noStrike" dirty="0">
                        <a:solidFill>
                          <a:schemeClr val="bg1"/>
                        </a:solidFill>
                        <a:effectLst/>
                        <a:latin typeface="Calibri"/>
                      </a:endParaRPr>
                    </a:p>
                  </a:txBody>
                  <a:tcPr marL="9525" marR="9525" marT="9525" marB="0" anchor="ctr">
                    <a:solidFill>
                      <a:schemeClr val="accent3"/>
                    </a:solidFill>
                  </a:tcPr>
                </a:tc>
                <a:tc>
                  <a:txBody>
                    <a:bodyPr/>
                    <a:lstStyle/>
                    <a:p>
                      <a:pPr algn="ctr" fontAlgn="t"/>
                      <a:r>
                        <a:rPr lang="en-US" sz="1200" u="none" strike="noStrike" dirty="0">
                          <a:effectLst/>
                        </a:rPr>
                        <a:t>Control</a:t>
                      </a:r>
                    </a:p>
                  </a:txBody>
                  <a:tcPr marL="9525" marR="9525" marT="9525" marB="0" anchor="ctr">
                    <a:solidFill>
                      <a:schemeClr val="accent3"/>
                    </a:solidFill>
                  </a:tcPr>
                </a:tc>
                <a:tc>
                  <a:txBody>
                    <a:bodyPr/>
                    <a:lstStyle/>
                    <a:p>
                      <a:pPr algn="ctr" fontAlgn="t"/>
                      <a:r>
                        <a:rPr lang="en-US" sz="1200" u="none" strike="noStrike" dirty="0">
                          <a:effectLst/>
                        </a:rPr>
                        <a:t>With ChromoHance</a:t>
                      </a:r>
                      <a:r>
                        <a:rPr lang="en-US" sz="1200" u="none" strike="noStrike" baseline="0" dirty="0">
                          <a:effectLst/>
                        </a:rPr>
                        <a:t> 113 polymer</a:t>
                      </a:r>
                      <a:endParaRPr lang="en-US" sz="1200" b="1" i="0" u="none" strike="noStrike" dirty="0">
                        <a:solidFill>
                          <a:schemeClr val="bg1"/>
                        </a:solidFill>
                        <a:effectLst/>
                        <a:latin typeface="Calibri"/>
                      </a:endParaRPr>
                    </a:p>
                  </a:txBody>
                  <a:tcPr marL="9525" marR="9525" marT="9525" marB="0" anchor="ctr">
                    <a:solidFill>
                      <a:schemeClr val="accent3"/>
                    </a:solidFill>
                  </a:tcPr>
                </a:tc>
                <a:extLst>
                  <a:ext uri="{0D108BD9-81ED-4DB2-BD59-A6C34878D82A}">
                    <a16:rowId xmlns:a16="http://schemas.microsoft.com/office/drawing/2014/main" xmlns="" val="10000"/>
                  </a:ext>
                </a:extLst>
              </a:tr>
              <a:tr h="206069">
                <a:tc>
                  <a:txBody>
                    <a:bodyPr/>
                    <a:lstStyle/>
                    <a:p>
                      <a:pPr algn="ctr" fontAlgn="b"/>
                      <a:r>
                        <a:rPr lang="en-US" sz="1200" u="none" strike="noStrike" dirty="0">
                          <a:effectLst/>
                        </a:rPr>
                        <a:t>1x</a:t>
                      </a:r>
                      <a:endParaRPr lang="en-US" sz="1200" b="0" i="0" u="none" strike="noStrike" dirty="0">
                        <a:solidFill>
                          <a:srgbClr val="000000"/>
                        </a:solidFill>
                        <a:effectLst/>
                        <a:latin typeface="Calibri"/>
                      </a:endParaRPr>
                    </a:p>
                  </a:txBody>
                  <a:tcPr marL="9525" marR="9525" marT="9525" marB="0" anchor="ctr">
                    <a:solidFill>
                      <a:schemeClr val="bg1">
                        <a:lumMod val="95000"/>
                      </a:schemeClr>
                    </a:solidFill>
                  </a:tcPr>
                </a:tc>
                <a:tc>
                  <a:txBody>
                    <a:bodyPr/>
                    <a:lstStyle/>
                    <a:p>
                      <a:pPr algn="ctr" fontAlgn="t"/>
                      <a:r>
                        <a:rPr lang="en-US" sz="1200" u="none" strike="noStrike" dirty="0">
                          <a:effectLst/>
                        </a:rPr>
                        <a:t>9.62</a:t>
                      </a:r>
                      <a:endParaRPr lang="en-US" sz="1200" b="0" i="0" u="none" strike="noStrike" dirty="0">
                        <a:solidFill>
                          <a:srgbClr val="000000"/>
                        </a:solidFill>
                        <a:effectLst/>
                        <a:latin typeface="Calibri"/>
                      </a:endParaRPr>
                    </a:p>
                  </a:txBody>
                  <a:tcPr marL="9525" marR="9525" marT="9525" marB="0" anchor="ctr">
                    <a:solidFill>
                      <a:schemeClr val="bg1">
                        <a:lumMod val="95000"/>
                      </a:schemeClr>
                    </a:solidFill>
                  </a:tcPr>
                </a:tc>
                <a:tc>
                  <a:txBody>
                    <a:bodyPr/>
                    <a:lstStyle/>
                    <a:p>
                      <a:pPr algn="ctr" fontAlgn="b"/>
                      <a:r>
                        <a:rPr lang="en-US" sz="1200" u="none" strike="noStrike" dirty="0">
                          <a:effectLst/>
                        </a:rPr>
                        <a:t>5.52</a:t>
                      </a:r>
                      <a:endParaRPr lang="en-US" sz="1200" b="0" i="0" u="none" strike="noStrike" dirty="0">
                        <a:solidFill>
                          <a:srgbClr val="000000"/>
                        </a:solidFill>
                        <a:effectLst/>
                        <a:latin typeface="Calibri"/>
                      </a:endParaRPr>
                    </a:p>
                  </a:txBody>
                  <a:tcPr marL="9525" marR="9525" marT="9525" marB="0" anchor="ctr">
                    <a:solidFill>
                      <a:schemeClr val="bg1">
                        <a:lumMod val="95000"/>
                      </a:schemeClr>
                    </a:solidFill>
                  </a:tcPr>
                </a:tc>
                <a:extLst>
                  <a:ext uri="{0D108BD9-81ED-4DB2-BD59-A6C34878D82A}">
                    <a16:rowId xmlns:a16="http://schemas.microsoft.com/office/drawing/2014/main" xmlns="" val="10001"/>
                  </a:ext>
                </a:extLst>
              </a:tr>
              <a:tr h="206069">
                <a:tc>
                  <a:txBody>
                    <a:bodyPr/>
                    <a:lstStyle/>
                    <a:p>
                      <a:pPr algn="ctr" fontAlgn="b"/>
                      <a:r>
                        <a:rPr lang="en-US" sz="1200" u="none" strike="noStrike" dirty="0">
                          <a:effectLst/>
                        </a:rPr>
                        <a:t>5x</a:t>
                      </a:r>
                      <a:endParaRPr lang="en-US" sz="1200" b="0" i="0" u="none" strike="noStrike" dirty="0">
                        <a:solidFill>
                          <a:srgbClr val="000000"/>
                        </a:solidFill>
                        <a:effectLst/>
                        <a:latin typeface="Calibri"/>
                      </a:endParaRPr>
                    </a:p>
                  </a:txBody>
                  <a:tcPr marL="9525" marR="9525" marT="9525" marB="0" anchor="ctr">
                    <a:solidFill>
                      <a:schemeClr val="bg1">
                        <a:lumMod val="95000"/>
                      </a:schemeClr>
                    </a:solidFill>
                  </a:tcPr>
                </a:tc>
                <a:tc>
                  <a:txBody>
                    <a:bodyPr/>
                    <a:lstStyle/>
                    <a:p>
                      <a:pPr algn="ctr" fontAlgn="t"/>
                      <a:r>
                        <a:rPr lang="en-US" sz="1200" u="none" strike="noStrike" dirty="0">
                          <a:effectLst/>
                        </a:rPr>
                        <a:t>16.75</a:t>
                      </a:r>
                      <a:endParaRPr lang="en-US" sz="1200" b="0" i="0" u="none" strike="noStrike" dirty="0">
                        <a:solidFill>
                          <a:srgbClr val="000000"/>
                        </a:solidFill>
                        <a:effectLst/>
                        <a:latin typeface="Calibri"/>
                      </a:endParaRPr>
                    </a:p>
                  </a:txBody>
                  <a:tcPr marL="9525" marR="9525" marT="9525" marB="0" anchor="ctr">
                    <a:solidFill>
                      <a:schemeClr val="bg1">
                        <a:lumMod val="95000"/>
                      </a:schemeClr>
                    </a:solidFill>
                  </a:tcPr>
                </a:tc>
                <a:tc>
                  <a:txBody>
                    <a:bodyPr/>
                    <a:lstStyle/>
                    <a:p>
                      <a:pPr algn="ctr" fontAlgn="b"/>
                      <a:r>
                        <a:rPr lang="en-US" sz="1200" u="none" strike="noStrike" dirty="0">
                          <a:effectLst/>
                        </a:rPr>
                        <a:t>13.08</a:t>
                      </a:r>
                      <a:endParaRPr lang="en-US" sz="1200" b="0" i="0" u="none" strike="noStrike" dirty="0">
                        <a:solidFill>
                          <a:srgbClr val="000000"/>
                        </a:solidFill>
                        <a:effectLst/>
                        <a:latin typeface="Calibri"/>
                      </a:endParaRPr>
                    </a:p>
                  </a:txBody>
                  <a:tcPr marL="9525" marR="9525" marT="9525" marB="0" anchor="ctr">
                    <a:solidFill>
                      <a:schemeClr val="bg1">
                        <a:lumMod val="95000"/>
                      </a:schemeClr>
                    </a:solidFill>
                  </a:tcPr>
                </a:tc>
                <a:extLst>
                  <a:ext uri="{0D108BD9-81ED-4DB2-BD59-A6C34878D82A}">
                    <a16:rowId xmlns:a16="http://schemas.microsoft.com/office/drawing/2014/main" xmlns="" val="10002"/>
                  </a:ext>
                </a:extLst>
              </a:tr>
              <a:tr h="206069">
                <a:tc>
                  <a:txBody>
                    <a:bodyPr/>
                    <a:lstStyle/>
                    <a:p>
                      <a:pPr algn="ctr" fontAlgn="b"/>
                      <a:r>
                        <a:rPr lang="en-US" sz="1200" u="none" strike="noStrike" dirty="0">
                          <a:effectLst/>
                        </a:rPr>
                        <a:t>10x</a:t>
                      </a:r>
                      <a:endParaRPr lang="en-US" sz="1200" b="0" i="0" u="none" strike="noStrike" dirty="0">
                        <a:solidFill>
                          <a:srgbClr val="000000"/>
                        </a:solidFill>
                        <a:effectLst/>
                        <a:latin typeface="Calibri"/>
                      </a:endParaRPr>
                    </a:p>
                  </a:txBody>
                  <a:tcPr marL="9525" marR="9525" marT="9525" marB="0" anchor="ctr">
                    <a:solidFill>
                      <a:schemeClr val="bg1">
                        <a:lumMod val="95000"/>
                      </a:schemeClr>
                    </a:solidFill>
                  </a:tcPr>
                </a:tc>
                <a:tc>
                  <a:txBody>
                    <a:bodyPr/>
                    <a:lstStyle/>
                    <a:p>
                      <a:pPr algn="ctr" fontAlgn="t"/>
                      <a:r>
                        <a:rPr lang="en-US" sz="1200" u="none" strike="noStrike" dirty="0">
                          <a:effectLst/>
                        </a:rPr>
                        <a:t>19.10</a:t>
                      </a:r>
                      <a:endParaRPr lang="en-US" sz="1200" b="0" i="0" u="none" strike="noStrike" dirty="0">
                        <a:solidFill>
                          <a:srgbClr val="000000"/>
                        </a:solidFill>
                        <a:effectLst/>
                        <a:latin typeface="Calibri"/>
                      </a:endParaRPr>
                    </a:p>
                  </a:txBody>
                  <a:tcPr marL="9525" marR="9525" marT="9525" marB="0" anchor="ctr">
                    <a:solidFill>
                      <a:schemeClr val="bg1">
                        <a:lumMod val="95000"/>
                      </a:schemeClr>
                    </a:solidFill>
                  </a:tcPr>
                </a:tc>
                <a:tc>
                  <a:txBody>
                    <a:bodyPr/>
                    <a:lstStyle/>
                    <a:p>
                      <a:pPr algn="ctr" fontAlgn="b"/>
                      <a:r>
                        <a:rPr lang="en-US" sz="1200" u="none" strike="noStrike" dirty="0">
                          <a:effectLst/>
                        </a:rPr>
                        <a:t>15.31</a:t>
                      </a:r>
                      <a:endParaRPr lang="en-US" sz="1200" b="0" i="0" u="none" strike="noStrike" dirty="0">
                        <a:solidFill>
                          <a:srgbClr val="000000"/>
                        </a:solidFill>
                        <a:effectLst/>
                        <a:latin typeface="Calibri"/>
                      </a:endParaRPr>
                    </a:p>
                  </a:txBody>
                  <a:tcPr marL="9525" marR="9525" marT="9525" marB="0" anchor="ctr">
                    <a:solidFill>
                      <a:schemeClr val="bg1">
                        <a:lumMod val="95000"/>
                      </a:schemeClr>
                    </a:solidFill>
                  </a:tcPr>
                </a:tc>
                <a:extLst>
                  <a:ext uri="{0D108BD9-81ED-4DB2-BD59-A6C34878D82A}">
                    <a16:rowId xmlns:a16="http://schemas.microsoft.com/office/drawing/2014/main" xmlns="" val="10003"/>
                  </a:ext>
                </a:extLst>
              </a:tr>
            </a:tbl>
          </a:graphicData>
        </a:graphic>
      </p:graphicFrame>
      <p:sp>
        <p:nvSpPr>
          <p:cNvPr id="6" name="Down Arrow 5"/>
          <p:cNvSpPr/>
          <p:nvPr/>
        </p:nvSpPr>
        <p:spPr>
          <a:xfrm>
            <a:off x="5153588" y="2298033"/>
            <a:ext cx="412085" cy="851500"/>
          </a:xfrm>
          <a:prstGeom prst="downArrow">
            <a:avLst/>
          </a:prstGeom>
          <a:solidFill>
            <a:schemeClr val="bg1">
              <a:lumMod val="85000"/>
            </a:schemeClr>
          </a:solidFill>
          <a:ln>
            <a:noFill/>
          </a:ln>
          <a:scene3d>
            <a:camera prst="orthographicFront"/>
            <a:lightRig rig="threePt" dir="t"/>
          </a:scene3d>
          <a:sp3d>
            <a:bevelT/>
            <a:bevelB/>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latin typeface="Century Gothic Pro" panose="020B0502020202020204" pitchFamily="34" charset="0"/>
            </a:endParaRPr>
          </a:p>
        </p:txBody>
      </p:sp>
      <p:sp>
        <p:nvSpPr>
          <p:cNvPr id="7" name="Down Arrow 6"/>
          <p:cNvSpPr/>
          <p:nvPr/>
        </p:nvSpPr>
        <p:spPr>
          <a:xfrm>
            <a:off x="9005985" y="1852634"/>
            <a:ext cx="412085" cy="842440"/>
          </a:xfrm>
          <a:prstGeom prst="downArrow">
            <a:avLst/>
          </a:prstGeom>
          <a:solidFill>
            <a:schemeClr val="bg1">
              <a:lumMod val="85000"/>
            </a:schemeClr>
          </a:solidFill>
          <a:ln>
            <a:noFill/>
          </a:ln>
          <a:scene3d>
            <a:camera prst="orthographicFront"/>
            <a:lightRig rig="threePt" dir="t"/>
          </a:scene3d>
          <a:sp3d>
            <a:bevelT/>
            <a:bevelB/>
          </a:sp3d>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latin typeface="Century Gothic Pro" panose="020B0502020202020204" pitchFamily="34" charset="0"/>
            </a:endParaRPr>
          </a:p>
        </p:txBody>
      </p:sp>
      <p:pic>
        <p:nvPicPr>
          <p:cNvPr id="8" name="Picture 7"/>
          <p:cNvPicPr>
            <a:picLocks noChangeAspect="1"/>
          </p:cNvPicPr>
          <p:nvPr/>
        </p:nvPicPr>
        <p:blipFill>
          <a:blip r:embed="rId3"/>
          <a:stretch>
            <a:fillRect/>
          </a:stretch>
        </p:blipFill>
        <p:spPr>
          <a:xfrm>
            <a:off x="5735994" y="4803149"/>
            <a:ext cx="3241750" cy="1138386"/>
          </a:xfrm>
          <a:prstGeom prst="rect">
            <a:avLst/>
          </a:prstGeom>
        </p:spPr>
      </p:pic>
      <p:sp>
        <p:nvSpPr>
          <p:cNvPr id="9" name="Rectangle 8"/>
          <p:cNvSpPr/>
          <p:nvPr/>
        </p:nvSpPr>
        <p:spPr bwMode="auto">
          <a:xfrm>
            <a:off x="4177359" y="4998272"/>
            <a:ext cx="1489360" cy="475410"/>
          </a:xfrm>
          <a:prstGeom prst="rect">
            <a:avLst/>
          </a:prstGeom>
          <a:solidFill>
            <a:schemeClr val="bg1">
              <a:lumMod val="85000"/>
            </a:schemeClr>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ru-RU" sz="1200" dirty="0">
                <a:latin typeface="Century Gothic Pro" panose="020B0502020202020204" pitchFamily="34" charset="0"/>
                <a:ea typeface="ヒラギノ角ゴ Pro W3" pitchFamily="48" charset="-128"/>
                <a:cs typeface="Arial" charset="0"/>
              </a:rPr>
              <a:t>после</a:t>
            </a:r>
            <a:r>
              <a:rPr lang="en-US" sz="1200" dirty="0">
                <a:latin typeface="Century Gothic Pro" panose="020B0502020202020204" pitchFamily="34" charset="0"/>
                <a:ea typeface="ヒラギノ角ゴ Pro W3" pitchFamily="48" charset="-128"/>
                <a:cs typeface="Arial" charset="0"/>
              </a:rPr>
              <a:t> 10x </a:t>
            </a:r>
            <a:r>
              <a:rPr lang="ru-RU" sz="1200" dirty="0">
                <a:latin typeface="Century Gothic Pro" panose="020B0502020202020204" pitchFamily="34" charset="0"/>
                <a:ea typeface="ヒラギノ角ゴ Pro W3" pitchFamily="48" charset="-128"/>
                <a:cs typeface="Arial" charset="0"/>
              </a:rPr>
              <a:t>циклов мытья</a:t>
            </a:r>
            <a:endParaRPr lang="en-US" sz="1200" dirty="0">
              <a:latin typeface="Century Gothic Pro" panose="020B0502020202020204" pitchFamily="34" charset="0"/>
              <a:ea typeface="ヒラギノ角ゴ Pro W3" pitchFamily="48" charset="-128"/>
              <a:cs typeface="Arial" charset="0"/>
            </a:endParaRPr>
          </a:p>
        </p:txBody>
      </p:sp>
      <p:sp>
        <p:nvSpPr>
          <p:cNvPr id="3" name="Title 2"/>
          <p:cNvSpPr>
            <a:spLocks noGrp="1"/>
          </p:cNvSpPr>
          <p:nvPr>
            <p:ph type="title"/>
          </p:nvPr>
        </p:nvSpPr>
        <p:spPr/>
        <p:txBody>
          <a:bodyPr>
            <a:normAutofit/>
          </a:bodyPr>
          <a:lstStyle/>
          <a:p>
            <a:r>
              <a:rPr lang="en-US" dirty="0">
                <a:latin typeface="Century Gothic Pro" panose="020B0502020202020204" pitchFamily="34" charset="0"/>
              </a:rPr>
              <a:t>ChromoHance™ 113 </a:t>
            </a:r>
            <a:r>
              <a:rPr lang="ru-RU" dirty="0">
                <a:latin typeface="Century Gothic Pro" panose="020B0502020202020204" pitchFamily="34" charset="0"/>
              </a:rPr>
              <a:t>полимер</a:t>
            </a:r>
            <a:r>
              <a:rPr lang="en-US" dirty="0">
                <a:latin typeface="Century Gothic Pro" panose="020B0502020202020204" pitchFamily="34" charset="0"/>
              </a:rPr>
              <a:t> -</a:t>
            </a:r>
            <a:br>
              <a:rPr lang="en-US" dirty="0">
                <a:latin typeface="Century Gothic Pro" panose="020B0502020202020204" pitchFamily="34" charset="0"/>
              </a:rPr>
            </a:br>
            <a:r>
              <a:rPr lang="ru-RU" sz="2900" dirty="0">
                <a:latin typeface="Century Gothic Pro" panose="020B0502020202020204" pitchFamily="34" charset="0"/>
              </a:rPr>
              <a:t>эффективность</a:t>
            </a:r>
            <a:r>
              <a:rPr lang="en-US" sz="2900" dirty="0">
                <a:latin typeface="Century Gothic Pro" panose="020B0502020202020204" pitchFamily="34" charset="0"/>
              </a:rPr>
              <a:t>: </a:t>
            </a:r>
            <a:r>
              <a:rPr lang="ru-RU" sz="2900" dirty="0">
                <a:latin typeface="Century Gothic Pro" panose="020B0502020202020204" pitchFamily="34" charset="0"/>
              </a:rPr>
              <a:t>защита цвета волос от вымывания</a:t>
            </a:r>
            <a:endParaRPr lang="en-US" sz="2900" dirty="0">
              <a:latin typeface="Century Gothic Pro" panose="020B0502020202020204" pitchFamily="34" charset="0"/>
            </a:endParaRPr>
          </a:p>
        </p:txBody>
      </p:sp>
    </p:spTree>
    <p:extLst>
      <p:ext uri="{BB962C8B-B14F-4D97-AF65-F5344CB8AC3E}">
        <p14:creationId xmlns:p14="http://schemas.microsoft.com/office/powerpoint/2010/main" val="15564174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62" name="AutoShape 2"/>
          <p:cNvSpPr>
            <a:spLocks noChangeArrowheads="1"/>
          </p:cNvSpPr>
          <p:nvPr/>
        </p:nvSpPr>
        <p:spPr bwMode="auto">
          <a:xfrm>
            <a:off x="2252201" y="1145519"/>
            <a:ext cx="1859949" cy="4549775"/>
          </a:xfrm>
          <a:prstGeom prst="roundRect">
            <a:avLst>
              <a:gd name="adj" fmla="val 16667"/>
            </a:avLst>
          </a:prstGeom>
          <a:solidFill>
            <a:schemeClr val="accent5"/>
          </a:solidFill>
          <a:ln w="9525">
            <a:solidFill>
              <a:schemeClr val="folHlink"/>
            </a:solidFill>
            <a:round/>
            <a:headEnd/>
            <a:tailEnd/>
          </a:ln>
          <a:effectLst/>
        </p:spPr>
        <p:txBody>
          <a:bodyPr wrap="none"/>
          <a:lstStyle/>
          <a:p>
            <a:pPr algn="ctr"/>
            <a:r>
              <a:rPr lang="ru-RU" sz="2000" b="1" dirty="0">
                <a:solidFill>
                  <a:schemeClr val="bg1"/>
                </a:solidFill>
                <a:latin typeface="Century Gothic Pro" panose="020B0502020202020204" pitchFamily="34" charset="0"/>
              </a:rPr>
              <a:t>Устойчивая</a:t>
            </a:r>
          </a:p>
          <a:p>
            <a:pPr algn="ctr"/>
            <a:r>
              <a:rPr lang="ru-RU" sz="2000" b="1" dirty="0">
                <a:solidFill>
                  <a:schemeClr val="bg1"/>
                </a:solidFill>
                <a:latin typeface="Century Gothic Pro" panose="020B0502020202020204" pitchFamily="34" charset="0"/>
              </a:rPr>
              <a:t> окружающая</a:t>
            </a:r>
          </a:p>
          <a:p>
            <a:pPr algn="ctr"/>
            <a:r>
              <a:rPr lang="ru-RU" sz="2000" b="1" dirty="0">
                <a:solidFill>
                  <a:schemeClr val="bg1"/>
                </a:solidFill>
                <a:latin typeface="Century Gothic Pro" panose="020B0502020202020204" pitchFamily="34" charset="0"/>
              </a:rPr>
              <a:t> среда</a:t>
            </a:r>
            <a:endParaRPr lang="en-US" sz="2000" b="1" dirty="0">
              <a:solidFill>
                <a:schemeClr val="bg1"/>
              </a:solidFill>
              <a:latin typeface="Century Gothic Pro" panose="020B0502020202020204" pitchFamily="34" charset="0"/>
            </a:endParaRPr>
          </a:p>
        </p:txBody>
      </p:sp>
      <p:sp>
        <p:nvSpPr>
          <p:cNvPr id="808963" name="AutoShape 3"/>
          <p:cNvSpPr>
            <a:spLocks noChangeArrowheads="1"/>
          </p:cNvSpPr>
          <p:nvPr/>
        </p:nvSpPr>
        <p:spPr bwMode="auto">
          <a:xfrm>
            <a:off x="2271706" y="2248822"/>
            <a:ext cx="1775429" cy="3377922"/>
          </a:xfrm>
          <a:prstGeom prst="roundRect">
            <a:avLst>
              <a:gd name="adj" fmla="val 12560"/>
            </a:avLst>
          </a:prstGeom>
          <a:solidFill>
            <a:srgbClr val="EAEAEA"/>
          </a:solidFill>
          <a:ln w="9525">
            <a:solidFill>
              <a:schemeClr val="accent1"/>
            </a:solidFill>
            <a:round/>
            <a:headEnd/>
            <a:tailEnd/>
          </a:ln>
          <a:effectLst/>
        </p:spPr>
        <p:txBody>
          <a:bodyPr wrap="none" anchor="t" anchorCtr="0"/>
          <a:lstStyle/>
          <a:p>
            <a:pPr marL="92075" indent="-92075" algn="ctr">
              <a:spcBef>
                <a:spcPct val="70000"/>
              </a:spcBef>
            </a:pPr>
            <a:r>
              <a:rPr lang="ru-RU" b="1" dirty="0">
                <a:latin typeface="Century Gothic Pro" panose="020B0502020202020204" pitchFamily="34" charset="0"/>
              </a:rPr>
              <a:t>Тренд</a:t>
            </a:r>
            <a:endParaRPr lang="de-DE" b="1" dirty="0">
              <a:latin typeface="Century Gothic Pro" panose="020B0502020202020204" pitchFamily="34" charset="0"/>
            </a:endParaRPr>
          </a:p>
          <a:p>
            <a:pPr>
              <a:buFont typeface="Arial" pitchFamily="34" charset="0"/>
              <a:buChar char="•"/>
              <a:defRPr/>
            </a:pPr>
            <a:endParaRPr lang="en-US" sz="1200" b="1" dirty="0">
              <a:latin typeface="Century Gothic Pro" panose="020B0502020202020204" pitchFamily="34" charset="0"/>
              <a:ea typeface="ヒラギノ角ゴ Pro W3" pitchFamily="-112" charset="-128"/>
              <a:cs typeface="ヒラギノ角ゴ Pro W3" pitchFamily="-112" charset="-128"/>
            </a:endParaRPr>
          </a:p>
          <a:p>
            <a:pPr>
              <a:buFont typeface="Arial" pitchFamily="34" charset="0"/>
              <a:buChar char="•"/>
              <a:defRPr/>
            </a:pPr>
            <a:r>
              <a:rPr lang="en-US" sz="1200" b="1" dirty="0">
                <a:latin typeface="Century Gothic Pro" panose="020B0502020202020204" pitchFamily="34" charset="0"/>
                <a:ea typeface="ヒラギノ角ゴ Pro W3" pitchFamily="-112" charset="-128"/>
                <a:cs typeface="ヒラギノ角ゴ Pro W3" pitchFamily="-112" charset="-128"/>
              </a:rPr>
              <a:t>Anti-pollution</a:t>
            </a:r>
          </a:p>
          <a:p>
            <a:pPr>
              <a:buFont typeface="Arial" pitchFamily="34" charset="0"/>
              <a:buChar char="•"/>
              <a:defRPr/>
            </a:pPr>
            <a:endParaRPr lang="en-US" sz="1200" b="1" dirty="0">
              <a:latin typeface="Century Gothic Pro" panose="020B0502020202020204" pitchFamily="34" charset="0"/>
              <a:ea typeface="ヒラギノ角ゴ Pro W3" pitchFamily="-112" charset="-128"/>
              <a:cs typeface="ヒラギノ角ゴ Pro W3" pitchFamily="-112" charset="-128"/>
            </a:endParaRPr>
          </a:p>
          <a:p>
            <a:pPr>
              <a:buFont typeface="Arial" pitchFamily="34" charset="0"/>
              <a:buChar char="•"/>
              <a:defRPr/>
            </a:pPr>
            <a:r>
              <a:rPr lang="ru-RU" sz="1200" b="1" dirty="0">
                <a:latin typeface="Century Gothic Pro" panose="020B0502020202020204" pitchFamily="34" charset="0"/>
                <a:ea typeface="ヒラギノ角ゴ Pro W3" pitchFamily="-112" charset="-128"/>
                <a:cs typeface="ヒラギノ角ゴ Pro W3" pitchFamily="-112" charset="-128"/>
              </a:rPr>
              <a:t>Натуральность </a:t>
            </a:r>
          </a:p>
          <a:p>
            <a:pPr>
              <a:defRPr/>
            </a:pPr>
            <a:r>
              <a:rPr lang="ru-RU" sz="1200" b="1" dirty="0">
                <a:latin typeface="Century Gothic Pro" panose="020B0502020202020204" pitchFamily="34" charset="0"/>
                <a:ea typeface="ヒラギノ角ゴ Pro W3" pitchFamily="-112" charset="-128"/>
                <a:cs typeface="ヒラギノ角ゴ Pro W3" pitchFamily="-112" charset="-128"/>
              </a:rPr>
              <a:t>и безопасность</a:t>
            </a:r>
            <a:endParaRPr lang="en-US" sz="1200" b="1" dirty="0">
              <a:latin typeface="Century Gothic Pro" panose="020B0502020202020204" pitchFamily="34" charset="0"/>
              <a:ea typeface="ヒラギノ角ゴ Pro W3" pitchFamily="-112" charset="-128"/>
              <a:cs typeface="ヒラギノ角ゴ Pro W3" pitchFamily="-112" charset="-128"/>
            </a:endParaRPr>
          </a:p>
          <a:p>
            <a:pPr>
              <a:defRPr/>
            </a:pPr>
            <a:endParaRPr lang="en-US" sz="1200" b="1" dirty="0">
              <a:latin typeface="Century Gothic Pro" panose="020B0502020202020204" pitchFamily="34" charset="0"/>
              <a:ea typeface="ヒラギノ角ゴ Pro W3" pitchFamily="-112" charset="-128"/>
              <a:cs typeface="ヒラギノ角ゴ Pro W3" pitchFamily="-112" charset="-128"/>
            </a:endParaRPr>
          </a:p>
          <a:p>
            <a:pPr>
              <a:buFont typeface="Arial" pitchFamily="34" charset="0"/>
              <a:buChar char="•"/>
              <a:defRPr/>
            </a:pPr>
            <a:r>
              <a:rPr lang="ru-RU" sz="1200" b="1" dirty="0">
                <a:latin typeface="Century Gothic Pro" panose="020B0502020202020204" pitchFamily="34" charset="0"/>
                <a:ea typeface="ヒラギノ角ゴ Pro W3" pitchFamily="-112" charset="-128"/>
                <a:cs typeface="ヒラギノ角ゴ Pro W3" pitchFamily="-112" charset="-128"/>
              </a:rPr>
              <a:t>Устойчивое развитие</a:t>
            </a:r>
            <a:endParaRPr lang="en-US" sz="1200" b="1" dirty="0">
              <a:latin typeface="Century Gothic Pro" panose="020B0502020202020204" pitchFamily="34" charset="0"/>
              <a:ea typeface="ヒラギノ角ゴ Pro W3" pitchFamily="-112" charset="-128"/>
              <a:cs typeface="ヒラギノ角ゴ Pro W3" pitchFamily="-112" charset="-128"/>
            </a:endParaRPr>
          </a:p>
          <a:p>
            <a:pPr>
              <a:buFont typeface="Arial" pitchFamily="34" charset="0"/>
              <a:buChar char="•"/>
              <a:defRPr/>
            </a:pPr>
            <a:endParaRPr lang="en-US" sz="1200" b="1" u="sng" dirty="0">
              <a:solidFill>
                <a:schemeClr val="accent5"/>
              </a:solidFill>
              <a:latin typeface="Century Gothic Pro" panose="020B0502020202020204" pitchFamily="34" charset="0"/>
              <a:ea typeface="ヒラギノ角ゴ Pro W3" pitchFamily="-112" charset="-128"/>
              <a:cs typeface="ヒラギノ角ゴ Pro W3" pitchFamily="-112" charset="-128"/>
            </a:endParaRPr>
          </a:p>
          <a:p>
            <a:pPr>
              <a:buFont typeface="Arial" pitchFamily="34" charset="0"/>
              <a:buChar char="•"/>
              <a:defRPr/>
            </a:pPr>
            <a:r>
              <a:rPr lang="ru-RU" sz="1200" b="1" dirty="0">
                <a:latin typeface="Century Gothic Pro" panose="020B0502020202020204" pitchFamily="34" charset="0"/>
              </a:rPr>
              <a:t>Естесственная и </a:t>
            </a:r>
          </a:p>
          <a:p>
            <a:pPr>
              <a:defRPr/>
            </a:pPr>
            <a:r>
              <a:rPr lang="ru-RU" sz="1200" b="1" dirty="0">
                <a:latin typeface="Century Gothic Pro" panose="020B0502020202020204" pitchFamily="34" charset="0"/>
              </a:rPr>
              <a:t>быстрая сушка волос</a:t>
            </a:r>
            <a:endParaRPr lang="de-DE" sz="1200" b="1" dirty="0">
              <a:latin typeface="Century Gothic Pro" panose="020B0502020202020204" pitchFamily="34" charset="0"/>
            </a:endParaRPr>
          </a:p>
          <a:p>
            <a:pPr marL="92075" indent="-92075" algn="ctr">
              <a:spcBef>
                <a:spcPct val="70000"/>
              </a:spcBef>
              <a:buFontTx/>
              <a:buChar char="•"/>
            </a:pPr>
            <a:endParaRPr lang="de-DE" sz="1200" b="1" dirty="0">
              <a:latin typeface="Century Gothic Pro" panose="020B0502020202020204" pitchFamily="34" charset="0"/>
            </a:endParaRPr>
          </a:p>
        </p:txBody>
      </p:sp>
      <p:sp>
        <p:nvSpPr>
          <p:cNvPr id="808965" name="AutoShape 5"/>
          <p:cNvSpPr>
            <a:spLocks noChangeArrowheads="1"/>
          </p:cNvSpPr>
          <p:nvPr/>
        </p:nvSpPr>
        <p:spPr bwMode="auto">
          <a:xfrm>
            <a:off x="5947061" y="1169989"/>
            <a:ext cx="1877636" cy="4551832"/>
          </a:xfrm>
          <a:prstGeom prst="roundRect">
            <a:avLst>
              <a:gd name="adj" fmla="val 16667"/>
            </a:avLst>
          </a:prstGeom>
          <a:solidFill>
            <a:schemeClr val="accent3"/>
          </a:solidFill>
          <a:ln w="9525">
            <a:solidFill>
              <a:schemeClr val="folHlink"/>
            </a:solidFill>
            <a:round/>
            <a:headEnd/>
            <a:tailEnd/>
          </a:ln>
          <a:effectLst/>
        </p:spPr>
        <p:txBody>
          <a:bodyPr wrap="none"/>
          <a:lstStyle/>
          <a:p>
            <a:pPr algn="ctr"/>
            <a:r>
              <a:rPr lang="ru-RU" sz="2000" b="1" dirty="0">
                <a:solidFill>
                  <a:schemeClr val="bg1"/>
                </a:solidFill>
                <a:latin typeface="Century Gothic Pro" panose="020B0502020202020204" pitchFamily="34" charset="0"/>
              </a:rPr>
              <a:t>Привязка к </a:t>
            </a:r>
          </a:p>
          <a:p>
            <a:pPr algn="ctr"/>
            <a:r>
              <a:rPr lang="ru-RU" sz="2000" b="1" dirty="0">
                <a:solidFill>
                  <a:schemeClr val="bg1"/>
                </a:solidFill>
                <a:latin typeface="Century Gothic Pro" panose="020B0502020202020204" pitchFamily="34" charset="0"/>
              </a:rPr>
              <a:t>индиви-</a:t>
            </a:r>
          </a:p>
          <a:p>
            <a:pPr algn="ctr"/>
            <a:r>
              <a:rPr lang="ru-RU" sz="2000" b="1" dirty="0">
                <a:solidFill>
                  <a:schemeClr val="bg1"/>
                </a:solidFill>
                <a:latin typeface="Century Gothic Pro" panose="020B0502020202020204" pitchFamily="34" charset="0"/>
              </a:rPr>
              <a:t>дуализму</a:t>
            </a:r>
            <a:endParaRPr lang="en-US" sz="2000" b="1" dirty="0">
              <a:solidFill>
                <a:schemeClr val="bg1"/>
              </a:solidFill>
              <a:latin typeface="Century Gothic Pro" panose="020B0502020202020204" pitchFamily="34" charset="0"/>
            </a:endParaRPr>
          </a:p>
        </p:txBody>
      </p:sp>
      <p:sp>
        <p:nvSpPr>
          <p:cNvPr id="808966" name="AutoShape 6"/>
          <p:cNvSpPr>
            <a:spLocks noChangeArrowheads="1"/>
          </p:cNvSpPr>
          <p:nvPr/>
        </p:nvSpPr>
        <p:spPr bwMode="auto">
          <a:xfrm>
            <a:off x="6047464" y="2281028"/>
            <a:ext cx="1783750" cy="3387447"/>
          </a:xfrm>
          <a:prstGeom prst="roundRect">
            <a:avLst>
              <a:gd name="adj" fmla="val 12560"/>
            </a:avLst>
          </a:prstGeom>
          <a:solidFill>
            <a:srgbClr val="EAEAEA"/>
          </a:solidFill>
          <a:ln w="9525">
            <a:solidFill>
              <a:schemeClr val="accent1"/>
            </a:solidFill>
            <a:round/>
            <a:headEnd/>
            <a:tailEnd/>
          </a:ln>
          <a:effectLst/>
        </p:spPr>
        <p:txBody>
          <a:bodyPr wrap="none" anchor="t" anchorCtr="0"/>
          <a:lstStyle/>
          <a:p>
            <a:pPr marL="92075" indent="-92075" algn="ctr">
              <a:spcBef>
                <a:spcPct val="70000"/>
              </a:spcBef>
            </a:pPr>
            <a:r>
              <a:rPr lang="ru-RU" b="1" dirty="0">
                <a:latin typeface="Century Gothic Pro" panose="020B0502020202020204" pitchFamily="34" charset="0"/>
              </a:rPr>
              <a:t>Тренд</a:t>
            </a:r>
            <a:endParaRPr lang="en-US" b="1" dirty="0">
              <a:latin typeface="Century Gothic Pro" panose="020B0502020202020204" pitchFamily="34" charset="0"/>
            </a:endParaRPr>
          </a:p>
          <a:p>
            <a:pPr marL="92075" indent="-92075">
              <a:spcBef>
                <a:spcPct val="70000"/>
              </a:spcBef>
              <a:buFontTx/>
              <a:buChar char="•"/>
            </a:pPr>
            <a:r>
              <a:rPr lang="ru-RU" sz="1200" b="1" dirty="0">
                <a:latin typeface="Century Gothic Pro" panose="020B0502020202020204" pitchFamily="34" charset="0"/>
              </a:rPr>
              <a:t>Удобство </a:t>
            </a:r>
            <a:endParaRPr lang="en-US" sz="1200" b="1" dirty="0">
              <a:latin typeface="Century Gothic Pro" panose="020B0502020202020204" pitchFamily="34" charset="0"/>
            </a:endParaRPr>
          </a:p>
          <a:p>
            <a:pPr marL="92075" indent="-92075">
              <a:spcBef>
                <a:spcPct val="70000"/>
              </a:spcBef>
              <a:buFontTx/>
              <a:buChar char="•"/>
            </a:pPr>
            <a:r>
              <a:rPr lang="ru-RU" sz="1200" b="1" dirty="0">
                <a:latin typeface="Century Gothic Pro" panose="020B0502020202020204" pitchFamily="34" charset="0"/>
              </a:rPr>
              <a:t>Мульти-</a:t>
            </a:r>
          </a:p>
          <a:p>
            <a:pPr>
              <a:spcBef>
                <a:spcPct val="70000"/>
              </a:spcBef>
            </a:pPr>
            <a:r>
              <a:rPr lang="ru-RU" sz="1200" b="1" dirty="0">
                <a:latin typeface="Century Gothic Pro" panose="020B0502020202020204" pitchFamily="34" charset="0"/>
              </a:rPr>
              <a:t>функциональность</a:t>
            </a:r>
          </a:p>
          <a:p>
            <a:pPr marL="92075" indent="-92075">
              <a:spcBef>
                <a:spcPct val="70000"/>
              </a:spcBef>
              <a:buFontTx/>
              <a:buChar char="•"/>
            </a:pPr>
            <a:r>
              <a:rPr lang="ru-RU" sz="1200" b="1" dirty="0">
                <a:latin typeface="Century Gothic Pro" panose="020B0502020202020204" pitchFamily="34" charset="0"/>
              </a:rPr>
              <a:t>Быстродействие</a:t>
            </a:r>
            <a:endParaRPr lang="en-US" sz="1200" b="1" dirty="0">
              <a:latin typeface="Century Gothic Pro" panose="020B0502020202020204" pitchFamily="34" charset="0"/>
            </a:endParaRPr>
          </a:p>
          <a:p>
            <a:pPr marL="92075" indent="-92075">
              <a:spcBef>
                <a:spcPct val="70000"/>
              </a:spcBef>
              <a:buFontTx/>
              <a:buChar char="•"/>
            </a:pPr>
            <a:r>
              <a:rPr lang="ru-RU" sz="1200" b="1" dirty="0">
                <a:latin typeface="Century Gothic Pro" panose="020B0502020202020204" pitchFamily="34" charset="0"/>
              </a:rPr>
              <a:t>Индивидуальные</a:t>
            </a:r>
          </a:p>
          <a:p>
            <a:pPr>
              <a:spcBef>
                <a:spcPct val="70000"/>
              </a:spcBef>
            </a:pPr>
            <a:r>
              <a:rPr lang="ru-RU" sz="1200" b="1" dirty="0">
                <a:latin typeface="Century Gothic Pro" panose="020B0502020202020204" pitchFamily="34" charset="0"/>
              </a:rPr>
              <a:t> предложения</a:t>
            </a:r>
            <a:endParaRPr lang="en-US" sz="1200" b="1" dirty="0">
              <a:latin typeface="Century Gothic Pro" panose="020B0502020202020204" pitchFamily="34" charset="0"/>
            </a:endParaRPr>
          </a:p>
          <a:p>
            <a:pPr marL="92075" indent="-92075">
              <a:spcBef>
                <a:spcPct val="70000"/>
              </a:spcBef>
              <a:buFontTx/>
              <a:buChar char="•"/>
            </a:pPr>
            <a:r>
              <a:rPr lang="ru-RU" sz="1200" b="1" dirty="0">
                <a:latin typeface="Century Gothic Pro" panose="020B0502020202020204" pitchFamily="34" charset="0"/>
              </a:rPr>
              <a:t>Уход для мужчин</a:t>
            </a:r>
            <a:endParaRPr lang="en-US" sz="1200" b="1" dirty="0">
              <a:latin typeface="Century Gothic Pro" panose="020B0502020202020204" pitchFamily="34" charset="0"/>
            </a:endParaRPr>
          </a:p>
          <a:p>
            <a:pPr marL="92075" indent="-92075">
              <a:spcBef>
                <a:spcPct val="70000"/>
              </a:spcBef>
              <a:buFontTx/>
              <a:buChar char="•"/>
            </a:pPr>
            <a:r>
              <a:rPr lang="ru-RU" sz="1200" b="1" dirty="0">
                <a:latin typeface="Century Gothic Pro" panose="020B0502020202020204" pitchFamily="34" charset="0"/>
              </a:rPr>
              <a:t>Он-лайн торговля</a:t>
            </a:r>
            <a:endParaRPr lang="en-US" sz="1200" b="1" dirty="0">
              <a:latin typeface="Century Gothic Pro" panose="020B0502020202020204" pitchFamily="34" charset="0"/>
            </a:endParaRPr>
          </a:p>
          <a:p>
            <a:pPr marL="92075" indent="-92075" algn="ctr">
              <a:spcBef>
                <a:spcPct val="70000"/>
              </a:spcBef>
            </a:pPr>
            <a:endParaRPr lang="en-US" sz="1200" b="1" dirty="0">
              <a:latin typeface="Century Gothic Pro" panose="020B0502020202020204" pitchFamily="34" charset="0"/>
            </a:endParaRPr>
          </a:p>
          <a:p>
            <a:pPr marL="92075" indent="-92075" algn="ctr">
              <a:spcBef>
                <a:spcPct val="70000"/>
              </a:spcBef>
            </a:pPr>
            <a:r>
              <a:rPr lang="en-US" sz="1200" b="1" dirty="0">
                <a:latin typeface="Century Gothic Pro" panose="020B0502020202020204" pitchFamily="34" charset="0"/>
              </a:rPr>
              <a:t> </a:t>
            </a:r>
          </a:p>
        </p:txBody>
      </p:sp>
      <p:sp>
        <p:nvSpPr>
          <p:cNvPr id="808967" name="AutoShape 7"/>
          <p:cNvSpPr>
            <a:spLocks noChangeArrowheads="1"/>
          </p:cNvSpPr>
          <p:nvPr/>
        </p:nvSpPr>
        <p:spPr bwMode="auto">
          <a:xfrm>
            <a:off x="228321" y="1138697"/>
            <a:ext cx="2017070" cy="4549776"/>
          </a:xfrm>
          <a:prstGeom prst="roundRect">
            <a:avLst>
              <a:gd name="adj" fmla="val 16667"/>
            </a:avLst>
          </a:prstGeom>
          <a:solidFill>
            <a:schemeClr val="accent5"/>
          </a:solidFill>
          <a:ln w="9525">
            <a:solidFill>
              <a:schemeClr val="folHlink"/>
            </a:solidFill>
            <a:round/>
            <a:headEnd/>
            <a:tailEnd/>
          </a:ln>
          <a:effectLst/>
        </p:spPr>
        <p:txBody>
          <a:bodyPr wrap="none"/>
          <a:lstStyle/>
          <a:p>
            <a:pPr algn="ctr"/>
            <a:r>
              <a:rPr lang="ru-RU" sz="2000" b="1" dirty="0">
                <a:solidFill>
                  <a:schemeClr val="bg1"/>
                </a:solidFill>
                <a:latin typeface="Century Gothic Pro" panose="020B0502020202020204" pitchFamily="34" charset="0"/>
              </a:rPr>
              <a:t>Стареющий </a:t>
            </a:r>
          </a:p>
          <a:p>
            <a:pPr algn="ctr"/>
            <a:r>
              <a:rPr lang="ru-RU" sz="2000" b="1" dirty="0">
                <a:solidFill>
                  <a:schemeClr val="bg1"/>
                </a:solidFill>
                <a:latin typeface="Century Gothic Pro" panose="020B0502020202020204" pitchFamily="34" charset="0"/>
              </a:rPr>
              <a:t>мир</a:t>
            </a:r>
            <a:endParaRPr lang="en-US" sz="2000" b="1" dirty="0">
              <a:solidFill>
                <a:schemeClr val="bg1"/>
              </a:solidFill>
              <a:latin typeface="Century Gothic Pro" panose="020B0502020202020204" pitchFamily="34" charset="0"/>
            </a:endParaRPr>
          </a:p>
        </p:txBody>
      </p:sp>
      <p:sp>
        <p:nvSpPr>
          <p:cNvPr id="808968" name="AutoShape 8"/>
          <p:cNvSpPr>
            <a:spLocks noChangeArrowheads="1"/>
          </p:cNvSpPr>
          <p:nvPr/>
        </p:nvSpPr>
        <p:spPr bwMode="auto">
          <a:xfrm>
            <a:off x="235131" y="2248821"/>
            <a:ext cx="1954173" cy="3473000"/>
          </a:xfrm>
          <a:prstGeom prst="roundRect">
            <a:avLst>
              <a:gd name="adj" fmla="val 12560"/>
            </a:avLst>
          </a:prstGeom>
          <a:solidFill>
            <a:srgbClr val="EAEAEA"/>
          </a:solidFill>
          <a:ln w="9525">
            <a:solidFill>
              <a:schemeClr val="accent1"/>
            </a:solidFill>
            <a:round/>
            <a:headEnd/>
            <a:tailEnd/>
          </a:ln>
          <a:effectLst/>
        </p:spPr>
        <p:txBody>
          <a:bodyPr wrap="none" anchor="t" anchorCtr="0"/>
          <a:lstStyle/>
          <a:p>
            <a:pPr marL="92075" indent="-92075" algn="ctr">
              <a:spcBef>
                <a:spcPct val="70000"/>
              </a:spcBef>
            </a:pPr>
            <a:r>
              <a:rPr lang="ru-RU" b="1" dirty="0">
                <a:latin typeface="Century Gothic Pro" panose="020B0502020202020204" pitchFamily="34" charset="0"/>
              </a:rPr>
              <a:t>Тренд</a:t>
            </a:r>
            <a:endParaRPr lang="en-US" b="1" dirty="0">
              <a:latin typeface="Century Gothic Pro" panose="020B0502020202020204" pitchFamily="34" charset="0"/>
            </a:endParaRPr>
          </a:p>
          <a:p>
            <a:pPr marL="92075" indent="-92075">
              <a:spcBef>
                <a:spcPct val="70000"/>
              </a:spcBef>
              <a:buFontTx/>
              <a:buChar char="•"/>
            </a:pPr>
            <a:r>
              <a:rPr lang="ru-RU" sz="1200" b="1" dirty="0">
                <a:latin typeface="Century Gothic Pro" panose="020B0502020202020204" pitchFamily="34" charset="0"/>
              </a:rPr>
              <a:t>Поврежденные волосы</a:t>
            </a:r>
            <a:endParaRPr lang="en-US" sz="1200" b="1" dirty="0">
              <a:latin typeface="Century Gothic Pro" panose="020B0502020202020204" pitchFamily="34" charset="0"/>
            </a:endParaRPr>
          </a:p>
          <a:p>
            <a:pPr marL="92075" indent="-92075">
              <a:spcBef>
                <a:spcPct val="70000"/>
              </a:spcBef>
              <a:buFontTx/>
              <a:buChar char="•"/>
            </a:pPr>
            <a:r>
              <a:rPr lang="ru-RU" sz="1200" b="1" dirty="0">
                <a:latin typeface="Century Gothic Pro" panose="020B0502020202020204" pitchFamily="34" charset="0"/>
              </a:rPr>
              <a:t>Окрашенные волосы</a:t>
            </a:r>
            <a:endParaRPr lang="en-US" sz="1200" b="1" dirty="0">
              <a:latin typeface="Century Gothic Pro" panose="020B0502020202020204" pitchFamily="34" charset="0"/>
            </a:endParaRPr>
          </a:p>
          <a:p>
            <a:pPr marL="92075" indent="-92075">
              <a:spcBef>
                <a:spcPct val="70000"/>
              </a:spcBef>
              <a:buFontTx/>
              <a:buChar char="•"/>
            </a:pPr>
            <a:r>
              <a:rPr lang="ru-RU" sz="1200" b="1" dirty="0">
                <a:latin typeface="Century Gothic Pro" panose="020B0502020202020204" pitchFamily="34" charset="0"/>
              </a:rPr>
              <a:t>Укрепление волос</a:t>
            </a:r>
            <a:endParaRPr lang="en-US" sz="1200" b="1" dirty="0">
              <a:latin typeface="Century Gothic Pro" panose="020B0502020202020204" pitchFamily="34" charset="0"/>
            </a:endParaRPr>
          </a:p>
          <a:p>
            <a:pPr marL="92075" indent="-92075">
              <a:spcBef>
                <a:spcPct val="70000"/>
              </a:spcBef>
              <a:buFontTx/>
              <a:buChar char="•"/>
            </a:pPr>
            <a:r>
              <a:rPr lang="ru-RU" sz="1200" b="1" dirty="0">
                <a:latin typeface="Century Gothic Pro" panose="020B0502020202020204" pitchFamily="34" charset="0"/>
              </a:rPr>
              <a:t>Потеря и истончение </a:t>
            </a:r>
          </a:p>
          <a:p>
            <a:pPr>
              <a:spcBef>
                <a:spcPct val="70000"/>
              </a:spcBef>
            </a:pPr>
            <a:r>
              <a:rPr lang="ru-RU" sz="1200" b="1" dirty="0">
                <a:latin typeface="Century Gothic Pro" panose="020B0502020202020204" pitchFamily="34" charset="0"/>
              </a:rPr>
              <a:t>волос</a:t>
            </a:r>
            <a:endParaRPr lang="en-US" sz="1200" b="1" dirty="0">
              <a:latin typeface="Century Gothic Pro" panose="020B0502020202020204" pitchFamily="34" charset="0"/>
            </a:endParaRPr>
          </a:p>
          <a:p>
            <a:pPr marL="92075" indent="-92075">
              <a:spcBef>
                <a:spcPct val="70000"/>
              </a:spcBef>
              <a:buFont typeface="Arial" pitchFamily="34" charset="0"/>
              <a:buChar char="•"/>
            </a:pPr>
            <a:r>
              <a:rPr lang="ru-RU" sz="1200" b="1" dirty="0">
                <a:latin typeface="Century Gothic Pro" panose="020B0502020202020204" pitchFamily="34" charset="0"/>
              </a:rPr>
              <a:t>Сухие и тусклые волосы</a:t>
            </a:r>
            <a:endParaRPr lang="en-US" sz="1200" b="1" dirty="0">
              <a:latin typeface="Century Gothic Pro" panose="020B0502020202020204" pitchFamily="34" charset="0"/>
            </a:endParaRPr>
          </a:p>
        </p:txBody>
      </p:sp>
      <p:sp>
        <p:nvSpPr>
          <p:cNvPr id="808969" name="AutoShape 9"/>
          <p:cNvSpPr>
            <a:spLocks noChangeArrowheads="1"/>
          </p:cNvSpPr>
          <p:nvPr/>
        </p:nvSpPr>
        <p:spPr bwMode="auto">
          <a:xfrm>
            <a:off x="4129537" y="1149821"/>
            <a:ext cx="1828423" cy="4572000"/>
          </a:xfrm>
          <a:prstGeom prst="roundRect">
            <a:avLst>
              <a:gd name="adj" fmla="val 16667"/>
            </a:avLst>
          </a:prstGeom>
          <a:solidFill>
            <a:schemeClr val="accent4"/>
          </a:solidFill>
          <a:ln w="9525">
            <a:solidFill>
              <a:schemeClr val="folHlink"/>
            </a:solidFill>
            <a:round/>
            <a:headEnd/>
            <a:tailEnd/>
          </a:ln>
          <a:effectLst/>
        </p:spPr>
        <p:txBody>
          <a:bodyPr wrap="none"/>
          <a:lstStyle/>
          <a:p>
            <a:pPr algn="ctr"/>
            <a:r>
              <a:rPr lang="ru-RU" sz="2000" b="1" dirty="0">
                <a:solidFill>
                  <a:schemeClr val="bg1"/>
                </a:solidFill>
                <a:latin typeface="Century Gothic Pro" panose="020B0502020202020204" pitchFamily="34" charset="0"/>
              </a:rPr>
              <a:t>Гео-</a:t>
            </a:r>
          </a:p>
          <a:p>
            <a:pPr algn="ctr"/>
            <a:r>
              <a:rPr lang="ru-RU" sz="2000" b="1" dirty="0">
                <a:solidFill>
                  <a:schemeClr val="bg1"/>
                </a:solidFill>
                <a:latin typeface="Century Gothic Pro" panose="020B0502020202020204" pitchFamily="34" charset="0"/>
              </a:rPr>
              <a:t>этничность</a:t>
            </a:r>
            <a:endParaRPr lang="en-US" sz="2000" b="1" dirty="0">
              <a:solidFill>
                <a:schemeClr val="bg1"/>
              </a:solidFill>
              <a:latin typeface="Century Gothic Pro" panose="020B0502020202020204" pitchFamily="34" charset="0"/>
            </a:endParaRPr>
          </a:p>
        </p:txBody>
      </p:sp>
      <p:sp>
        <p:nvSpPr>
          <p:cNvPr id="808970" name="AutoShape 10"/>
          <p:cNvSpPr>
            <a:spLocks noChangeArrowheads="1"/>
          </p:cNvSpPr>
          <p:nvPr/>
        </p:nvSpPr>
        <p:spPr bwMode="auto">
          <a:xfrm>
            <a:off x="4250490" y="2248822"/>
            <a:ext cx="1703088" cy="3409028"/>
          </a:xfrm>
          <a:prstGeom prst="roundRect">
            <a:avLst>
              <a:gd name="adj" fmla="val 12560"/>
            </a:avLst>
          </a:prstGeom>
          <a:solidFill>
            <a:srgbClr val="EAEAEA"/>
          </a:solidFill>
          <a:ln w="9525">
            <a:solidFill>
              <a:schemeClr val="accent1"/>
            </a:solidFill>
            <a:round/>
            <a:headEnd/>
            <a:tailEnd/>
          </a:ln>
          <a:effectLst/>
        </p:spPr>
        <p:txBody>
          <a:bodyPr wrap="none" anchor="t" anchorCtr="0"/>
          <a:lstStyle/>
          <a:p>
            <a:pPr marL="92075" indent="-92075" algn="ctr">
              <a:spcBef>
                <a:spcPct val="70000"/>
              </a:spcBef>
            </a:pPr>
            <a:r>
              <a:rPr lang="ru-RU" b="1" dirty="0">
                <a:latin typeface="Century Gothic Pro" panose="020B0502020202020204" pitchFamily="34" charset="0"/>
              </a:rPr>
              <a:t>Тренд</a:t>
            </a:r>
            <a:endParaRPr lang="en-US" b="1" dirty="0">
              <a:latin typeface="Century Gothic Pro" panose="020B0502020202020204" pitchFamily="34" charset="0"/>
            </a:endParaRPr>
          </a:p>
          <a:p>
            <a:pPr marL="92075" indent="-92075">
              <a:spcBef>
                <a:spcPct val="70000"/>
              </a:spcBef>
              <a:buFontTx/>
              <a:buChar char="•"/>
            </a:pPr>
            <a:r>
              <a:rPr lang="ru-RU" sz="1200" b="1" dirty="0">
                <a:latin typeface="Century Gothic Pro" panose="020B0502020202020204" pitchFamily="34" charset="0"/>
              </a:rPr>
              <a:t>Натуральные масла</a:t>
            </a:r>
            <a:endParaRPr lang="en-US" sz="1200" b="1" dirty="0">
              <a:latin typeface="Century Gothic Pro" panose="020B0502020202020204" pitchFamily="34" charset="0"/>
            </a:endParaRPr>
          </a:p>
          <a:p>
            <a:pPr marL="92075" indent="-92075">
              <a:spcBef>
                <a:spcPct val="70000"/>
              </a:spcBef>
              <a:buFontTx/>
              <a:buChar char="•"/>
            </a:pPr>
            <a:r>
              <a:rPr lang="ru-RU" sz="1200" b="1" dirty="0">
                <a:latin typeface="Century Gothic Pro" panose="020B0502020202020204" pitchFamily="34" charset="0"/>
              </a:rPr>
              <a:t>Этнические волосы</a:t>
            </a:r>
            <a:endParaRPr lang="en-US" sz="1200" b="1" dirty="0">
              <a:latin typeface="Century Gothic Pro" panose="020B0502020202020204" pitchFamily="34" charset="0"/>
            </a:endParaRPr>
          </a:p>
          <a:p>
            <a:pPr marL="92075" indent="-92075">
              <a:spcBef>
                <a:spcPct val="70000"/>
              </a:spcBef>
              <a:buFontTx/>
              <a:buChar char="•"/>
            </a:pPr>
            <a:r>
              <a:rPr lang="ru-RU" sz="1200" b="1" dirty="0">
                <a:latin typeface="Century Gothic Pro" panose="020B0502020202020204" pitchFamily="34" charset="0"/>
              </a:rPr>
              <a:t>Блеск </a:t>
            </a:r>
            <a:endParaRPr lang="de-DE" sz="1200" b="1" dirty="0">
              <a:latin typeface="Century Gothic Pro" panose="020B0502020202020204" pitchFamily="34" charset="0"/>
            </a:endParaRPr>
          </a:p>
          <a:p>
            <a:pPr marL="92075" indent="-92075">
              <a:spcBef>
                <a:spcPct val="70000"/>
              </a:spcBef>
              <a:buFontTx/>
              <a:buChar char="•"/>
            </a:pPr>
            <a:r>
              <a:rPr lang="ru-RU" sz="1200" b="1" dirty="0">
                <a:latin typeface="Century Gothic Pro" panose="020B0502020202020204" pitchFamily="34" charset="0"/>
              </a:rPr>
              <a:t>Вперед </a:t>
            </a:r>
          </a:p>
          <a:p>
            <a:pPr>
              <a:spcBef>
                <a:spcPct val="70000"/>
              </a:spcBef>
            </a:pPr>
            <a:r>
              <a:rPr lang="ru-RU" sz="1200" b="1" dirty="0">
                <a:latin typeface="Century Gothic Pro" panose="020B0502020202020204" pitchFamily="34" charset="0"/>
              </a:rPr>
              <a:t>к натуральности</a:t>
            </a:r>
            <a:endParaRPr lang="de-DE" sz="1200" b="1" dirty="0">
              <a:latin typeface="Century Gothic Pro" panose="020B0502020202020204" pitchFamily="34" charset="0"/>
            </a:endParaRPr>
          </a:p>
          <a:p>
            <a:pPr marL="92075" indent="-92075">
              <a:spcBef>
                <a:spcPct val="70000"/>
              </a:spcBef>
              <a:buFontTx/>
              <a:buChar char="•"/>
            </a:pPr>
            <a:r>
              <a:rPr lang="ru-RU" sz="1200" b="1" dirty="0">
                <a:latin typeface="Century Gothic Pro" panose="020B0502020202020204" pitchFamily="34" charset="0"/>
              </a:rPr>
              <a:t>Выделение локонов</a:t>
            </a:r>
            <a:endParaRPr lang="de-DE" sz="1200" b="1" dirty="0">
              <a:latin typeface="Century Gothic Pro" panose="020B0502020202020204" pitchFamily="34" charset="0"/>
            </a:endParaRPr>
          </a:p>
          <a:p>
            <a:pPr marL="92075" indent="-92075">
              <a:spcBef>
                <a:spcPct val="70000"/>
              </a:spcBef>
              <a:buFontTx/>
              <a:buChar char="•"/>
            </a:pPr>
            <a:r>
              <a:rPr lang="ru-RU" sz="1200" b="1" dirty="0">
                <a:latin typeface="Century Gothic Pro" panose="020B0502020202020204" pitchFamily="34" charset="0"/>
              </a:rPr>
              <a:t>Контроль завивки</a:t>
            </a:r>
            <a:endParaRPr lang="de-DE" sz="1200" b="1" dirty="0">
              <a:latin typeface="Century Gothic Pro" panose="020B0502020202020204" pitchFamily="34" charset="0"/>
            </a:endParaRPr>
          </a:p>
          <a:p>
            <a:pPr marL="92075" indent="-92075">
              <a:spcBef>
                <a:spcPct val="70000"/>
              </a:spcBef>
              <a:buFontTx/>
              <a:buChar char="•"/>
            </a:pPr>
            <a:r>
              <a:rPr lang="ru-RU" sz="1200" b="1" dirty="0">
                <a:latin typeface="Century Gothic Pro" panose="020B0502020202020204" pitchFamily="34" charset="0"/>
              </a:rPr>
              <a:t>Против </a:t>
            </a:r>
          </a:p>
          <a:p>
            <a:pPr>
              <a:spcBef>
                <a:spcPct val="70000"/>
              </a:spcBef>
            </a:pPr>
            <a:r>
              <a:rPr lang="ru-RU" sz="1200" b="1" dirty="0">
                <a:latin typeface="Century Gothic Pro" panose="020B0502020202020204" pitchFamily="34" charset="0"/>
              </a:rPr>
              <a:t>курчавости волос</a:t>
            </a:r>
            <a:endParaRPr lang="en-US" sz="1200" b="1" dirty="0">
              <a:latin typeface="Century Gothic Pro" panose="020B0502020202020204" pitchFamily="34" charset="0"/>
            </a:endParaRPr>
          </a:p>
        </p:txBody>
      </p:sp>
      <p:sp>
        <p:nvSpPr>
          <p:cNvPr id="808971" name="AutoShape 11"/>
          <p:cNvSpPr>
            <a:spLocks noChangeArrowheads="1"/>
          </p:cNvSpPr>
          <p:nvPr/>
        </p:nvSpPr>
        <p:spPr bwMode="auto">
          <a:xfrm>
            <a:off x="7813797" y="1149820"/>
            <a:ext cx="1922386" cy="4565179"/>
          </a:xfrm>
          <a:prstGeom prst="roundRect">
            <a:avLst>
              <a:gd name="adj" fmla="val 16667"/>
            </a:avLst>
          </a:prstGeom>
          <a:solidFill>
            <a:schemeClr val="accent3"/>
          </a:solidFill>
          <a:ln w="9525">
            <a:solidFill>
              <a:schemeClr val="folHlink"/>
            </a:solidFill>
            <a:round/>
            <a:headEnd/>
            <a:tailEnd/>
          </a:ln>
          <a:effectLst/>
        </p:spPr>
        <p:txBody>
          <a:bodyPr wrap="none"/>
          <a:lstStyle/>
          <a:p>
            <a:pPr algn="ctr"/>
            <a:r>
              <a:rPr lang="ru-RU" sz="2000" b="1" dirty="0">
                <a:solidFill>
                  <a:schemeClr val="bg1"/>
                </a:solidFill>
                <a:latin typeface="Century Gothic Pro" panose="020B0502020202020204" pitchFamily="34" charset="0"/>
              </a:rPr>
              <a:t>Здоровые </a:t>
            </a:r>
          </a:p>
          <a:p>
            <a:pPr algn="ctr"/>
            <a:r>
              <a:rPr lang="ru-RU" sz="2000" b="1" dirty="0">
                <a:solidFill>
                  <a:schemeClr val="bg1"/>
                </a:solidFill>
                <a:latin typeface="Century Gothic Pro" panose="020B0502020202020204" pitchFamily="34" charset="0"/>
              </a:rPr>
              <a:t>волосы и </a:t>
            </a:r>
          </a:p>
          <a:p>
            <a:pPr algn="ctr"/>
            <a:r>
              <a:rPr lang="ru-RU" sz="2000" b="1" dirty="0">
                <a:solidFill>
                  <a:schemeClr val="bg1"/>
                </a:solidFill>
                <a:latin typeface="Century Gothic Pro" panose="020B0502020202020204" pitchFamily="34" charset="0"/>
              </a:rPr>
              <a:t>кожа головы</a:t>
            </a:r>
            <a:endParaRPr lang="en-US" sz="2000" b="1" dirty="0">
              <a:solidFill>
                <a:schemeClr val="bg1"/>
              </a:solidFill>
              <a:latin typeface="Century Gothic Pro" panose="020B0502020202020204" pitchFamily="34" charset="0"/>
            </a:endParaRPr>
          </a:p>
        </p:txBody>
      </p:sp>
      <p:sp>
        <p:nvSpPr>
          <p:cNvPr id="808972" name="AutoShape 12"/>
          <p:cNvSpPr>
            <a:spLocks noChangeArrowheads="1"/>
          </p:cNvSpPr>
          <p:nvPr/>
        </p:nvSpPr>
        <p:spPr bwMode="auto">
          <a:xfrm>
            <a:off x="7924799" y="2270402"/>
            <a:ext cx="1766633" cy="3377924"/>
          </a:xfrm>
          <a:prstGeom prst="roundRect">
            <a:avLst>
              <a:gd name="adj" fmla="val 12560"/>
            </a:avLst>
          </a:prstGeom>
          <a:solidFill>
            <a:srgbClr val="EAEAEA"/>
          </a:solidFill>
          <a:ln w="9525">
            <a:solidFill>
              <a:schemeClr val="accent1"/>
            </a:solidFill>
            <a:round/>
            <a:headEnd/>
            <a:tailEnd/>
          </a:ln>
          <a:effectLst/>
        </p:spPr>
        <p:txBody>
          <a:bodyPr wrap="none" anchor="t" anchorCtr="0"/>
          <a:lstStyle/>
          <a:p>
            <a:pPr marL="92075" indent="-92075" algn="ctr">
              <a:spcBef>
                <a:spcPct val="70000"/>
              </a:spcBef>
            </a:pPr>
            <a:r>
              <a:rPr lang="ru-RU" b="1" dirty="0">
                <a:latin typeface="Century Gothic Pro" panose="020B0502020202020204" pitchFamily="34" charset="0"/>
              </a:rPr>
              <a:t>Тренд</a:t>
            </a:r>
            <a:endParaRPr lang="en-US" b="1" dirty="0">
              <a:latin typeface="Century Gothic Pro" panose="020B0502020202020204" pitchFamily="34" charset="0"/>
            </a:endParaRPr>
          </a:p>
          <a:p>
            <a:pPr marL="92075" indent="-92075">
              <a:spcBef>
                <a:spcPct val="70000"/>
              </a:spcBef>
              <a:buFontTx/>
              <a:buChar char="•"/>
            </a:pPr>
            <a:r>
              <a:rPr lang="ru-RU" sz="1200" b="1" dirty="0">
                <a:solidFill>
                  <a:schemeClr val="accent3"/>
                </a:solidFill>
                <a:latin typeface="Century Gothic Pro" panose="020B0502020202020204" pitchFamily="34" charset="0"/>
              </a:rPr>
              <a:t>Уход за кожей</a:t>
            </a:r>
          </a:p>
          <a:p>
            <a:pPr>
              <a:spcBef>
                <a:spcPct val="70000"/>
              </a:spcBef>
            </a:pPr>
            <a:r>
              <a:rPr lang="ru-RU" sz="1200" b="1" dirty="0">
                <a:solidFill>
                  <a:schemeClr val="accent3"/>
                </a:solidFill>
                <a:latin typeface="Century Gothic Pro" panose="020B0502020202020204" pitchFamily="34" charset="0"/>
              </a:rPr>
              <a:t> головы</a:t>
            </a:r>
            <a:endParaRPr lang="en-US" sz="1200" b="1" dirty="0">
              <a:solidFill>
                <a:schemeClr val="accent3"/>
              </a:solidFill>
              <a:latin typeface="Century Gothic Pro" panose="020B0502020202020204" pitchFamily="34" charset="0"/>
            </a:endParaRPr>
          </a:p>
          <a:p>
            <a:pPr marL="92075" indent="-92075">
              <a:spcBef>
                <a:spcPct val="70000"/>
              </a:spcBef>
              <a:buFontTx/>
              <a:buChar char="•"/>
            </a:pPr>
            <a:r>
              <a:rPr lang="ru-RU" sz="1200" b="1" dirty="0">
                <a:solidFill>
                  <a:schemeClr val="accent3"/>
                </a:solidFill>
                <a:latin typeface="Century Gothic Pro" panose="020B0502020202020204" pitchFamily="34" charset="0"/>
              </a:rPr>
              <a:t>Перхоть </a:t>
            </a:r>
            <a:endParaRPr lang="en-US" sz="1200" b="1" dirty="0">
              <a:solidFill>
                <a:schemeClr val="accent3"/>
              </a:solidFill>
              <a:latin typeface="Century Gothic Pro" panose="020B0502020202020204" pitchFamily="34" charset="0"/>
            </a:endParaRPr>
          </a:p>
          <a:p>
            <a:pPr marL="92075" indent="-92075">
              <a:spcBef>
                <a:spcPct val="70000"/>
              </a:spcBef>
              <a:buFontTx/>
              <a:buChar char="•"/>
            </a:pPr>
            <a:r>
              <a:rPr lang="ru-RU" sz="1200" b="1" dirty="0">
                <a:solidFill>
                  <a:schemeClr val="accent3"/>
                </a:solidFill>
                <a:latin typeface="Century Gothic Pro" panose="020B0502020202020204" pitchFamily="34" charset="0"/>
              </a:rPr>
              <a:t>Зуд кожи головы</a:t>
            </a:r>
            <a:endParaRPr lang="en-US" sz="1200" b="1" dirty="0">
              <a:solidFill>
                <a:schemeClr val="accent3"/>
              </a:solidFill>
              <a:latin typeface="Century Gothic Pro" panose="020B0502020202020204" pitchFamily="34" charset="0"/>
            </a:endParaRPr>
          </a:p>
          <a:p>
            <a:pPr marL="92075" indent="-92075">
              <a:spcBef>
                <a:spcPct val="70000"/>
              </a:spcBef>
              <a:buFontTx/>
              <a:buChar char="•"/>
            </a:pPr>
            <a:r>
              <a:rPr lang="ru-RU" sz="1200" b="1" dirty="0">
                <a:solidFill>
                  <a:schemeClr val="accent3"/>
                </a:solidFill>
                <a:latin typeface="Century Gothic Pro" panose="020B0502020202020204" pitchFamily="34" charset="0"/>
              </a:rPr>
              <a:t>Сухость или </a:t>
            </a:r>
          </a:p>
          <a:p>
            <a:pPr>
              <a:spcBef>
                <a:spcPct val="70000"/>
              </a:spcBef>
            </a:pPr>
            <a:r>
              <a:rPr lang="ru-RU" sz="1200" b="1" dirty="0">
                <a:solidFill>
                  <a:schemeClr val="accent3"/>
                </a:solidFill>
                <a:latin typeface="Century Gothic Pro" panose="020B0502020202020204" pitchFamily="34" charset="0"/>
              </a:rPr>
              <a:t>жирность кожи </a:t>
            </a:r>
          </a:p>
          <a:p>
            <a:pPr>
              <a:spcBef>
                <a:spcPct val="70000"/>
              </a:spcBef>
            </a:pPr>
            <a:r>
              <a:rPr lang="ru-RU" sz="1200" b="1" dirty="0">
                <a:solidFill>
                  <a:schemeClr val="accent3"/>
                </a:solidFill>
                <a:latin typeface="Century Gothic Pro" panose="020B0502020202020204" pitchFamily="34" charset="0"/>
              </a:rPr>
              <a:t>головы</a:t>
            </a:r>
            <a:endParaRPr lang="en-US" sz="1200" b="1" dirty="0">
              <a:solidFill>
                <a:schemeClr val="accent3"/>
              </a:solidFill>
              <a:latin typeface="Century Gothic Pro" panose="020B0502020202020204" pitchFamily="34" charset="0"/>
            </a:endParaRPr>
          </a:p>
          <a:p>
            <a:pPr marL="92075" indent="-92075">
              <a:spcBef>
                <a:spcPct val="70000"/>
              </a:spcBef>
              <a:buFontTx/>
              <a:buChar char="•"/>
            </a:pPr>
            <a:r>
              <a:rPr lang="ru-RU" sz="1200" b="1" dirty="0">
                <a:solidFill>
                  <a:schemeClr val="accent3"/>
                </a:solidFill>
                <a:latin typeface="Century Gothic Pro" panose="020B0502020202020204" pitchFamily="34" charset="0"/>
              </a:rPr>
              <a:t>Поврежденные </a:t>
            </a:r>
          </a:p>
          <a:p>
            <a:pPr>
              <a:spcBef>
                <a:spcPct val="70000"/>
              </a:spcBef>
            </a:pPr>
            <a:r>
              <a:rPr lang="ru-RU" sz="1200" b="1" dirty="0">
                <a:solidFill>
                  <a:schemeClr val="accent3"/>
                </a:solidFill>
                <a:latin typeface="Century Gothic Pro" panose="020B0502020202020204" pitchFamily="34" charset="0"/>
              </a:rPr>
              <a:t>волосы</a:t>
            </a:r>
            <a:endParaRPr lang="en-US" sz="1200" b="1" dirty="0">
              <a:solidFill>
                <a:schemeClr val="accent3"/>
              </a:solidFill>
              <a:latin typeface="Century Gothic Pro" panose="020B0502020202020204" pitchFamily="34" charset="0"/>
            </a:endParaRPr>
          </a:p>
          <a:p>
            <a:pPr marL="92075" indent="-92075" algn="ctr">
              <a:spcBef>
                <a:spcPct val="70000"/>
              </a:spcBef>
            </a:pPr>
            <a:endParaRPr lang="en-US" sz="1200" b="1" dirty="0">
              <a:latin typeface="Century Gothic Pro" panose="020B0502020202020204" pitchFamily="34" charset="0"/>
            </a:endParaRPr>
          </a:p>
          <a:p>
            <a:pPr marL="92075" indent="-92075" algn="ctr">
              <a:spcBef>
                <a:spcPct val="70000"/>
              </a:spcBef>
              <a:buFontTx/>
              <a:buChar char="•"/>
            </a:pPr>
            <a:endParaRPr lang="en-US" sz="1200" b="1" dirty="0">
              <a:latin typeface="Century Gothic Pro" panose="020B0502020202020204" pitchFamily="34" charset="0"/>
            </a:endParaRPr>
          </a:p>
        </p:txBody>
      </p:sp>
      <p:sp>
        <p:nvSpPr>
          <p:cNvPr id="808973" name="Rectangle 13"/>
          <p:cNvSpPr>
            <a:spLocks noChangeArrowheads="1"/>
          </p:cNvSpPr>
          <p:nvPr>
            <p:custDataLst>
              <p:tags r:id="rId1"/>
            </p:custDataLst>
          </p:nvPr>
        </p:nvSpPr>
        <p:spPr bwMode="gray">
          <a:xfrm>
            <a:off x="919163" y="6253163"/>
            <a:ext cx="6342062" cy="184150"/>
          </a:xfrm>
          <a:prstGeom prst="rect">
            <a:avLst/>
          </a:prstGeom>
          <a:noFill/>
          <a:ln w="9525" algn="ctr">
            <a:noFill/>
            <a:miter lim="800000"/>
            <a:headEnd type="none" w="lg" len="lg"/>
            <a:tailEnd type="none" w="lg" len="lg"/>
          </a:ln>
          <a:effectLst/>
        </p:spPr>
        <p:txBody>
          <a:bodyPr wrap="none" lIns="0" tIns="0" rIns="0" bIns="0" anchor="ctr"/>
          <a:lstStyle/>
          <a:p>
            <a:pPr>
              <a:lnSpc>
                <a:spcPct val="90000"/>
              </a:lnSpc>
            </a:pPr>
            <a:r>
              <a:rPr lang="en-US" sz="800" dirty="0">
                <a:latin typeface="Century Gothic Pro" panose="020B0502020202020204" pitchFamily="34" charset="0"/>
                <a:cs typeface="Arial" pitchFamily="34" charset="0"/>
              </a:rPr>
              <a:t>Source: Mintel, Internet</a:t>
            </a:r>
          </a:p>
        </p:txBody>
      </p:sp>
      <p:sp>
        <p:nvSpPr>
          <p:cNvPr id="808977" name="Rectangle 17"/>
          <p:cNvSpPr>
            <a:spLocks noGrp="1" noChangeArrowheads="1"/>
          </p:cNvSpPr>
          <p:nvPr>
            <p:ph type="title"/>
          </p:nvPr>
        </p:nvSpPr>
        <p:spPr>
          <a:xfrm>
            <a:off x="762000" y="1"/>
            <a:ext cx="8610600" cy="860425"/>
          </a:xfrm>
        </p:spPr>
        <p:txBody>
          <a:bodyPr>
            <a:normAutofit fontScale="90000"/>
          </a:bodyPr>
          <a:lstStyle/>
          <a:p>
            <a:r>
              <a:rPr lang="ru-RU" sz="3200" dirty="0">
                <a:latin typeface="Century Gothic Pro" panose="020B0502020202020204" pitchFamily="34" charset="0"/>
              </a:rPr>
              <a:t>Мега тренды и тенденции рынка ухода за волосами</a:t>
            </a:r>
            <a:endParaRPr lang="de-DE" sz="3200" dirty="0">
              <a:latin typeface="Century Gothic Pro" panose="020B0502020202020204" pitchFamily="34" charset="0"/>
            </a:endParaRPr>
          </a:p>
        </p:txBody>
      </p:sp>
      <p:sp>
        <p:nvSpPr>
          <p:cNvPr id="19" name="TextBox 18"/>
          <p:cNvSpPr txBox="1"/>
          <p:nvPr/>
        </p:nvSpPr>
        <p:spPr>
          <a:xfrm>
            <a:off x="2022611" y="5877009"/>
            <a:ext cx="5802086" cy="369332"/>
          </a:xfrm>
          <a:prstGeom prst="rect">
            <a:avLst/>
          </a:prstGeom>
          <a:solidFill>
            <a:schemeClr val="bg1">
              <a:lumMod val="75000"/>
            </a:schemeClr>
          </a:solidFill>
        </p:spPr>
        <p:txBody>
          <a:bodyPr wrap="square" rtlCol="0">
            <a:spAutoFit/>
          </a:bodyPr>
          <a:lstStyle/>
          <a:p>
            <a:r>
              <a:rPr lang="ru-RU" b="1" dirty="0">
                <a:latin typeface="Century Gothic Pro" panose="020B0502020202020204" pitchFamily="34" charset="0"/>
              </a:rPr>
              <a:t>часто наблюдается переход из одного тренда в другой</a:t>
            </a:r>
            <a:endParaRPr lang="nl-NL" b="1" dirty="0">
              <a:latin typeface="Century Gothic Pro" panose="020B0502020202020204" pitchFamily="34" charset="0"/>
            </a:endParaRPr>
          </a:p>
        </p:txBody>
      </p:sp>
    </p:spTree>
    <p:extLst>
      <p:ext uri="{BB962C8B-B14F-4D97-AF65-F5344CB8AC3E}">
        <p14:creationId xmlns:p14="http://schemas.microsoft.com/office/powerpoint/2010/main" val="8786766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ru-RU" dirty="0"/>
              <a:t>Превосходное кондиционирование в синергизме с полимером </a:t>
            </a:r>
            <a:r>
              <a:rPr lang="en-US" dirty="0" err="1"/>
              <a:t>Clearhance</a:t>
            </a:r>
            <a:r>
              <a:rPr lang="en-US" dirty="0"/>
              <a:t> </a:t>
            </a:r>
          </a:p>
        </p:txBody>
      </p:sp>
      <p:sp>
        <p:nvSpPr>
          <p:cNvPr id="4" name="Content Placeholder 3"/>
          <p:cNvSpPr>
            <a:spLocks noGrp="1"/>
          </p:cNvSpPr>
          <p:nvPr>
            <p:ph idx="1"/>
          </p:nvPr>
        </p:nvSpPr>
        <p:spPr>
          <a:xfrm>
            <a:off x="545284" y="6171491"/>
            <a:ext cx="6962493" cy="601201"/>
          </a:xfrm>
        </p:spPr>
        <p:txBody>
          <a:bodyPr>
            <a:normAutofit fontScale="77500" lnSpcReduction="20000"/>
          </a:bodyPr>
          <a:lstStyle/>
          <a:p>
            <a:pPr marL="0" indent="0">
              <a:buNone/>
            </a:pPr>
            <a:r>
              <a:rPr lang="ru-RU" dirty="0"/>
              <a:t>Комбинируя две новые технологии </a:t>
            </a:r>
            <a:r>
              <a:rPr lang="en-US" dirty="0"/>
              <a:t>Ashland</a:t>
            </a:r>
            <a:r>
              <a:rPr lang="ru-RU" dirty="0"/>
              <a:t>, можно получить превосходное качество кондиционирования.</a:t>
            </a:r>
            <a:endParaRPr lang="en-US" dirty="0"/>
          </a:p>
        </p:txBody>
      </p:sp>
      <p:pic>
        <p:nvPicPr>
          <p:cNvPr id="5122" name="Chart 2"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57505" y="1635853"/>
            <a:ext cx="6029014" cy="4257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896135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1393B01-7800-434A-B836-B3320A3476BB}" type="slidenum">
              <a:rPr kumimoji="0" lang="en-US" sz="1200" b="1"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Rectangle 5"/>
          <p:cNvSpPr/>
          <p:nvPr/>
        </p:nvSpPr>
        <p:spPr>
          <a:xfrm>
            <a:off x="0" y="0"/>
            <a:ext cx="10058400" cy="53062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4950" marR="0" lvl="0" indent="0" algn="l" defTabSz="914400" rtl="0" eaLnBrk="1" fontAlgn="auto" latinLnBrk="0" hangingPunct="1">
              <a:lnSpc>
                <a:spcPct val="100000"/>
              </a:lnSpc>
              <a:spcBef>
                <a:spcPts val="0"/>
              </a:spcBef>
              <a:spcAft>
                <a:spcPts val="0"/>
              </a:spcAft>
              <a:buClrTx/>
              <a:buSzTx/>
              <a:buFontTx/>
              <a:buNone/>
              <a:tabLst/>
              <a:defRPr/>
            </a:pPr>
            <a:r>
              <a:rPr lang="ru-RU" sz="4200" b="1" dirty="0">
                <a:solidFill>
                  <a:prstClr val="white"/>
                </a:solidFill>
                <a:latin typeface="Century Gothic"/>
              </a:rPr>
              <a:t>Превосходное кондиционирование для прозрачных систем ухода за волосами</a:t>
            </a:r>
            <a:endParaRPr kumimoji="0" lang="en-US" sz="4200" b="1" i="0" u="none" strike="noStrike" kern="1200" cap="none" spc="0" normalizeH="0" baseline="0" noProof="0" dirty="0">
              <a:ln>
                <a:noFill/>
              </a:ln>
              <a:solidFill>
                <a:prstClr val="white"/>
              </a:solidFill>
              <a:effectLst/>
              <a:uLnTx/>
              <a:uFillTx/>
              <a:latin typeface="Century Gothic"/>
              <a:ea typeface="+mn-ea"/>
              <a:cs typeface="+mn-cs"/>
            </a:endParaRPr>
          </a:p>
        </p:txBody>
      </p:sp>
    </p:spTree>
    <p:extLst>
      <p:ext uri="{BB962C8B-B14F-4D97-AF65-F5344CB8AC3E}">
        <p14:creationId xmlns:p14="http://schemas.microsoft.com/office/powerpoint/2010/main" val="4767631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a:bodyPr>
          <a:lstStyle/>
          <a:p>
            <a:r>
              <a:rPr lang="en-US" sz="3200" dirty="0" err="1"/>
              <a:t>C</a:t>
            </a:r>
            <a:r>
              <a:rPr lang="en-US" sz="3200" dirty="0" err="1">
                <a:latin typeface="Century Gothic" panose="020B0502020202020204" pitchFamily="34" charset="0"/>
              </a:rPr>
              <a:t>lea</a:t>
            </a:r>
            <a:r>
              <a:rPr lang="en-US" dirty="0" err="1">
                <a:latin typeface="Century Gothic" panose="020B0502020202020204" pitchFamily="34" charset="0"/>
              </a:rPr>
              <a:t>rHance</a:t>
            </a:r>
            <a:r>
              <a:rPr lang="en-US" dirty="0">
                <a:latin typeface="Century Gothic" panose="020B0502020202020204" pitchFamily="34" charset="0"/>
              </a:rPr>
              <a:t>™ </a:t>
            </a:r>
            <a:r>
              <a:rPr lang="ru-RU" dirty="0">
                <a:latin typeface="Century Gothic" panose="020B0502020202020204" pitchFamily="34" charset="0"/>
              </a:rPr>
              <a:t> - </a:t>
            </a:r>
            <a:r>
              <a:rPr lang="ru-RU" dirty="0"/>
              <a:t>С</a:t>
            </a:r>
            <a:r>
              <a:rPr lang="ru-RU" dirty="0">
                <a:latin typeface="Century Gothic" panose="020B0502020202020204" pitchFamily="34" charset="0"/>
              </a:rPr>
              <a:t/>
            </a:r>
            <a:br>
              <a:rPr lang="ru-RU" dirty="0">
                <a:latin typeface="Century Gothic" panose="020B0502020202020204" pitchFamily="34" charset="0"/>
              </a:rPr>
            </a:br>
            <a:r>
              <a:rPr lang="ru-RU" dirty="0"/>
              <a:t>предпосылки создания</a:t>
            </a:r>
            <a:endParaRPr lang="en-US" dirty="0">
              <a:latin typeface="Century Gothic" panose="020B0502020202020204" pitchFamily="34" charset="0"/>
            </a:endParaRPr>
          </a:p>
        </p:txBody>
      </p:sp>
      <p:sp>
        <p:nvSpPr>
          <p:cNvPr id="12" name="Content Placeholder 11"/>
          <p:cNvSpPr>
            <a:spLocks noGrp="1"/>
          </p:cNvSpPr>
          <p:nvPr>
            <p:ph idx="1"/>
          </p:nvPr>
        </p:nvSpPr>
        <p:spPr>
          <a:xfrm>
            <a:off x="294372" y="1521500"/>
            <a:ext cx="4566386" cy="5336499"/>
          </a:xfrm>
        </p:spPr>
        <p:txBody>
          <a:bodyPr>
            <a:normAutofit fontScale="62500" lnSpcReduction="20000"/>
          </a:bodyPr>
          <a:lstStyle/>
          <a:p>
            <a:pPr marL="0" indent="0">
              <a:buNone/>
            </a:pPr>
            <a:r>
              <a:rPr lang="ru-RU" dirty="0"/>
              <a:t> </a:t>
            </a:r>
            <a:endParaRPr lang="nl-NL" dirty="0">
              <a:latin typeface="Century Gothic" panose="020B0502020202020204" pitchFamily="34" charset="0"/>
            </a:endParaRPr>
          </a:p>
          <a:p>
            <a:pPr marL="0" indent="0">
              <a:buNone/>
            </a:pPr>
            <a:r>
              <a:rPr lang="ru-RU" sz="3400" dirty="0"/>
              <a:t>Растущая популярность прозрачных шампуней. в то же время предполагает великолепное кондиционирование волос. Потребитель требует такого же уровня кондиционирования, который обеспечивают опалесцирующие или перламутровые шампуни, поэтому технологические решения, как правило, балансируют между кондиционированием и прозрачностью, и зачастую имеет место жертвование одним из качеств в пользу другого.</a:t>
            </a:r>
          </a:p>
          <a:p>
            <a:pPr marL="0" indent="0">
              <a:buNone/>
            </a:pPr>
            <a:r>
              <a:rPr lang="ru-RU" sz="3400" dirty="0"/>
              <a:t> </a:t>
            </a:r>
          </a:p>
        </p:txBody>
      </p:sp>
      <p:sp>
        <p:nvSpPr>
          <p:cNvPr id="2" name="Slide Number Placeholder 1"/>
          <p:cNvSpPr>
            <a:spLocks noGrp="1"/>
          </p:cNvSpPr>
          <p:nvPr>
            <p:ph type="sldNum" sz="quarter" idx="12"/>
          </p:nvPr>
        </p:nvSpPr>
        <p:spPr/>
        <p:txBody>
          <a:bodyPr/>
          <a:lstStyle/>
          <a:p>
            <a:fld id="{91393B01-7800-434A-B836-B3320A3476BB}" type="slidenum">
              <a:rPr lang="en-US" smtClean="0"/>
              <a:pPr/>
              <a:t>22</a:t>
            </a:fld>
            <a:endParaRPr lang="en-US" dirty="0"/>
          </a:p>
        </p:txBody>
      </p:sp>
      <p:pic>
        <p:nvPicPr>
          <p:cNvPr id="5" name="Picture 4"/>
          <p:cNvPicPr>
            <a:picLocks noChangeAspect="1"/>
          </p:cNvPicPr>
          <p:nvPr/>
        </p:nvPicPr>
        <p:blipFill>
          <a:blip r:embed="rId2"/>
          <a:stretch>
            <a:fillRect/>
          </a:stretch>
        </p:blipFill>
        <p:spPr>
          <a:xfrm>
            <a:off x="5079883" y="2122415"/>
            <a:ext cx="4760425" cy="3674378"/>
          </a:xfrm>
          <a:prstGeom prst="rect">
            <a:avLst/>
          </a:prstGeom>
        </p:spPr>
      </p:pic>
    </p:spTree>
    <p:extLst>
      <p:ext uri="{BB962C8B-B14F-4D97-AF65-F5344CB8AC3E}">
        <p14:creationId xmlns:p14="http://schemas.microsoft.com/office/powerpoint/2010/main" val="14932627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8" y="102440"/>
            <a:ext cx="9144000" cy="1160966"/>
          </a:xfrm>
        </p:spPr>
        <p:txBody>
          <a:bodyPr>
            <a:normAutofit/>
          </a:bodyPr>
          <a:lstStyle/>
          <a:p>
            <a:r>
              <a:rPr lang="en-US" dirty="0" err="1"/>
              <a:t>C</a:t>
            </a:r>
            <a:r>
              <a:rPr lang="en-US" dirty="0" err="1">
                <a:latin typeface="Century Gothic" panose="020B0502020202020204" pitchFamily="34" charset="0"/>
              </a:rPr>
              <a:t>learHance</a:t>
            </a:r>
            <a:r>
              <a:rPr lang="en-US" dirty="0">
                <a:latin typeface="Century Gothic" panose="020B0502020202020204" pitchFamily="34" charset="0"/>
              </a:rPr>
              <a:t> ™ c  - </a:t>
            </a:r>
            <a:r>
              <a:rPr lang="ru-RU" dirty="0">
                <a:latin typeface="Century Gothic" panose="020B0502020202020204" pitchFamily="34" charset="0"/>
              </a:rPr>
              <a:t/>
            </a:r>
            <a:br>
              <a:rPr lang="ru-RU" dirty="0">
                <a:latin typeface="Century Gothic" panose="020B0502020202020204" pitchFamily="34" charset="0"/>
              </a:rPr>
            </a:br>
            <a:r>
              <a:rPr lang="ru-RU" dirty="0">
                <a:latin typeface="Century Gothic" panose="020B0502020202020204" pitchFamily="34" charset="0"/>
              </a:rPr>
              <a:t>представление продукта</a:t>
            </a:r>
            <a:endParaRPr lang="en-US" dirty="0">
              <a:latin typeface="Century Gothic" panose="020B0502020202020204" pitchFamily="34" charset="0"/>
            </a:endParaRPr>
          </a:p>
        </p:txBody>
      </p:sp>
      <p:sp>
        <p:nvSpPr>
          <p:cNvPr id="3" name="Content Placeholder 2"/>
          <p:cNvSpPr>
            <a:spLocks noGrp="1"/>
          </p:cNvSpPr>
          <p:nvPr>
            <p:ph sz="half" idx="1"/>
          </p:nvPr>
        </p:nvSpPr>
        <p:spPr>
          <a:xfrm>
            <a:off x="525823" y="1925418"/>
            <a:ext cx="4509137" cy="4820867"/>
          </a:xfrm>
        </p:spPr>
        <p:txBody>
          <a:bodyPr>
            <a:normAutofit fontScale="92500" lnSpcReduction="20000"/>
          </a:bodyPr>
          <a:lstStyle/>
          <a:p>
            <a:pPr marL="0" indent="0">
              <a:buNone/>
            </a:pPr>
            <a:r>
              <a:rPr lang="ru-RU" dirty="0"/>
              <a:t>Кондиционирующий полимер ClearHance C имеет новую химическую природу (подан на патент), которая обеспечивает великолепную прозрачность и функциональное кондиционирование в шампунях на базе ПАВ, он также превосходен для таких продуктов как средства для тела и жидкое мыло.</a:t>
            </a:r>
          </a:p>
          <a:p>
            <a:pPr marL="0" indent="0">
              <a:buNone/>
            </a:pPr>
            <a:r>
              <a:rPr lang="ru-RU" dirty="0"/>
              <a:t> Химическая структура обеспечивает прекрасное кондиционирование при тестировании на влажных и сухих волосах. Основа полимера получена из семян Сassia, растущих в Индии.</a:t>
            </a:r>
          </a:p>
        </p:txBody>
      </p:sp>
      <p:sp>
        <p:nvSpPr>
          <p:cNvPr id="5" name="Slide Number Placeholder 4"/>
          <p:cNvSpPr>
            <a:spLocks noGrp="1"/>
          </p:cNvSpPr>
          <p:nvPr>
            <p:ph type="sldNum" sz="quarter" idx="12"/>
          </p:nvPr>
        </p:nvSpPr>
        <p:spPr/>
        <p:txBody>
          <a:bodyPr/>
          <a:lstStyle/>
          <a:p>
            <a:fld id="{91393B01-7800-434A-B836-B3320A3476BB}" type="slidenum">
              <a:rPr lang="en-US" smtClean="0"/>
              <a:pPr/>
              <a:t>23</a:t>
            </a:fld>
            <a:endParaRPr lang="en-US"/>
          </a:p>
        </p:txBody>
      </p:sp>
      <p:pic>
        <p:nvPicPr>
          <p:cNvPr id="4" name="Picture 3"/>
          <p:cNvPicPr>
            <a:picLocks noChangeAspect="1"/>
          </p:cNvPicPr>
          <p:nvPr/>
        </p:nvPicPr>
        <p:blipFill>
          <a:blip r:embed="rId2"/>
          <a:stretch>
            <a:fillRect/>
          </a:stretch>
        </p:blipFill>
        <p:spPr>
          <a:xfrm>
            <a:off x="5076383" y="2393215"/>
            <a:ext cx="4778509" cy="3216158"/>
          </a:xfrm>
          <a:prstGeom prst="rect">
            <a:avLst/>
          </a:prstGeom>
        </p:spPr>
      </p:pic>
      <p:sp>
        <p:nvSpPr>
          <p:cNvPr id="6" name="TextBox 5"/>
          <p:cNvSpPr txBox="1"/>
          <p:nvPr/>
        </p:nvSpPr>
        <p:spPr>
          <a:xfrm>
            <a:off x="5200652" y="1786878"/>
            <a:ext cx="4695663" cy="646331"/>
          </a:xfrm>
          <a:prstGeom prst="rect">
            <a:avLst/>
          </a:prstGeom>
          <a:noFill/>
        </p:spPr>
        <p:txBody>
          <a:bodyPr wrap="square" rtlCol="0">
            <a:spAutoFit/>
          </a:bodyPr>
          <a:lstStyle/>
          <a:p>
            <a:r>
              <a:rPr lang="ru-RU" dirty="0">
                <a:latin typeface="Century Gothic" panose="020B0502020202020204" pitchFamily="34" charset="0"/>
              </a:rPr>
              <a:t>Получен из семян </a:t>
            </a:r>
            <a:r>
              <a:rPr lang="en-US" dirty="0">
                <a:latin typeface="Century Gothic" panose="020B0502020202020204" pitchFamily="34" charset="0"/>
              </a:rPr>
              <a:t>Cassia</a:t>
            </a:r>
            <a:r>
              <a:rPr lang="ru-RU" dirty="0">
                <a:latin typeface="Century Gothic" panose="020B0502020202020204" pitchFamily="34" charset="0"/>
              </a:rPr>
              <a:t>, происхождением из Индии</a:t>
            </a:r>
            <a:endParaRPr lang="en-GB" dirty="0">
              <a:latin typeface="Century Gothic" panose="020B0502020202020204" pitchFamily="34" charset="0"/>
            </a:endParaRPr>
          </a:p>
        </p:txBody>
      </p:sp>
      <p:sp>
        <p:nvSpPr>
          <p:cNvPr id="8" name="TextBox 7"/>
          <p:cNvSpPr txBox="1"/>
          <p:nvPr/>
        </p:nvSpPr>
        <p:spPr>
          <a:xfrm>
            <a:off x="230823" y="1410148"/>
            <a:ext cx="9691119" cy="369332"/>
          </a:xfrm>
          <a:prstGeom prst="rect">
            <a:avLst/>
          </a:prstGeom>
          <a:noFill/>
        </p:spPr>
        <p:txBody>
          <a:bodyPr wrap="square" rtlCol="0">
            <a:spAutoFit/>
          </a:bodyPr>
          <a:lstStyle/>
          <a:p>
            <a:r>
              <a:rPr lang="en-US" b="1" dirty="0">
                <a:solidFill>
                  <a:schemeClr val="accent3"/>
                </a:solidFill>
                <a:latin typeface="Century Gothic" panose="020B0502020202020204" pitchFamily="34" charset="0"/>
              </a:rPr>
              <a:t>clearHance™ c conditioning polymer</a:t>
            </a:r>
            <a:r>
              <a:rPr lang="en-US" dirty="0">
                <a:solidFill>
                  <a:schemeClr val="accent3"/>
                </a:solidFill>
                <a:latin typeface="Century Gothic" panose="020B0502020202020204" pitchFamily="34" charset="0"/>
              </a:rPr>
              <a:t> (</a:t>
            </a:r>
            <a:r>
              <a:rPr lang="en-US" dirty="0" err="1">
                <a:solidFill>
                  <a:schemeClr val="accent3"/>
                </a:solidFill>
                <a:latin typeface="Century Gothic" panose="020B0502020202020204" pitchFamily="34" charset="0"/>
              </a:rPr>
              <a:t>inci</a:t>
            </a:r>
            <a:r>
              <a:rPr lang="en-US" dirty="0">
                <a:solidFill>
                  <a:schemeClr val="accent3"/>
                </a:solidFill>
                <a:latin typeface="Century Gothic" panose="020B0502020202020204" pitchFamily="34" charset="0"/>
              </a:rPr>
              <a:t>: Cassia Hydroxypropyltrimonium chloride)</a:t>
            </a:r>
            <a:endParaRPr lang="en-GB" dirty="0"/>
          </a:p>
        </p:txBody>
      </p:sp>
    </p:spTree>
    <p:extLst>
      <p:ext uri="{BB962C8B-B14F-4D97-AF65-F5344CB8AC3E}">
        <p14:creationId xmlns:p14="http://schemas.microsoft.com/office/powerpoint/2010/main" val="38489141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a:t>
            </a:r>
            <a:r>
              <a:rPr lang="nl-NL" dirty="0">
                <a:latin typeface="Century Gothic" panose="020B0502020202020204" pitchFamily="34" charset="0"/>
              </a:rPr>
              <a:t>learHance</a:t>
            </a:r>
            <a:r>
              <a:rPr lang="en-US" dirty="0">
                <a:latin typeface="Century Gothic" panose="020B0502020202020204" pitchFamily="34" charset="0"/>
              </a:rPr>
              <a:t> ™</a:t>
            </a:r>
            <a:r>
              <a:rPr lang="nl-NL" dirty="0">
                <a:latin typeface="Century Gothic" panose="020B0502020202020204" pitchFamily="34" charset="0"/>
              </a:rPr>
              <a:t> c –</a:t>
            </a:r>
            <a:r>
              <a:rPr lang="ru-RU" dirty="0">
                <a:latin typeface="Century Gothic" panose="020B0502020202020204" pitchFamily="34" charset="0"/>
              </a:rPr>
              <a:t/>
            </a:r>
            <a:br>
              <a:rPr lang="ru-RU" dirty="0">
                <a:latin typeface="Century Gothic" panose="020B0502020202020204" pitchFamily="34" charset="0"/>
              </a:rPr>
            </a:br>
            <a:r>
              <a:rPr lang="ru-RU" dirty="0">
                <a:latin typeface="Century Gothic" panose="020B0502020202020204" pitchFamily="34" charset="0"/>
              </a:rPr>
              <a:t>ключевые особенности и преимущества</a:t>
            </a:r>
            <a:endParaRPr lang="en-GB" dirty="0">
              <a:latin typeface="Century Gothic" panose="020B0502020202020204" pitchFamily="34" charset="0"/>
            </a:endParaRPr>
          </a:p>
        </p:txBody>
      </p:sp>
      <p:sp>
        <p:nvSpPr>
          <p:cNvPr id="3" name="TextBox 2"/>
          <p:cNvSpPr txBox="1"/>
          <p:nvPr/>
        </p:nvSpPr>
        <p:spPr>
          <a:xfrm>
            <a:off x="120067" y="1588139"/>
            <a:ext cx="3452884" cy="5016758"/>
          </a:xfrm>
          <a:prstGeom prst="rect">
            <a:avLst/>
          </a:prstGeom>
          <a:noFill/>
        </p:spPr>
        <p:txBody>
          <a:bodyPr wrap="square" rtlCol="0">
            <a:spAutoFit/>
          </a:bodyPr>
          <a:lstStyle/>
          <a:p>
            <a:r>
              <a:rPr lang="ru-RU" sz="2000" dirty="0">
                <a:solidFill>
                  <a:schemeClr val="bg1">
                    <a:lumMod val="50000"/>
                  </a:schemeClr>
                </a:solidFill>
                <a:latin typeface="Century Gothic" panose="020B0502020202020204" pitchFamily="34" charset="0"/>
              </a:rPr>
              <a:t>Превосходная прозрачность шампуней и гелей для душа</a:t>
            </a:r>
            <a:endParaRPr lang="nl-NL" sz="2000" dirty="0">
              <a:solidFill>
                <a:schemeClr val="bg1">
                  <a:lumMod val="50000"/>
                </a:schemeClr>
              </a:solidFill>
              <a:latin typeface="Century Gothic" panose="020B0502020202020204" pitchFamily="34" charset="0"/>
            </a:endParaRPr>
          </a:p>
          <a:p>
            <a:endParaRPr lang="nl-NL" sz="2000" dirty="0">
              <a:solidFill>
                <a:schemeClr val="bg1">
                  <a:lumMod val="50000"/>
                </a:schemeClr>
              </a:solidFill>
              <a:latin typeface="Century Gothic" panose="020B0502020202020204" pitchFamily="34" charset="0"/>
            </a:endParaRPr>
          </a:p>
          <a:p>
            <a:r>
              <a:rPr lang="ru-RU" sz="2000" dirty="0">
                <a:solidFill>
                  <a:schemeClr val="bg1">
                    <a:lumMod val="50000"/>
                  </a:schemeClr>
                </a:solidFill>
                <a:latin typeface="Century Gothic" panose="020B0502020202020204" pitchFamily="34" charset="0"/>
              </a:rPr>
              <a:t>Превосходное кондиционирование</a:t>
            </a:r>
            <a:endParaRPr lang="nl-NL" sz="2000" dirty="0">
              <a:solidFill>
                <a:schemeClr val="bg1">
                  <a:lumMod val="50000"/>
                </a:schemeClr>
              </a:solidFill>
              <a:latin typeface="Century Gothic" panose="020B0502020202020204" pitchFamily="34" charset="0"/>
            </a:endParaRPr>
          </a:p>
          <a:p>
            <a:endParaRPr lang="nl-NL" sz="2000" dirty="0">
              <a:solidFill>
                <a:schemeClr val="bg1">
                  <a:lumMod val="50000"/>
                </a:schemeClr>
              </a:solidFill>
              <a:latin typeface="Century Gothic" panose="020B0502020202020204" pitchFamily="34" charset="0"/>
            </a:endParaRPr>
          </a:p>
          <a:p>
            <a:r>
              <a:rPr lang="ru-RU" sz="2000" dirty="0">
                <a:solidFill>
                  <a:schemeClr val="bg1">
                    <a:lumMod val="50000"/>
                  </a:schemeClr>
                </a:solidFill>
                <a:latin typeface="Century Gothic" panose="020B0502020202020204" pitchFamily="34" charset="0"/>
              </a:rPr>
              <a:t>Хорошее осаждение силиконовых эмульсий и других масел</a:t>
            </a:r>
            <a:endParaRPr lang="nl-NL" sz="2000" dirty="0">
              <a:solidFill>
                <a:schemeClr val="bg1">
                  <a:lumMod val="50000"/>
                </a:schemeClr>
              </a:solidFill>
              <a:latin typeface="Century Gothic" panose="020B0502020202020204" pitchFamily="34" charset="0"/>
            </a:endParaRPr>
          </a:p>
          <a:p>
            <a:endParaRPr lang="nl-NL" sz="2000" dirty="0">
              <a:solidFill>
                <a:schemeClr val="bg1">
                  <a:lumMod val="50000"/>
                </a:schemeClr>
              </a:solidFill>
              <a:latin typeface="Century Gothic" panose="020B0502020202020204" pitchFamily="34" charset="0"/>
            </a:endParaRPr>
          </a:p>
          <a:p>
            <a:r>
              <a:rPr lang="ru-RU" sz="2000" dirty="0">
                <a:solidFill>
                  <a:schemeClr val="bg1">
                    <a:lumMod val="50000"/>
                  </a:schemeClr>
                </a:solidFill>
                <a:latin typeface="Century Gothic" panose="020B0502020202020204" pitchFamily="34" charset="0"/>
              </a:rPr>
              <a:t>Низкая стоимость использования </a:t>
            </a:r>
            <a:endParaRPr lang="nl-NL" sz="2000" dirty="0">
              <a:solidFill>
                <a:schemeClr val="bg1">
                  <a:lumMod val="50000"/>
                </a:schemeClr>
              </a:solidFill>
              <a:latin typeface="Century Gothic" panose="020B0502020202020204" pitchFamily="34" charset="0"/>
            </a:endParaRPr>
          </a:p>
          <a:p>
            <a:endParaRPr lang="nl-NL" sz="2000" dirty="0">
              <a:solidFill>
                <a:schemeClr val="bg1">
                  <a:lumMod val="50000"/>
                </a:schemeClr>
              </a:solidFill>
              <a:latin typeface="Century Gothic" panose="020B0502020202020204" pitchFamily="34" charset="0"/>
            </a:endParaRPr>
          </a:p>
          <a:p>
            <a:r>
              <a:rPr lang="ru-RU" sz="2000" dirty="0">
                <a:solidFill>
                  <a:schemeClr val="bg1">
                    <a:lumMod val="50000"/>
                  </a:schemeClr>
                </a:solidFill>
                <a:latin typeface="Century Gothic" panose="020B0502020202020204" pitchFamily="34" charset="0"/>
              </a:rPr>
              <a:t>Совместимость со всеми ПАВ</a:t>
            </a:r>
            <a:endParaRPr lang="en-GB" dirty="0">
              <a:solidFill>
                <a:schemeClr val="bg1">
                  <a:lumMod val="50000"/>
                </a:schemeClr>
              </a:solidFill>
              <a:latin typeface="Century Gothic" panose="020B0502020202020204" pitchFamily="34" charset="0"/>
            </a:endParaRPr>
          </a:p>
        </p:txBody>
      </p:sp>
      <p:sp>
        <p:nvSpPr>
          <p:cNvPr id="5" name="TextBox 4"/>
          <p:cNvSpPr txBox="1"/>
          <p:nvPr/>
        </p:nvSpPr>
        <p:spPr>
          <a:xfrm>
            <a:off x="3524827" y="1645027"/>
            <a:ext cx="2866198" cy="5016758"/>
          </a:xfrm>
          <a:prstGeom prst="rect">
            <a:avLst/>
          </a:prstGeom>
          <a:noFill/>
        </p:spPr>
        <p:txBody>
          <a:bodyPr wrap="square" rtlCol="0">
            <a:spAutoFit/>
          </a:bodyPr>
          <a:lstStyle/>
          <a:p>
            <a:r>
              <a:rPr lang="ru-RU" sz="2000" dirty="0">
                <a:solidFill>
                  <a:schemeClr val="bg1">
                    <a:lumMod val="50000"/>
                  </a:schemeClr>
                </a:solidFill>
                <a:latin typeface="Century Gothic" panose="020B0502020202020204" pitchFamily="34" charset="0"/>
              </a:rPr>
              <a:t>Применим для всех видов пеномоющих продуктов</a:t>
            </a:r>
            <a:endParaRPr lang="nl-NL" sz="2000" dirty="0">
              <a:solidFill>
                <a:schemeClr val="bg1">
                  <a:lumMod val="50000"/>
                </a:schemeClr>
              </a:solidFill>
              <a:latin typeface="Century Gothic" panose="020B0502020202020204" pitchFamily="34" charset="0"/>
            </a:endParaRPr>
          </a:p>
          <a:p>
            <a:endParaRPr lang="nl-NL" sz="2000" dirty="0">
              <a:solidFill>
                <a:schemeClr val="bg1">
                  <a:lumMod val="50000"/>
                </a:schemeClr>
              </a:solidFill>
              <a:latin typeface="Century Gothic" panose="020B0502020202020204" pitchFamily="34" charset="0"/>
            </a:endParaRPr>
          </a:p>
          <a:p>
            <a:r>
              <a:rPr lang="ru-RU" sz="2000" dirty="0">
                <a:solidFill>
                  <a:schemeClr val="bg1">
                    <a:lumMod val="50000"/>
                  </a:schemeClr>
                </a:solidFill>
                <a:latin typeface="Century Gothic" panose="020B0502020202020204" pitchFamily="34" charset="0"/>
              </a:rPr>
              <a:t>Помогает создавать богатую по ощущениям кремовую пену, текстуру и скольжение. </a:t>
            </a:r>
            <a:endParaRPr lang="nl-NL" sz="2000" dirty="0">
              <a:solidFill>
                <a:schemeClr val="bg1">
                  <a:lumMod val="50000"/>
                </a:schemeClr>
              </a:solidFill>
              <a:latin typeface="Century Gothic" panose="020B0502020202020204" pitchFamily="34" charset="0"/>
            </a:endParaRPr>
          </a:p>
          <a:p>
            <a:r>
              <a:rPr lang="ru-RU" sz="2000" dirty="0">
                <a:solidFill>
                  <a:schemeClr val="bg1">
                    <a:lumMod val="50000"/>
                  </a:schemeClr>
                </a:solidFill>
                <a:latin typeface="Century Gothic" panose="020B0502020202020204" pitchFamily="34" charset="0"/>
              </a:rPr>
              <a:t>легко использовать, не требуется доведение </a:t>
            </a:r>
            <a:r>
              <a:rPr lang="en-US" sz="2000" dirty="0">
                <a:solidFill>
                  <a:schemeClr val="bg1">
                    <a:lumMod val="50000"/>
                  </a:schemeClr>
                </a:solidFill>
                <a:latin typeface="Century Gothic" panose="020B0502020202020204" pitchFamily="34" charset="0"/>
              </a:rPr>
              <a:t>pH</a:t>
            </a:r>
          </a:p>
          <a:p>
            <a:r>
              <a:rPr lang="ru-RU" sz="2000" dirty="0">
                <a:solidFill>
                  <a:schemeClr val="bg1">
                    <a:lumMod val="50000"/>
                  </a:schemeClr>
                </a:solidFill>
                <a:latin typeface="Century Gothic" panose="020B0502020202020204" pitchFamily="34" charset="0"/>
              </a:rPr>
              <a:t>Не влияет на цвет и на запах конечного продукта</a:t>
            </a:r>
            <a:endParaRPr lang="en-GB" dirty="0">
              <a:solidFill>
                <a:schemeClr val="bg1">
                  <a:lumMod val="50000"/>
                </a:schemeClr>
              </a:solidFill>
              <a:latin typeface="Century Gothic" panose="020B0502020202020204" pitchFamily="34" charset="0"/>
            </a:endParaRPr>
          </a:p>
        </p:txBody>
      </p:sp>
      <p:pic>
        <p:nvPicPr>
          <p:cNvPr id="6" name="Picture 5"/>
          <p:cNvPicPr>
            <a:picLocks noChangeAspect="1"/>
          </p:cNvPicPr>
          <p:nvPr/>
        </p:nvPicPr>
        <p:blipFill>
          <a:blip r:embed="rId2"/>
          <a:stretch>
            <a:fillRect/>
          </a:stretch>
        </p:blipFill>
        <p:spPr>
          <a:xfrm>
            <a:off x="6543413" y="1744796"/>
            <a:ext cx="2808234" cy="4345380"/>
          </a:xfrm>
          <a:prstGeom prst="rect">
            <a:avLst/>
          </a:prstGeom>
        </p:spPr>
      </p:pic>
    </p:spTree>
    <p:extLst>
      <p:ext uri="{BB962C8B-B14F-4D97-AF65-F5344CB8AC3E}">
        <p14:creationId xmlns:p14="http://schemas.microsoft.com/office/powerpoint/2010/main" val="36067016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a:t>
            </a:r>
            <a:r>
              <a:rPr lang="en-US" dirty="0" err="1">
                <a:latin typeface="Century Gothic" panose="020B0502020202020204" pitchFamily="34" charset="0"/>
              </a:rPr>
              <a:t>learHance</a:t>
            </a:r>
            <a:r>
              <a:rPr lang="en-US" dirty="0">
                <a:latin typeface="Century Gothic" panose="020B0502020202020204" pitchFamily="34" charset="0"/>
              </a:rPr>
              <a:t>™ </a:t>
            </a:r>
            <a:r>
              <a:rPr lang="en-US" dirty="0"/>
              <a:t>C</a:t>
            </a:r>
            <a:r>
              <a:rPr lang="en-US" dirty="0">
                <a:latin typeface="Century Gothic" panose="020B0502020202020204" pitchFamily="34" charset="0"/>
              </a:rPr>
              <a:t> – </a:t>
            </a:r>
            <a:r>
              <a:rPr lang="ru-RU" dirty="0">
                <a:latin typeface="Century Gothic" panose="020B0502020202020204" pitchFamily="34" charset="0"/>
              </a:rPr>
              <a:t/>
            </a:r>
            <a:br>
              <a:rPr lang="ru-RU" dirty="0">
                <a:latin typeface="Century Gothic" panose="020B0502020202020204" pitchFamily="34" charset="0"/>
              </a:rPr>
            </a:br>
            <a:r>
              <a:rPr lang="ru-RU" dirty="0"/>
              <a:t>химическая структура </a:t>
            </a:r>
            <a:endParaRPr lang="en-US" dirty="0">
              <a:latin typeface="Century Gothic" panose="020B0502020202020204" pitchFamily="34" charset="0"/>
            </a:endParaRPr>
          </a:p>
        </p:txBody>
      </p:sp>
      <p:sp>
        <p:nvSpPr>
          <p:cNvPr id="4" name="Slide Number Placeholder 3"/>
          <p:cNvSpPr>
            <a:spLocks noGrp="1"/>
          </p:cNvSpPr>
          <p:nvPr>
            <p:ph type="sldNum" sz="quarter" idx="4294967295"/>
          </p:nvPr>
        </p:nvSpPr>
        <p:spPr>
          <a:xfrm>
            <a:off x="294372" y="6270090"/>
            <a:ext cx="1137611" cy="365125"/>
          </a:xfrm>
        </p:spPr>
        <p:txBody>
          <a:bodyPr/>
          <a:lstStyle/>
          <a:p>
            <a:fld id="{91393B01-7800-434A-B836-B3320A3476BB}" type="slidenum">
              <a:rPr lang="en-US" smtClean="0">
                <a:latin typeface="Century Gothic Pro" panose="020B0502020202020204" pitchFamily="34" charset="0"/>
              </a:rPr>
              <a:pPr/>
              <a:t>25</a:t>
            </a:fld>
            <a:endParaRPr lang="en-US">
              <a:latin typeface="Century Gothic Pro" panose="020B0502020202020204" pitchFamily="34" charset="0"/>
            </a:endParaRPr>
          </a:p>
        </p:txBody>
      </p:sp>
      <p:sp>
        <p:nvSpPr>
          <p:cNvPr id="5" name="TextBox 4"/>
          <p:cNvSpPr txBox="1"/>
          <p:nvPr/>
        </p:nvSpPr>
        <p:spPr>
          <a:xfrm>
            <a:off x="377965" y="2229279"/>
            <a:ext cx="3430637" cy="369332"/>
          </a:xfrm>
          <a:prstGeom prst="rect">
            <a:avLst/>
          </a:prstGeom>
          <a:noFill/>
        </p:spPr>
        <p:txBody>
          <a:bodyPr wrap="square" rtlCol="0">
            <a:spAutoFit/>
          </a:bodyPr>
          <a:lstStyle/>
          <a:p>
            <a:r>
              <a:rPr lang="ru-RU" dirty="0">
                <a:solidFill>
                  <a:schemeClr val="accent3"/>
                </a:solidFill>
                <a:latin typeface="Century Gothic Pro" panose="020B0502020202020204" pitchFamily="34" charset="0"/>
              </a:rPr>
              <a:t>химическая структура</a:t>
            </a:r>
            <a:endParaRPr lang="nl-NL" dirty="0">
              <a:solidFill>
                <a:schemeClr val="accent3"/>
              </a:solidFill>
              <a:latin typeface="Century Gothic Pro" panose="020B0502020202020204" pitchFamily="34" charset="0"/>
            </a:endParaRPr>
          </a:p>
        </p:txBody>
      </p:sp>
      <p:cxnSp>
        <p:nvCxnSpPr>
          <p:cNvPr id="9" name="Straight Connector 8"/>
          <p:cNvCxnSpPr/>
          <p:nvPr/>
        </p:nvCxnSpPr>
        <p:spPr>
          <a:xfrm>
            <a:off x="4599907" y="2225689"/>
            <a:ext cx="0" cy="3291840"/>
          </a:xfrm>
          <a:prstGeom prst="line">
            <a:avLst/>
          </a:prstGeom>
          <a:ln/>
        </p:spPr>
        <p:style>
          <a:lnRef idx="1">
            <a:schemeClr val="accent3"/>
          </a:lnRef>
          <a:fillRef idx="0">
            <a:schemeClr val="accent3"/>
          </a:fillRef>
          <a:effectRef idx="0">
            <a:schemeClr val="accent3"/>
          </a:effectRef>
          <a:fontRef idx="minor">
            <a:schemeClr val="tx1"/>
          </a:fontRef>
        </p:style>
      </p:cxnSp>
      <p:graphicFrame>
        <p:nvGraphicFramePr>
          <p:cNvPr id="10" name="Table 9"/>
          <p:cNvGraphicFramePr>
            <a:graphicFrameLocks noGrp="1"/>
          </p:cNvGraphicFramePr>
          <p:nvPr>
            <p:extLst>
              <p:ext uri="{D42A27DB-BD31-4B8C-83A1-F6EECF244321}">
                <p14:modId xmlns:p14="http://schemas.microsoft.com/office/powerpoint/2010/main" val="1308683404"/>
              </p:ext>
            </p:extLst>
          </p:nvPr>
        </p:nvGraphicFramePr>
        <p:xfrm>
          <a:off x="4897661" y="3080498"/>
          <a:ext cx="4946176" cy="1920240"/>
        </p:xfrm>
        <a:graphic>
          <a:graphicData uri="http://schemas.openxmlformats.org/drawingml/2006/table">
            <a:tbl>
              <a:tblPr firstRow="1" bandRow="1">
                <a:tableStyleId>{8799B23B-EC83-4686-B30A-512413B5E67A}</a:tableStyleId>
              </a:tblPr>
              <a:tblGrid>
                <a:gridCol w="3380003">
                  <a:extLst>
                    <a:ext uri="{9D8B030D-6E8A-4147-A177-3AD203B41FA5}">
                      <a16:colId xmlns:a16="http://schemas.microsoft.com/office/drawing/2014/main" xmlns="" val="20000"/>
                    </a:ext>
                  </a:extLst>
                </a:gridCol>
                <a:gridCol w="1566173">
                  <a:extLst>
                    <a:ext uri="{9D8B030D-6E8A-4147-A177-3AD203B41FA5}">
                      <a16:colId xmlns:a16="http://schemas.microsoft.com/office/drawing/2014/main" xmlns="" val="20001"/>
                    </a:ext>
                  </a:extLst>
                </a:gridCol>
              </a:tblGrid>
              <a:tr h="259080">
                <a:tc>
                  <a:txBody>
                    <a:bodyPr/>
                    <a:lstStyle/>
                    <a:p>
                      <a:r>
                        <a:rPr lang="ru-RU" sz="1600" dirty="0">
                          <a:solidFill>
                            <a:schemeClr val="tx1">
                              <a:lumMod val="50000"/>
                              <a:lumOff val="50000"/>
                            </a:schemeClr>
                          </a:solidFill>
                          <a:latin typeface="Century Gothic Pro" panose="020B0502020202020204" pitchFamily="34" charset="0"/>
                        </a:rPr>
                        <a:t>свойства</a:t>
                      </a:r>
                      <a:endParaRPr lang="nl-NL" sz="1600" dirty="0">
                        <a:solidFill>
                          <a:schemeClr val="tx1">
                            <a:lumMod val="50000"/>
                            <a:lumOff val="50000"/>
                          </a:schemeClr>
                        </a:solidFill>
                        <a:latin typeface="Century Gothic Pro" panose="020B0502020202020204" pitchFamily="34" charset="0"/>
                      </a:endParaRPr>
                    </a:p>
                  </a:txBody>
                  <a:tcPr/>
                </a:tc>
                <a:tc>
                  <a:txBody>
                    <a:bodyPr/>
                    <a:lstStyle/>
                    <a:p>
                      <a:r>
                        <a:rPr lang="ru-RU" sz="1600" dirty="0">
                          <a:solidFill>
                            <a:schemeClr val="tx1">
                              <a:lumMod val="50000"/>
                              <a:lumOff val="50000"/>
                            </a:schemeClr>
                          </a:solidFill>
                          <a:latin typeface="Century Gothic Pro" panose="020B0502020202020204" pitchFamily="34" charset="0"/>
                        </a:rPr>
                        <a:t>показатели</a:t>
                      </a:r>
                      <a:endParaRPr lang="nl-NL" sz="1600" dirty="0">
                        <a:solidFill>
                          <a:schemeClr val="tx1">
                            <a:lumMod val="50000"/>
                            <a:lumOff val="50000"/>
                          </a:schemeClr>
                        </a:solidFill>
                        <a:latin typeface="Century Gothic Pro" panose="020B0502020202020204" pitchFamily="34" charset="0"/>
                      </a:endParaRPr>
                    </a:p>
                  </a:txBody>
                  <a:tcPr/>
                </a:tc>
                <a:extLst>
                  <a:ext uri="{0D108BD9-81ED-4DB2-BD59-A6C34878D82A}">
                    <a16:rowId xmlns:a16="http://schemas.microsoft.com/office/drawing/2014/main" xmlns="" val="10000"/>
                  </a:ext>
                </a:extLst>
              </a:tr>
              <a:tr h="222673">
                <a:tc>
                  <a:txBody>
                    <a:bodyPr/>
                    <a:lstStyle/>
                    <a:p>
                      <a:r>
                        <a:rPr lang="ru-RU" sz="1600" dirty="0">
                          <a:solidFill>
                            <a:schemeClr val="tx1">
                              <a:lumMod val="50000"/>
                              <a:lumOff val="50000"/>
                            </a:schemeClr>
                          </a:solidFill>
                          <a:latin typeface="Century Gothic Pro" panose="020B0502020202020204" pitchFamily="34" charset="0"/>
                        </a:rPr>
                        <a:t>Внешний вид</a:t>
                      </a:r>
                      <a:endParaRPr lang="nl-NL" sz="1600" dirty="0">
                        <a:solidFill>
                          <a:schemeClr val="tx1">
                            <a:lumMod val="50000"/>
                            <a:lumOff val="50000"/>
                          </a:schemeClr>
                        </a:solidFill>
                        <a:latin typeface="Century Gothic Pro" panose="020B0502020202020204" pitchFamily="34" charset="0"/>
                      </a:endParaRPr>
                    </a:p>
                  </a:txBody>
                  <a:tcPr/>
                </a:tc>
                <a:tc>
                  <a:txBody>
                    <a:bodyPr/>
                    <a:lstStyle/>
                    <a:p>
                      <a:r>
                        <a:rPr lang="ru-RU" sz="1600" dirty="0">
                          <a:solidFill>
                            <a:schemeClr val="tx1">
                              <a:lumMod val="65000"/>
                              <a:lumOff val="35000"/>
                            </a:schemeClr>
                          </a:solidFill>
                          <a:latin typeface="Century Gothic Pro" panose="020B0502020202020204" pitchFamily="34" charset="0"/>
                        </a:rPr>
                        <a:t>От белого</a:t>
                      </a:r>
                      <a:r>
                        <a:rPr lang="ru-RU" sz="1600" baseline="0" dirty="0">
                          <a:solidFill>
                            <a:schemeClr val="tx1">
                              <a:lumMod val="65000"/>
                              <a:lumOff val="35000"/>
                            </a:schemeClr>
                          </a:solidFill>
                          <a:latin typeface="Century Gothic Pro" panose="020B0502020202020204" pitchFamily="34" charset="0"/>
                        </a:rPr>
                        <a:t> до сероватого</a:t>
                      </a:r>
                      <a:endParaRPr lang="nl-NL" sz="1600" dirty="0">
                        <a:solidFill>
                          <a:schemeClr val="tx1">
                            <a:lumMod val="65000"/>
                            <a:lumOff val="35000"/>
                          </a:schemeClr>
                        </a:solidFill>
                        <a:latin typeface="Century Gothic Pro" panose="020B0502020202020204" pitchFamily="34" charset="0"/>
                      </a:endParaRPr>
                    </a:p>
                  </a:txBody>
                  <a:tcPr/>
                </a:tc>
                <a:extLst>
                  <a:ext uri="{0D108BD9-81ED-4DB2-BD59-A6C34878D82A}">
                    <a16:rowId xmlns:a16="http://schemas.microsoft.com/office/drawing/2014/main" xmlns="" val="10001"/>
                  </a:ext>
                </a:extLst>
              </a:tr>
              <a:tr h="222673">
                <a:tc>
                  <a:txBody>
                    <a:bodyPr/>
                    <a:lstStyle/>
                    <a:p>
                      <a:r>
                        <a:rPr lang="ru-RU" sz="1600" dirty="0">
                          <a:solidFill>
                            <a:schemeClr val="tx1">
                              <a:lumMod val="50000"/>
                              <a:lumOff val="50000"/>
                            </a:schemeClr>
                          </a:solidFill>
                          <a:latin typeface="Century Gothic Pro" panose="020B0502020202020204" pitchFamily="34" charset="0"/>
                        </a:rPr>
                        <a:t>Запах </a:t>
                      </a:r>
                      <a:endParaRPr lang="nl-NL" sz="1600" dirty="0">
                        <a:solidFill>
                          <a:schemeClr val="tx1">
                            <a:lumMod val="50000"/>
                            <a:lumOff val="50000"/>
                          </a:schemeClr>
                        </a:solidFill>
                        <a:latin typeface="Century Gothic Pro" panose="020B0502020202020204" pitchFamily="34" charset="0"/>
                      </a:endParaRPr>
                    </a:p>
                  </a:txBody>
                  <a:tcPr/>
                </a:tc>
                <a:tc>
                  <a:txBody>
                    <a:bodyPr/>
                    <a:lstStyle/>
                    <a:p>
                      <a:r>
                        <a:rPr lang="ru-RU" sz="1600" dirty="0">
                          <a:solidFill>
                            <a:schemeClr val="tx1">
                              <a:lumMod val="65000"/>
                              <a:lumOff val="35000"/>
                            </a:schemeClr>
                          </a:solidFill>
                          <a:latin typeface="Century Gothic Pro" panose="020B0502020202020204" pitchFamily="34" charset="0"/>
                        </a:rPr>
                        <a:t>характерный</a:t>
                      </a:r>
                      <a:endParaRPr lang="nl-NL" sz="1600" dirty="0">
                        <a:solidFill>
                          <a:schemeClr val="tx1">
                            <a:lumMod val="65000"/>
                            <a:lumOff val="35000"/>
                          </a:schemeClr>
                        </a:solidFill>
                        <a:latin typeface="Century Gothic Pro" panose="020B0502020202020204" pitchFamily="34" charset="0"/>
                      </a:endParaRPr>
                    </a:p>
                  </a:txBody>
                  <a:tcPr/>
                </a:tc>
                <a:extLst>
                  <a:ext uri="{0D108BD9-81ED-4DB2-BD59-A6C34878D82A}">
                    <a16:rowId xmlns:a16="http://schemas.microsoft.com/office/drawing/2014/main" xmlns="" val="10002"/>
                  </a:ext>
                </a:extLst>
              </a:tr>
              <a:tr h="222673">
                <a:tc>
                  <a:txBody>
                    <a:bodyPr/>
                    <a:lstStyle/>
                    <a:p>
                      <a:r>
                        <a:rPr lang="ru-RU" sz="1600" kern="1200" dirty="0">
                          <a:solidFill>
                            <a:schemeClr val="tx1">
                              <a:lumMod val="50000"/>
                              <a:lumOff val="50000"/>
                            </a:schemeClr>
                          </a:solidFill>
                          <a:latin typeface="Century Gothic Pro" panose="020B0502020202020204" pitchFamily="34" charset="0"/>
                        </a:rPr>
                        <a:t>Влажность </a:t>
                      </a:r>
                      <a:endParaRPr lang="nl-NL" sz="1600" dirty="0">
                        <a:solidFill>
                          <a:schemeClr val="tx1">
                            <a:lumMod val="50000"/>
                            <a:lumOff val="50000"/>
                          </a:schemeClr>
                        </a:solidFill>
                        <a:latin typeface="Century Gothic Pro" panose="020B0502020202020204" pitchFamily="34" charset="0"/>
                      </a:endParaRPr>
                    </a:p>
                  </a:txBody>
                  <a:tcPr/>
                </a:tc>
                <a:tc>
                  <a:txBody>
                    <a:bodyPr/>
                    <a:lstStyle/>
                    <a:p>
                      <a:r>
                        <a:rPr lang="nl-NL" sz="1600" dirty="0">
                          <a:solidFill>
                            <a:schemeClr val="tx1">
                              <a:lumMod val="65000"/>
                              <a:lumOff val="35000"/>
                            </a:schemeClr>
                          </a:solidFill>
                          <a:latin typeface="Century Gothic Pro" panose="020B0502020202020204" pitchFamily="34" charset="0"/>
                        </a:rPr>
                        <a:t>&lt;5%</a:t>
                      </a:r>
                    </a:p>
                  </a:txBody>
                  <a:tcPr/>
                </a:tc>
                <a:extLst>
                  <a:ext uri="{0D108BD9-81ED-4DB2-BD59-A6C34878D82A}">
                    <a16:rowId xmlns:a16="http://schemas.microsoft.com/office/drawing/2014/main" xmlns="" val="10003"/>
                  </a:ext>
                </a:extLst>
              </a:tr>
              <a:tr h="222673">
                <a:tc>
                  <a:txBody>
                    <a:bodyPr/>
                    <a:lstStyle/>
                    <a:p>
                      <a:r>
                        <a:rPr lang="ru-RU" sz="1600" kern="1200" dirty="0">
                          <a:solidFill>
                            <a:schemeClr val="tx1">
                              <a:lumMod val="50000"/>
                              <a:lumOff val="50000"/>
                            </a:schemeClr>
                          </a:solidFill>
                          <a:latin typeface="Century Gothic Pro" panose="020B0502020202020204" pitchFamily="34" charset="0"/>
                        </a:rPr>
                        <a:t>Зольность </a:t>
                      </a:r>
                      <a:endParaRPr lang="nl-NL" sz="1600" dirty="0">
                        <a:solidFill>
                          <a:schemeClr val="tx1">
                            <a:lumMod val="50000"/>
                            <a:lumOff val="50000"/>
                          </a:schemeClr>
                        </a:solidFill>
                        <a:latin typeface="Century Gothic Pro" panose="020B0502020202020204" pitchFamily="34" charset="0"/>
                      </a:endParaRPr>
                    </a:p>
                  </a:txBody>
                  <a:tcPr/>
                </a:tc>
                <a:tc>
                  <a:txBody>
                    <a:bodyPr/>
                    <a:lstStyle/>
                    <a:p>
                      <a:r>
                        <a:rPr lang="nl-NL" sz="1600" dirty="0">
                          <a:solidFill>
                            <a:schemeClr val="tx1">
                              <a:lumMod val="65000"/>
                              <a:lumOff val="35000"/>
                            </a:schemeClr>
                          </a:solidFill>
                          <a:latin typeface="Century Gothic Pro" panose="020B0502020202020204" pitchFamily="34" charset="0"/>
                        </a:rPr>
                        <a:t>&lt;5%</a:t>
                      </a:r>
                    </a:p>
                  </a:txBody>
                  <a:tcPr/>
                </a:tc>
                <a:extLst>
                  <a:ext uri="{0D108BD9-81ED-4DB2-BD59-A6C34878D82A}">
                    <a16:rowId xmlns:a16="http://schemas.microsoft.com/office/drawing/2014/main" xmlns="" val="10004"/>
                  </a:ext>
                </a:extLst>
              </a:tr>
            </a:tbl>
          </a:graphicData>
        </a:graphic>
      </p:graphicFrame>
      <p:sp>
        <p:nvSpPr>
          <p:cNvPr id="11" name="TextBox 10"/>
          <p:cNvSpPr txBox="1"/>
          <p:nvPr/>
        </p:nvSpPr>
        <p:spPr>
          <a:xfrm>
            <a:off x="4897661" y="2244992"/>
            <a:ext cx="2526721" cy="369332"/>
          </a:xfrm>
          <a:prstGeom prst="rect">
            <a:avLst/>
          </a:prstGeom>
          <a:noFill/>
        </p:spPr>
        <p:txBody>
          <a:bodyPr wrap="square" rtlCol="0">
            <a:spAutoFit/>
          </a:bodyPr>
          <a:lstStyle/>
          <a:p>
            <a:r>
              <a:rPr lang="ru-RU" dirty="0">
                <a:solidFill>
                  <a:schemeClr val="accent3"/>
                </a:solidFill>
                <a:latin typeface="Century Gothic Pro" panose="020B0502020202020204" pitchFamily="34" charset="0"/>
              </a:rPr>
              <a:t>Типичные свойства</a:t>
            </a:r>
            <a:endParaRPr lang="nl-NL" dirty="0">
              <a:solidFill>
                <a:schemeClr val="accent3"/>
              </a:solidFill>
              <a:latin typeface="Century Gothic Pro" panose="020B0502020202020204" pitchFamily="34" charset="0"/>
            </a:endParaRPr>
          </a:p>
        </p:txBody>
      </p:sp>
      <p:sp>
        <p:nvSpPr>
          <p:cNvPr id="12" name="TextBox 11"/>
          <p:cNvSpPr txBox="1"/>
          <p:nvPr/>
        </p:nvSpPr>
        <p:spPr>
          <a:xfrm>
            <a:off x="294372" y="5334929"/>
            <a:ext cx="3351404" cy="338554"/>
          </a:xfrm>
          <a:prstGeom prst="rect">
            <a:avLst/>
          </a:prstGeom>
          <a:noFill/>
        </p:spPr>
        <p:txBody>
          <a:bodyPr wrap="square" rtlCol="0">
            <a:spAutoFit/>
          </a:bodyPr>
          <a:lstStyle/>
          <a:p>
            <a:r>
              <a:rPr lang="nl-NL" sz="1600" dirty="0">
                <a:solidFill>
                  <a:schemeClr val="bg1">
                    <a:lumMod val="50000"/>
                  </a:schemeClr>
                </a:solidFill>
                <a:latin typeface="Century Gothic Pro" panose="020B0502020202020204" pitchFamily="34" charset="0"/>
              </a:rPr>
              <a:t>CAS Number: 1898261-91-0</a:t>
            </a:r>
          </a:p>
        </p:txBody>
      </p:sp>
      <p:pic>
        <p:nvPicPr>
          <p:cNvPr id="1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425" y="2827090"/>
            <a:ext cx="4407617" cy="1828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14"/>
          <p:cNvSpPr txBox="1"/>
          <p:nvPr/>
        </p:nvSpPr>
        <p:spPr>
          <a:xfrm>
            <a:off x="457198" y="1476563"/>
            <a:ext cx="6570448" cy="369332"/>
          </a:xfrm>
          <a:prstGeom prst="rect">
            <a:avLst/>
          </a:prstGeom>
          <a:noFill/>
        </p:spPr>
        <p:txBody>
          <a:bodyPr wrap="square" rtlCol="0">
            <a:spAutoFit/>
          </a:bodyPr>
          <a:lstStyle/>
          <a:p>
            <a:r>
              <a:rPr lang="nl-NL" dirty="0">
                <a:solidFill>
                  <a:srgbClr val="92D050"/>
                </a:solidFill>
                <a:latin typeface="Century Gothic" panose="020B0502020202020204" pitchFamily="34" charset="0"/>
              </a:rPr>
              <a:t>INCI name : cassia hydroxypropyltrimonium chloride</a:t>
            </a:r>
          </a:p>
        </p:txBody>
      </p:sp>
    </p:spTree>
    <p:extLst>
      <p:ext uri="{BB962C8B-B14F-4D97-AF65-F5344CB8AC3E}">
        <p14:creationId xmlns:p14="http://schemas.microsoft.com/office/powerpoint/2010/main" val="14183643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529" y="0"/>
            <a:ext cx="9144000" cy="1325563"/>
          </a:xfrm>
        </p:spPr>
        <p:txBody>
          <a:bodyPr>
            <a:normAutofit/>
          </a:bodyPr>
          <a:lstStyle/>
          <a:p>
            <a:r>
              <a:rPr lang="en-US" dirty="0">
                <a:latin typeface="Century Gothic" panose="020B0502020202020204" pitchFamily="34" charset="0"/>
              </a:rPr>
              <a:t>clearHance™ c –</a:t>
            </a:r>
            <a:r>
              <a:rPr lang="ru-RU" dirty="0">
                <a:latin typeface="Century Gothic" panose="020B0502020202020204" pitchFamily="34" charset="0"/>
              </a:rPr>
              <a:t/>
            </a:r>
            <a:br>
              <a:rPr lang="ru-RU" dirty="0">
                <a:latin typeface="Century Gothic" panose="020B0502020202020204" pitchFamily="34" charset="0"/>
              </a:rPr>
            </a:br>
            <a:r>
              <a:rPr lang="ru-RU" dirty="0"/>
              <a:t>превосходная прозрачность</a:t>
            </a:r>
            <a:endParaRPr lang="en-GB" dirty="0">
              <a:latin typeface="Century Gothic Pro" panose="020B0502020202020204" pitchFamily="34" charset="0"/>
            </a:endParaRPr>
          </a:p>
        </p:txBody>
      </p:sp>
      <p:pic>
        <p:nvPicPr>
          <p:cNvPr id="5" name="Picture 4" descr="C:\Users\a798855\Desktop\IMG_3486.JPG"/>
          <p:cNvPicPr>
            <a:picLocks noChangeAspect="1" noChangeArrowheads="1"/>
          </p:cNvPicPr>
          <p:nvPr/>
        </p:nvPicPr>
        <p:blipFill>
          <a:blip r:embed="rId2" cstate="print"/>
          <a:srcRect/>
          <a:stretch>
            <a:fillRect/>
          </a:stretch>
        </p:blipFill>
        <p:spPr bwMode="auto">
          <a:xfrm>
            <a:off x="457198" y="1645584"/>
            <a:ext cx="6357052" cy="4767789"/>
          </a:xfrm>
          <a:prstGeom prst="rect">
            <a:avLst/>
          </a:prstGeom>
          <a:noFill/>
        </p:spPr>
      </p:pic>
      <p:sp>
        <p:nvSpPr>
          <p:cNvPr id="3" name="TextBox 2"/>
          <p:cNvSpPr txBox="1"/>
          <p:nvPr/>
        </p:nvSpPr>
        <p:spPr>
          <a:xfrm>
            <a:off x="7228454" y="1645584"/>
            <a:ext cx="2358887" cy="4247317"/>
          </a:xfrm>
          <a:prstGeom prst="rect">
            <a:avLst/>
          </a:prstGeom>
          <a:noFill/>
        </p:spPr>
        <p:txBody>
          <a:bodyPr wrap="square" rtlCol="0">
            <a:spAutoFit/>
          </a:bodyPr>
          <a:lstStyle/>
          <a:p>
            <a:r>
              <a:rPr lang="ru-RU" dirty="0">
                <a:solidFill>
                  <a:schemeClr val="bg1">
                    <a:lumMod val="50000"/>
                  </a:schemeClr>
                </a:solidFill>
                <a:latin typeface="Century Gothic" panose="020B0502020202020204" pitchFamily="34" charset="0"/>
              </a:rPr>
              <a:t>Для проверки на прозрачность составлялись прототипные рецептуры с </a:t>
            </a:r>
            <a:r>
              <a:rPr lang="nl-NL" dirty="0">
                <a:solidFill>
                  <a:schemeClr val="bg1">
                    <a:lumMod val="50000"/>
                  </a:schemeClr>
                </a:solidFill>
                <a:latin typeface="Century Gothic" panose="020B0502020202020204" pitchFamily="34" charset="0"/>
              </a:rPr>
              <a:t>0,2% </a:t>
            </a:r>
            <a:r>
              <a:rPr lang="en-US" dirty="0">
                <a:solidFill>
                  <a:schemeClr val="accent3"/>
                </a:solidFill>
                <a:latin typeface="Century Gothic" panose="020B0502020202020204" pitchFamily="34" charset="0"/>
              </a:rPr>
              <a:t>C</a:t>
            </a:r>
            <a:r>
              <a:rPr lang="nl-NL" dirty="0">
                <a:solidFill>
                  <a:schemeClr val="accent3"/>
                </a:solidFill>
                <a:latin typeface="Century Gothic" panose="020B0502020202020204" pitchFamily="34" charset="0"/>
              </a:rPr>
              <a:t>learHance c</a:t>
            </a:r>
            <a:endParaRPr lang="ru-RU" dirty="0">
              <a:solidFill>
                <a:schemeClr val="accent3"/>
              </a:solidFill>
              <a:latin typeface="Century Gothic" panose="020B0502020202020204" pitchFamily="34" charset="0"/>
            </a:endParaRPr>
          </a:p>
          <a:p>
            <a:r>
              <a:rPr lang="ru-RU" dirty="0">
                <a:solidFill>
                  <a:schemeClr val="bg1">
                    <a:lumMod val="50000"/>
                  </a:schemeClr>
                </a:solidFill>
                <a:latin typeface="Century Gothic" panose="020B0502020202020204" pitchFamily="34" charset="0"/>
              </a:rPr>
              <a:t>, которые включают бессиликоновые, бессульфатные, противоперхотные,  типичные со </a:t>
            </a:r>
            <a:r>
              <a:rPr lang="en-US" dirty="0">
                <a:solidFill>
                  <a:schemeClr val="bg1">
                    <a:lumMod val="50000"/>
                  </a:schemeClr>
                </a:solidFill>
                <a:latin typeface="Century Gothic" panose="020B0502020202020204" pitchFamily="34" charset="0"/>
              </a:rPr>
              <a:t>SLS/SLES </a:t>
            </a:r>
            <a:r>
              <a:rPr lang="ru-RU" dirty="0">
                <a:solidFill>
                  <a:schemeClr val="bg1">
                    <a:lumMod val="50000"/>
                  </a:schemeClr>
                </a:solidFill>
                <a:latin typeface="Century Gothic" panose="020B0502020202020204" pitchFamily="34" charset="0"/>
              </a:rPr>
              <a:t>и шампуни с силиконами </a:t>
            </a:r>
            <a:r>
              <a:rPr lang="nl-NL" dirty="0">
                <a:solidFill>
                  <a:schemeClr val="bg1">
                    <a:lumMod val="50000"/>
                  </a:schemeClr>
                </a:solidFill>
              </a:rPr>
              <a:t> </a:t>
            </a:r>
            <a:endParaRPr lang="en-GB" dirty="0">
              <a:solidFill>
                <a:schemeClr val="bg1">
                  <a:lumMod val="50000"/>
                </a:schemeClr>
              </a:solidFill>
            </a:endParaRPr>
          </a:p>
        </p:txBody>
      </p:sp>
      <p:graphicFrame>
        <p:nvGraphicFramePr>
          <p:cNvPr id="6" name="Table 5"/>
          <p:cNvGraphicFramePr>
            <a:graphicFrameLocks noGrp="1"/>
          </p:cNvGraphicFramePr>
          <p:nvPr>
            <p:extLst/>
          </p:nvPr>
        </p:nvGraphicFramePr>
        <p:xfrm>
          <a:off x="556106" y="3844059"/>
          <a:ext cx="5706150" cy="518160"/>
        </p:xfrm>
        <a:graphic>
          <a:graphicData uri="http://schemas.openxmlformats.org/drawingml/2006/table">
            <a:tbl>
              <a:tblPr firstRow="1" bandRow="1">
                <a:tableStyleId>{F5AB1C69-6EDB-4FF4-983F-18BD219EF322}</a:tableStyleId>
              </a:tblPr>
              <a:tblGrid>
                <a:gridCol w="1044133">
                  <a:extLst>
                    <a:ext uri="{9D8B030D-6E8A-4147-A177-3AD203B41FA5}">
                      <a16:colId xmlns:a16="http://schemas.microsoft.com/office/drawing/2014/main" xmlns="" val="2733988307"/>
                    </a:ext>
                  </a:extLst>
                </a:gridCol>
                <a:gridCol w="1134906">
                  <a:extLst>
                    <a:ext uri="{9D8B030D-6E8A-4147-A177-3AD203B41FA5}">
                      <a16:colId xmlns:a16="http://schemas.microsoft.com/office/drawing/2014/main" xmlns="" val="3377405328"/>
                    </a:ext>
                  </a:extLst>
                </a:gridCol>
                <a:gridCol w="1029683">
                  <a:extLst>
                    <a:ext uri="{9D8B030D-6E8A-4147-A177-3AD203B41FA5}">
                      <a16:colId xmlns:a16="http://schemas.microsoft.com/office/drawing/2014/main" xmlns="" val="3437416993"/>
                    </a:ext>
                  </a:extLst>
                </a:gridCol>
                <a:gridCol w="1029681">
                  <a:extLst>
                    <a:ext uri="{9D8B030D-6E8A-4147-A177-3AD203B41FA5}">
                      <a16:colId xmlns:a16="http://schemas.microsoft.com/office/drawing/2014/main" xmlns="" val="2659651110"/>
                    </a:ext>
                  </a:extLst>
                </a:gridCol>
                <a:gridCol w="1467747">
                  <a:extLst>
                    <a:ext uri="{9D8B030D-6E8A-4147-A177-3AD203B41FA5}">
                      <a16:colId xmlns:a16="http://schemas.microsoft.com/office/drawing/2014/main" xmlns="" val="41684035"/>
                    </a:ext>
                  </a:extLst>
                </a:gridCol>
              </a:tblGrid>
              <a:tr h="370840">
                <a:tc>
                  <a:txBody>
                    <a:bodyPr/>
                    <a:lstStyle/>
                    <a:p>
                      <a:r>
                        <a:rPr lang="nl-NL" sz="1400" dirty="0">
                          <a:latin typeface="Century Gothic Pro" panose="020B0502020202020204" pitchFamily="34" charset="0"/>
                        </a:rPr>
                        <a:t>silicone free</a:t>
                      </a:r>
                      <a:endParaRPr lang="en-GB" sz="1400" dirty="0">
                        <a:latin typeface="Century Gothic Pro" panose="020B0502020202020204" pitchFamily="34" charset="0"/>
                      </a:endParaRPr>
                    </a:p>
                  </a:txBody>
                  <a:tcPr/>
                </a:tc>
                <a:tc>
                  <a:txBody>
                    <a:bodyPr/>
                    <a:lstStyle/>
                    <a:p>
                      <a:r>
                        <a:rPr lang="nl-NL" sz="1400" dirty="0">
                          <a:latin typeface="Century Gothic Pro" panose="020B0502020202020204" pitchFamily="34" charset="0"/>
                        </a:rPr>
                        <a:t>sulphate free</a:t>
                      </a:r>
                      <a:endParaRPr lang="en-GB" sz="1400" dirty="0">
                        <a:latin typeface="Century Gothic Pro" panose="020B0502020202020204" pitchFamily="34" charset="0"/>
                      </a:endParaRPr>
                    </a:p>
                  </a:txBody>
                  <a:tcPr/>
                </a:tc>
                <a:tc>
                  <a:txBody>
                    <a:bodyPr/>
                    <a:lstStyle/>
                    <a:p>
                      <a:r>
                        <a:rPr lang="nl-NL" sz="1400" dirty="0">
                          <a:latin typeface="Century Gothic Pro" panose="020B0502020202020204" pitchFamily="34" charset="0"/>
                        </a:rPr>
                        <a:t>regular shampoo</a:t>
                      </a:r>
                      <a:endParaRPr lang="en-GB" sz="1400" dirty="0">
                        <a:latin typeface="Century Gothic Pro" panose="020B0502020202020204" pitchFamily="34" charset="0"/>
                      </a:endParaRPr>
                    </a:p>
                  </a:txBody>
                  <a:tcPr/>
                </a:tc>
                <a:tc>
                  <a:txBody>
                    <a:bodyPr/>
                    <a:lstStyle/>
                    <a:p>
                      <a:r>
                        <a:rPr lang="nl-NL" sz="1400" dirty="0">
                          <a:latin typeface="Century Gothic Pro" panose="020B0502020202020204" pitchFamily="34" charset="0"/>
                        </a:rPr>
                        <a:t>silicone shampoo</a:t>
                      </a:r>
                      <a:endParaRPr lang="en-GB" sz="1400" dirty="0">
                        <a:latin typeface="Century Gothic Pro" panose="020B0502020202020204" pitchFamily="34" charset="0"/>
                      </a:endParaRPr>
                    </a:p>
                  </a:txBody>
                  <a:tcPr/>
                </a:tc>
                <a:tc>
                  <a:txBody>
                    <a:bodyPr/>
                    <a:lstStyle/>
                    <a:p>
                      <a:r>
                        <a:rPr lang="nl-NL" sz="1400" dirty="0">
                          <a:latin typeface="Century Gothic Pro" panose="020B0502020202020204" pitchFamily="34" charset="0"/>
                        </a:rPr>
                        <a:t>anti dandruff</a:t>
                      </a:r>
                    </a:p>
                    <a:p>
                      <a:r>
                        <a:rPr lang="nl-NL" sz="1400" baseline="0" dirty="0">
                          <a:latin typeface="Century Gothic Pro" panose="020B0502020202020204" pitchFamily="34" charset="0"/>
                        </a:rPr>
                        <a:t>shampoo</a:t>
                      </a:r>
                      <a:endParaRPr lang="en-GB" sz="1400" dirty="0">
                        <a:latin typeface="Century Gothic Pro" panose="020B0502020202020204" pitchFamily="34" charset="0"/>
                      </a:endParaRPr>
                    </a:p>
                  </a:txBody>
                  <a:tcPr/>
                </a:tc>
                <a:extLst>
                  <a:ext uri="{0D108BD9-81ED-4DB2-BD59-A6C34878D82A}">
                    <a16:rowId xmlns:a16="http://schemas.microsoft.com/office/drawing/2014/main" xmlns="" val="2771127336"/>
                  </a:ext>
                </a:extLst>
              </a:tr>
            </a:tbl>
          </a:graphicData>
        </a:graphic>
      </p:graphicFrame>
    </p:spTree>
    <p:extLst>
      <p:ext uri="{BB962C8B-B14F-4D97-AF65-F5344CB8AC3E}">
        <p14:creationId xmlns:p14="http://schemas.microsoft.com/office/powerpoint/2010/main" val="4591255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latin typeface="Century Gothic" panose="020B0502020202020204" pitchFamily="34" charset="0"/>
              </a:rPr>
              <a:t>clearHance™ c – </a:t>
            </a:r>
            <a:r>
              <a:rPr lang="ru-RU" dirty="0">
                <a:latin typeface="Century Gothic Pro" panose="020B0502020202020204" pitchFamily="34" charset="0"/>
              </a:rPr>
              <a:t>превосходная прозрачность</a:t>
            </a:r>
            <a:endParaRPr lang="nl-NL" dirty="0">
              <a:latin typeface="Century Gothic Pro" panose="020B0502020202020204" pitchFamily="34" charset="0"/>
            </a:endParaRPr>
          </a:p>
        </p:txBody>
      </p:sp>
      <p:sp>
        <p:nvSpPr>
          <p:cNvPr id="3" name="Slide Number Placeholder 2"/>
          <p:cNvSpPr>
            <a:spLocks noGrp="1"/>
          </p:cNvSpPr>
          <p:nvPr>
            <p:ph type="sldNum" sz="quarter" idx="12"/>
          </p:nvPr>
        </p:nvSpPr>
        <p:spPr/>
        <p:txBody>
          <a:bodyPr/>
          <a:lstStyle/>
          <a:p>
            <a:fld id="{91393B01-7800-434A-B836-B3320A3476BB}" type="slidenum">
              <a:rPr lang="en-US" smtClean="0"/>
              <a:pPr/>
              <a:t>27</a:t>
            </a:fld>
            <a:endParaRPr lang="en-US"/>
          </a:p>
        </p:txBody>
      </p:sp>
      <p:graphicFrame>
        <p:nvGraphicFramePr>
          <p:cNvPr id="5" name="Chart 4"/>
          <p:cNvGraphicFramePr>
            <a:graphicFrameLocks/>
          </p:cNvGraphicFramePr>
          <p:nvPr>
            <p:extLst/>
          </p:nvPr>
        </p:nvGraphicFramePr>
        <p:xfrm>
          <a:off x="145774" y="1745870"/>
          <a:ext cx="9594574" cy="459701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409069" y="6275651"/>
            <a:ext cx="6004258" cy="338554"/>
          </a:xfrm>
          <a:prstGeom prst="rect">
            <a:avLst/>
          </a:prstGeom>
          <a:noFill/>
        </p:spPr>
        <p:txBody>
          <a:bodyPr wrap="square" rtlCol="0">
            <a:spAutoFit/>
          </a:bodyPr>
          <a:lstStyle/>
          <a:p>
            <a:r>
              <a:rPr lang="ru-RU" sz="1600" dirty="0">
                <a:solidFill>
                  <a:schemeClr val="bg1">
                    <a:lumMod val="50000"/>
                  </a:schemeClr>
                </a:solidFill>
                <a:latin typeface="Century Gothic Pro" panose="020B0502020202020204" pitchFamily="34" charset="0"/>
              </a:rPr>
              <a:t>Условия теста</a:t>
            </a:r>
            <a:r>
              <a:rPr lang="en-US" sz="1600" dirty="0">
                <a:solidFill>
                  <a:schemeClr val="bg1">
                    <a:lumMod val="50000"/>
                  </a:schemeClr>
                </a:solidFill>
                <a:latin typeface="Century Gothic Pro" panose="020B0502020202020204" pitchFamily="34" charset="0"/>
              </a:rPr>
              <a:t>: 12%SLES/2%CAPB 0,2% Polymer 2%  NaCl</a:t>
            </a:r>
          </a:p>
        </p:txBody>
      </p:sp>
      <p:sp>
        <p:nvSpPr>
          <p:cNvPr id="4" name="TextBox 3"/>
          <p:cNvSpPr txBox="1"/>
          <p:nvPr/>
        </p:nvSpPr>
        <p:spPr>
          <a:xfrm>
            <a:off x="457198" y="1474552"/>
            <a:ext cx="5828647" cy="461665"/>
          </a:xfrm>
          <a:prstGeom prst="rect">
            <a:avLst/>
          </a:prstGeom>
          <a:noFill/>
        </p:spPr>
        <p:txBody>
          <a:bodyPr wrap="none" rtlCol="0">
            <a:spAutoFit/>
          </a:bodyPr>
          <a:lstStyle/>
          <a:p>
            <a:r>
              <a:rPr lang="ru-RU" sz="2400" dirty="0">
                <a:solidFill>
                  <a:schemeClr val="accent3"/>
                </a:solidFill>
                <a:latin typeface="Century Gothic Pro" panose="020B0502020202020204" pitchFamily="34" charset="0"/>
              </a:rPr>
              <a:t>сравнение с различными полисахаридами</a:t>
            </a:r>
            <a:endParaRPr lang="en-US" sz="2400" dirty="0">
              <a:solidFill>
                <a:schemeClr val="accent3"/>
              </a:solidFill>
            </a:endParaRPr>
          </a:p>
        </p:txBody>
      </p:sp>
    </p:spTree>
    <p:extLst>
      <p:ext uri="{BB962C8B-B14F-4D97-AF65-F5344CB8AC3E}">
        <p14:creationId xmlns:p14="http://schemas.microsoft.com/office/powerpoint/2010/main" val="19100728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327" y="136526"/>
            <a:ext cx="9213273" cy="1040764"/>
          </a:xfrm>
        </p:spPr>
        <p:txBody>
          <a:bodyPr>
            <a:noAutofit/>
          </a:bodyPr>
          <a:lstStyle/>
          <a:p>
            <a:r>
              <a:rPr lang="en-US" dirty="0">
                <a:latin typeface="Century Gothic" panose="020B0502020202020204" pitchFamily="34" charset="0"/>
              </a:rPr>
              <a:t>clearHance™ c –</a:t>
            </a:r>
            <a:r>
              <a:rPr lang="ru-RU" dirty="0">
                <a:latin typeface="Century Gothic" panose="020B0502020202020204" pitchFamily="34" charset="0"/>
              </a:rPr>
              <a:t/>
            </a:r>
            <a:br>
              <a:rPr lang="ru-RU" dirty="0">
                <a:latin typeface="Century Gothic" panose="020B0502020202020204" pitchFamily="34" charset="0"/>
              </a:rPr>
            </a:br>
            <a:r>
              <a:rPr lang="ru-RU" dirty="0"/>
              <a:t>превосходное кондиционирование</a:t>
            </a:r>
            <a:endParaRPr lang="en-GB" dirty="0">
              <a:latin typeface="Century Gothic" panose="020B0502020202020204" pitchFamily="34" charset="0"/>
            </a:endParaRPr>
          </a:p>
        </p:txBody>
      </p:sp>
      <p:sp>
        <p:nvSpPr>
          <p:cNvPr id="4" name="TextBox 3"/>
          <p:cNvSpPr txBox="1"/>
          <p:nvPr/>
        </p:nvSpPr>
        <p:spPr>
          <a:xfrm>
            <a:off x="449806" y="6013784"/>
            <a:ext cx="6004258" cy="584775"/>
          </a:xfrm>
          <a:prstGeom prst="rect">
            <a:avLst/>
          </a:prstGeom>
          <a:noFill/>
        </p:spPr>
        <p:txBody>
          <a:bodyPr wrap="square" rtlCol="0">
            <a:spAutoFit/>
          </a:bodyPr>
          <a:lstStyle/>
          <a:p>
            <a:r>
              <a:rPr lang="ru-RU" sz="1600" dirty="0">
                <a:solidFill>
                  <a:schemeClr val="tx1">
                    <a:lumMod val="65000"/>
                    <a:lumOff val="35000"/>
                  </a:schemeClr>
                </a:solidFill>
              </a:rPr>
              <a:t>Условия теста</a:t>
            </a:r>
            <a:r>
              <a:rPr lang="en-US" sz="1600" dirty="0">
                <a:solidFill>
                  <a:schemeClr val="tx1">
                    <a:lumMod val="65000"/>
                    <a:lumOff val="35000"/>
                  </a:schemeClr>
                </a:solidFill>
              </a:rPr>
              <a:t>: 12%SLES/2%CAPB 0,2% Polymer 2%  NaCl</a:t>
            </a:r>
          </a:p>
          <a:p>
            <a:r>
              <a:rPr lang="ru-RU" sz="1600" dirty="0">
                <a:solidFill>
                  <a:schemeClr val="tx1">
                    <a:lumMod val="65000"/>
                    <a:lumOff val="35000"/>
                  </a:schemeClr>
                </a:solidFill>
              </a:rPr>
              <a:t>Наносилось на дважды обесцвеченные волосы</a:t>
            </a:r>
            <a:endParaRPr lang="nl-NL" sz="1600" dirty="0">
              <a:solidFill>
                <a:schemeClr val="tx1">
                  <a:lumMod val="65000"/>
                  <a:lumOff val="35000"/>
                </a:schemeClr>
              </a:solidFill>
            </a:endParaRPr>
          </a:p>
        </p:txBody>
      </p:sp>
      <p:graphicFrame>
        <p:nvGraphicFramePr>
          <p:cNvPr id="6" name="Chart 5"/>
          <p:cNvGraphicFramePr>
            <a:graphicFrameLocks/>
          </p:cNvGraphicFramePr>
          <p:nvPr>
            <p:extLst/>
          </p:nvPr>
        </p:nvGraphicFramePr>
        <p:xfrm>
          <a:off x="169266" y="1403483"/>
          <a:ext cx="8366342" cy="4384108"/>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169266" y="1514887"/>
            <a:ext cx="3275256" cy="400110"/>
          </a:xfrm>
          <a:prstGeom prst="rect">
            <a:avLst/>
          </a:prstGeom>
          <a:noFill/>
        </p:spPr>
        <p:txBody>
          <a:bodyPr wrap="none" rtlCol="0">
            <a:spAutoFit/>
          </a:bodyPr>
          <a:lstStyle/>
          <a:p>
            <a:r>
              <a:rPr lang="ru-RU" sz="2000" dirty="0">
                <a:solidFill>
                  <a:schemeClr val="accent3"/>
                </a:solidFill>
              </a:rPr>
              <a:t>В прозрачных системах</a:t>
            </a:r>
            <a:endParaRPr lang="en-US" sz="2000" dirty="0">
              <a:solidFill>
                <a:schemeClr val="accent3"/>
              </a:solidFill>
            </a:endParaRPr>
          </a:p>
        </p:txBody>
      </p:sp>
    </p:spTree>
    <p:extLst>
      <p:ext uri="{BB962C8B-B14F-4D97-AF65-F5344CB8AC3E}">
        <p14:creationId xmlns:p14="http://schemas.microsoft.com/office/powerpoint/2010/main" val="28984192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1393B01-7800-434A-B836-B3320A3476BB}" type="slidenum">
              <a:rPr kumimoji="0" lang="en-US" sz="1200" b="1"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Rectangle 5"/>
          <p:cNvSpPr/>
          <p:nvPr/>
        </p:nvSpPr>
        <p:spPr>
          <a:xfrm>
            <a:off x="0" y="0"/>
            <a:ext cx="10058400" cy="53062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4950" marR="0" lvl="0" indent="0" algn="l" defTabSz="914400" rtl="0" eaLnBrk="1" fontAlgn="auto" latinLnBrk="0" hangingPunct="1">
              <a:lnSpc>
                <a:spcPct val="100000"/>
              </a:lnSpc>
              <a:spcBef>
                <a:spcPts val="0"/>
              </a:spcBef>
              <a:spcAft>
                <a:spcPts val="0"/>
              </a:spcAft>
              <a:buClrTx/>
              <a:buSzTx/>
              <a:buFontTx/>
              <a:buNone/>
              <a:tabLst/>
              <a:defRPr/>
            </a:pPr>
            <a:r>
              <a:rPr lang="ru-RU" sz="4200" b="1" dirty="0">
                <a:solidFill>
                  <a:prstClr val="white"/>
                </a:solidFill>
                <a:latin typeface="Century Gothic"/>
              </a:rPr>
              <a:t>Защита кончиков волос от повреждения</a:t>
            </a:r>
            <a:endParaRPr kumimoji="0" lang="en-US" sz="4200" b="1" i="0" u="none" strike="noStrike" kern="1200" cap="none" spc="0" normalizeH="0" baseline="0" noProof="0" dirty="0">
              <a:ln>
                <a:noFill/>
              </a:ln>
              <a:solidFill>
                <a:prstClr val="white"/>
              </a:solidFill>
              <a:effectLst/>
              <a:uLnTx/>
              <a:uFillTx/>
              <a:latin typeface="Century Gothic"/>
              <a:ea typeface="+mn-ea"/>
              <a:cs typeface="+mn-cs"/>
            </a:endParaRPr>
          </a:p>
        </p:txBody>
      </p:sp>
    </p:spTree>
    <p:extLst>
      <p:ext uri="{BB962C8B-B14F-4D97-AF65-F5344CB8AC3E}">
        <p14:creationId xmlns:p14="http://schemas.microsoft.com/office/powerpoint/2010/main" val="764283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759132" y="194600"/>
            <a:ext cx="7959634" cy="1569660"/>
          </a:xfrm>
          <a:prstGeom prst="rect">
            <a:avLst/>
          </a:prstGeom>
        </p:spPr>
        <p:txBody>
          <a:bodyPr wrap="square">
            <a:spAutoFit/>
          </a:bodyPr>
          <a:lstStyle/>
          <a:p>
            <a:r>
              <a:rPr lang="ru-RU" sz="3200" dirty="0">
                <a:solidFill>
                  <a:schemeClr val="accent3"/>
                </a:solidFill>
                <a:latin typeface="Century Gothic Pro" panose="020B0502020202020204" pitchFamily="34" charset="0"/>
                <a:ea typeface="ヒラギノ角ゴ Pro W3"/>
                <a:cs typeface="ヒラギノ角ゴ Pro W3"/>
              </a:rPr>
              <a:t>Комплексный подход </a:t>
            </a:r>
            <a:r>
              <a:rPr lang="en-US" sz="3200" dirty="0">
                <a:solidFill>
                  <a:schemeClr val="accent3"/>
                </a:solidFill>
                <a:latin typeface="Century Gothic Pro" panose="020B0502020202020204" pitchFamily="34" charset="0"/>
                <a:ea typeface="ヒラギノ角ゴ Pro W3"/>
                <a:cs typeface="ヒラギノ角ゴ Pro W3"/>
              </a:rPr>
              <a:t>Ashland </a:t>
            </a:r>
            <a:r>
              <a:rPr lang="ru-RU" sz="3200" dirty="0">
                <a:solidFill>
                  <a:schemeClr val="accent3"/>
                </a:solidFill>
                <a:latin typeface="Century Gothic Pro" panose="020B0502020202020204" pitchFamily="34" charset="0"/>
                <a:ea typeface="ヒラギノ角ゴ Pro W3"/>
                <a:cs typeface="ヒラギノ角ゴ Pro W3"/>
              </a:rPr>
              <a:t>к уходу за волосами, отвечающий последним ключевым направлениям</a:t>
            </a:r>
            <a:endParaRPr lang="ru-RU" sz="3200" dirty="0"/>
          </a:p>
        </p:txBody>
      </p:sp>
      <p:grpSp>
        <p:nvGrpSpPr>
          <p:cNvPr id="13" name="Group 12"/>
          <p:cNvGrpSpPr/>
          <p:nvPr/>
        </p:nvGrpSpPr>
        <p:grpSpPr>
          <a:xfrm>
            <a:off x="1759132" y="2170707"/>
            <a:ext cx="6742939" cy="4052672"/>
            <a:chOff x="1521112" y="2192030"/>
            <a:chExt cx="6742939" cy="2960138"/>
          </a:xfrm>
        </p:grpSpPr>
        <p:grpSp>
          <p:nvGrpSpPr>
            <p:cNvPr id="14" name="Group 13"/>
            <p:cNvGrpSpPr/>
            <p:nvPr/>
          </p:nvGrpSpPr>
          <p:grpSpPr>
            <a:xfrm>
              <a:off x="1521112" y="2900808"/>
              <a:ext cx="6742939" cy="2251360"/>
              <a:chOff x="1789560" y="1489114"/>
              <a:chExt cx="6742939" cy="2859211"/>
            </a:xfrm>
          </p:grpSpPr>
          <p:sp>
            <p:nvSpPr>
              <p:cNvPr id="18" name="Freeform: Shape 3"/>
              <p:cNvSpPr/>
              <p:nvPr/>
            </p:nvSpPr>
            <p:spPr>
              <a:xfrm>
                <a:off x="4111851" y="2242412"/>
                <a:ext cx="4420648" cy="743527"/>
              </a:xfrm>
              <a:custGeom>
                <a:avLst/>
                <a:gdLst>
                  <a:gd name="connsiteX0" fmla="*/ 0 w 4420648"/>
                  <a:gd name="connsiteY0" fmla="*/ 70123 h 560982"/>
                  <a:gd name="connsiteX1" fmla="*/ 4140157 w 4420648"/>
                  <a:gd name="connsiteY1" fmla="*/ 70123 h 560982"/>
                  <a:gd name="connsiteX2" fmla="*/ 4140157 w 4420648"/>
                  <a:gd name="connsiteY2" fmla="*/ 0 h 560982"/>
                  <a:gd name="connsiteX3" fmla="*/ 4420648 w 4420648"/>
                  <a:gd name="connsiteY3" fmla="*/ 280491 h 560982"/>
                  <a:gd name="connsiteX4" fmla="*/ 4140157 w 4420648"/>
                  <a:gd name="connsiteY4" fmla="*/ 560982 h 560982"/>
                  <a:gd name="connsiteX5" fmla="*/ 4140157 w 4420648"/>
                  <a:gd name="connsiteY5" fmla="*/ 490859 h 560982"/>
                  <a:gd name="connsiteX6" fmla="*/ 0 w 4420648"/>
                  <a:gd name="connsiteY6" fmla="*/ 490859 h 560982"/>
                  <a:gd name="connsiteX7" fmla="*/ 0 w 4420648"/>
                  <a:gd name="connsiteY7" fmla="*/ 70123 h 560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20648" h="560982">
                    <a:moveTo>
                      <a:pt x="0" y="70123"/>
                    </a:moveTo>
                    <a:lnTo>
                      <a:pt x="4140157" y="70123"/>
                    </a:lnTo>
                    <a:lnTo>
                      <a:pt x="4140157" y="0"/>
                    </a:lnTo>
                    <a:lnTo>
                      <a:pt x="4420648" y="280491"/>
                    </a:lnTo>
                    <a:lnTo>
                      <a:pt x="4140157" y="560982"/>
                    </a:lnTo>
                    <a:lnTo>
                      <a:pt x="4140157" y="490859"/>
                    </a:lnTo>
                    <a:lnTo>
                      <a:pt x="0" y="490859"/>
                    </a:lnTo>
                    <a:lnTo>
                      <a:pt x="0" y="70123"/>
                    </a:lnTo>
                    <a:close/>
                  </a:path>
                </a:pathLst>
              </a:custGeom>
            </p:spPr>
            <p:style>
              <a:lnRef idx="2">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0160" tIns="80283" rIns="220528" bIns="80283" numCol="1" spcCol="1270" anchor="t"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en-US" sz="1600" kern="1200" dirty="0"/>
                  <a:t> </a:t>
                </a:r>
                <a:r>
                  <a:rPr lang="en-US" sz="1200" kern="1200" dirty="0">
                    <a:latin typeface="Century Gothic Pro" panose="020B0502020202020204" pitchFamily="34" charset="0"/>
                  </a:rPr>
                  <a:t>ChromoHance</a:t>
                </a:r>
                <a:r>
                  <a:rPr lang="en-US" sz="1200" kern="1200" dirty="0">
                    <a:latin typeface="Century Gothic Pro" panose="020B0502020202020204" pitchFamily="34" charset="0"/>
                    <a:cs typeface="Arial" panose="020B0604020202020204" pitchFamily="34" charset="0"/>
                  </a:rPr>
                  <a:t>™</a:t>
                </a:r>
                <a:r>
                  <a:rPr lang="en-US" sz="1200" kern="1200" dirty="0">
                    <a:latin typeface="Century Gothic Pro" panose="020B0502020202020204" pitchFamily="34" charset="0"/>
                  </a:rPr>
                  <a:t> 113 </a:t>
                </a:r>
                <a:r>
                  <a:rPr lang="ru-RU" sz="1200" kern="1200" dirty="0">
                    <a:latin typeface="Century Gothic" panose="020B0502020202020204" pitchFamily="34" charset="0"/>
                  </a:rPr>
                  <a:t>кондиционирующий полимер – защита цвета волос</a:t>
                </a:r>
                <a:endParaRPr lang="en-US" sz="1200" kern="1200" dirty="0">
                  <a:latin typeface="Century Gothic" panose="020B0502020202020204" pitchFamily="34" charset="0"/>
                </a:endParaRPr>
              </a:p>
              <a:p>
                <a:pPr marL="0" marR="0" lvl="0" indent="0" algn="l" defTabSz="914400" eaLnBrk="1" fontAlgn="auto" latinLnBrk="0" hangingPunct="1">
                  <a:lnSpc>
                    <a:spcPct val="100000"/>
                  </a:lnSpc>
                  <a:spcBef>
                    <a:spcPct val="0"/>
                  </a:spcBef>
                  <a:spcAft>
                    <a:spcPts val="0"/>
                  </a:spcAft>
                  <a:buClrTx/>
                  <a:buSzTx/>
                  <a:buFontTx/>
                  <a:buNone/>
                  <a:tabLst/>
                  <a:defRPr/>
                </a:pPr>
                <a:endParaRPr lang="en-US" sz="1600" kern="1200" dirty="0"/>
              </a:p>
              <a:p>
                <a:pPr marL="171450" lvl="1" indent="0" algn="l" defTabSz="711200">
                  <a:lnSpc>
                    <a:spcPct val="90000"/>
                  </a:lnSpc>
                  <a:spcBef>
                    <a:spcPct val="0"/>
                  </a:spcBef>
                  <a:spcAft>
                    <a:spcPct val="15000"/>
                  </a:spcAft>
                  <a:buChar char="•"/>
                </a:pPr>
                <a:endParaRPr lang="en-US" sz="1600" kern="1200" dirty="0"/>
              </a:p>
            </p:txBody>
          </p:sp>
          <p:sp>
            <p:nvSpPr>
              <p:cNvPr id="22" name="Freeform: Shape 4"/>
              <p:cNvSpPr/>
              <p:nvPr/>
            </p:nvSpPr>
            <p:spPr>
              <a:xfrm>
                <a:off x="1821546" y="2290771"/>
                <a:ext cx="2284094" cy="560982"/>
              </a:xfrm>
              <a:custGeom>
                <a:avLst/>
                <a:gdLst>
                  <a:gd name="connsiteX0" fmla="*/ 0 w 2284094"/>
                  <a:gd name="connsiteY0" fmla="*/ 93499 h 560982"/>
                  <a:gd name="connsiteX1" fmla="*/ 93499 w 2284094"/>
                  <a:gd name="connsiteY1" fmla="*/ 0 h 560982"/>
                  <a:gd name="connsiteX2" fmla="*/ 2190595 w 2284094"/>
                  <a:gd name="connsiteY2" fmla="*/ 0 h 560982"/>
                  <a:gd name="connsiteX3" fmla="*/ 2284094 w 2284094"/>
                  <a:gd name="connsiteY3" fmla="*/ 93499 h 560982"/>
                  <a:gd name="connsiteX4" fmla="*/ 2284094 w 2284094"/>
                  <a:gd name="connsiteY4" fmla="*/ 467483 h 560982"/>
                  <a:gd name="connsiteX5" fmla="*/ 2190595 w 2284094"/>
                  <a:gd name="connsiteY5" fmla="*/ 560982 h 560982"/>
                  <a:gd name="connsiteX6" fmla="*/ 93499 w 2284094"/>
                  <a:gd name="connsiteY6" fmla="*/ 560982 h 560982"/>
                  <a:gd name="connsiteX7" fmla="*/ 0 w 2284094"/>
                  <a:gd name="connsiteY7" fmla="*/ 467483 h 560982"/>
                  <a:gd name="connsiteX8" fmla="*/ 0 w 2284094"/>
                  <a:gd name="connsiteY8" fmla="*/ 93499 h 560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4094" h="560982">
                    <a:moveTo>
                      <a:pt x="0" y="93499"/>
                    </a:moveTo>
                    <a:cubicBezTo>
                      <a:pt x="0" y="41861"/>
                      <a:pt x="41861" y="0"/>
                      <a:pt x="93499" y="0"/>
                    </a:cubicBezTo>
                    <a:lnTo>
                      <a:pt x="2190595" y="0"/>
                    </a:lnTo>
                    <a:cubicBezTo>
                      <a:pt x="2242233" y="0"/>
                      <a:pt x="2284094" y="41861"/>
                      <a:pt x="2284094" y="93499"/>
                    </a:cubicBezTo>
                    <a:lnTo>
                      <a:pt x="2284094" y="467483"/>
                    </a:lnTo>
                    <a:cubicBezTo>
                      <a:pt x="2284094" y="519121"/>
                      <a:pt x="2242233" y="560982"/>
                      <a:pt x="2190595" y="560982"/>
                    </a:cubicBezTo>
                    <a:lnTo>
                      <a:pt x="93499" y="560982"/>
                    </a:lnTo>
                    <a:cubicBezTo>
                      <a:pt x="41861" y="560982"/>
                      <a:pt x="0" y="519121"/>
                      <a:pt x="0" y="467483"/>
                    </a:cubicBezTo>
                    <a:lnTo>
                      <a:pt x="0" y="93499"/>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8345" tIns="57865" rIns="88345" bIns="57865" numCol="1" spcCol="1270" anchor="ctr" anchorCtr="0">
                <a:noAutofit/>
              </a:bodyPr>
              <a:lstStyle/>
              <a:p>
                <a:pPr marL="0" lvl="0" indent="0" algn="ctr" defTabSz="711200">
                  <a:lnSpc>
                    <a:spcPct val="90000"/>
                  </a:lnSpc>
                  <a:spcBef>
                    <a:spcPct val="0"/>
                  </a:spcBef>
                  <a:spcAft>
                    <a:spcPct val="35000"/>
                  </a:spcAft>
                  <a:buNone/>
                </a:pPr>
                <a:r>
                  <a:rPr lang="ru-RU" sz="1600" kern="1200" dirty="0">
                    <a:latin typeface="Century Gothic" panose="020B0502020202020204" pitchFamily="34" charset="0"/>
                  </a:rPr>
                  <a:t>Окрашивание волос</a:t>
                </a:r>
                <a:endParaRPr lang="en-US" sz="1600" kern="1200" dirty="0">
                  <a:latin typeface="Century Gothic" panose="020B0502020202020204" pitchFamily="34" charset="0"/>
                </a:endParaRPr>
              </a:p>
            </p:txBody>
          </p:sp>
          <p:sp>
            <p:nvSpPr>
              <p:cNvPr id="23" name="Freeform: Shape 7"/>
              <p:cNvSpPr/>
              <p:nvPr/>
            </p:nvSpPr>
            <p:spPr>
              <a:xfrm>
                <a:off x="4150389" y="3044069"/>
                <a:ext cx="4382110" cy="560982"/>
              </a:xfrm>
              <a:custGeom>
                <a:avLst/>
                <a:gdLst>
                  <a:gd name="connsiteX0" fmla="*/ 0 w 4382110"/>
                  <a:gd name="connsiteY0" fmla="*/ 70123 h 560982"/>
                  <a:gd name="connsiteX1" fmla="*/ 4101619 w 4382110"/>
                  <a:gd name="connsiteY1" fmla="*/ 70123 h 560982"/>
                  <a:gd name="connsiteX2" fmla="*/ 4101619 w 4382110"/>
                  <a:gd name="connsiteY2" fmla="*/ 0 h 560982"/>
                  <a:gd name="connsiteX3" fmla="*/ 4382110 w 4382110"/>
                  <a:gd name="connsiteY3" fmla="*/ 280491 h 560982"/>
                  <a:gd name="connsiteX4" fmla="*/ 4101619 w 4382110"/>
                  <a:gd name="connsiteY4" fmla="*/ 560982 h 560982"/>
                  <a:gd name="connsiteX5" fmla="*/ 4101619 w 4382110"/>
                  <a:gd name="connsiteY5" fmla="*/ 490859 h 560982"/>
                  <a:gd name="connsiteX6" fmla="*/ 0 w 4382110"/>
                  <a:gd name="connsiteY6" fmla="*/ 490859 h 560982"/>
                  <a:gd name="connsiteX7" fmla="*/ 0 w 4382110"/>
                  <a:gd name="connsiteY7" fmla="*/ 70123 h 560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82110" h="560982">
                    <a:moveTo>
                      <a:pt x="0" y="70123"/>
                    </a:moveTo>
                    <a:lnTo>
                      <a:pt x="4101619" y="70123"/>
                    </a:lnTo>
                    <a:lnTo>
                      <a:pt x="4101619" y="0"/>
                    </a:lnTo>
                    <a:lnTo>
                      <a:pt x="4382110" y="280491"/>
                    </a:lnTo>
                    <a:lnTo>
                      <a:pt x="4101619" y="560982"/>
                    </a:lnTo>
                    <a:lnTo>
                      <a:pt x="4101619" y="490859"/>
                    </a:lnTo>
                    <a:lnTo>
                      <a:pt x="0" y="490859"/>
                    </a:lnTo>
                    <a:lnTo>
                      <a:pt x="0" y="70123"/>
                    </a:lnTo>
                    <a:close/>
                  </a:path>
                </a:pathLst>
              </a:custGeom>
            </p:spPr>
            <p:style>
              <a:lnRef idx="2">
                <a:schemeClr val="accent3">
                  <a:tint val="40000"/>
                  <a:alpha val="90000"/>
                  <a:hueOff val="-482404"/>
                  <a:satOff val="-7233"/>
                  <a:lumOff val="-663"/>
                  <a:alphaOff val="0"/>
                </a:schemeClr>
              </a:lnRef>
              <a:fillRef idx="1">
                <a:schemeClr val="accent3">
                  <a:tint val="40000"/>
                  <a:alpha val="90000"/>
                  <a:hueOff val="-482404"/>
                  <a:satOff val="-7233"/>
                  <a:lumOff val="-663"/>
                  <a:alphaOff val="0"/>
                </a:schemeClr>
              </a:fillRef>
              <a:effectRef idx="0">
                <a:schemeClr val="accent3">
                  <a:tint val="40000"/>
                  <a:alpha val="90000"/>
                  <a:hueOff val="-482404"/>
                  <a:satOff val="-7233"/>
                  <a:lumOff val="-663"/>
                  <a:alphaOff val="0"/>
                </a:schemeClr>
              </a:effectRef>
              <a:fontRef idx="minor">
                <a:schemeClr val="dk1">
                  <a:hueOff val="0"/>
                  <a:satOff val="0"/>
                  <a:lumOff val="0"/>
                  <a:alphaOff val="0"/>
                </a:schemeClr>
              </a:fontRef>
            </p:style>
            <p:txBody>
              <a:bodyPr spcFirstLastPara="0" vert="horz" wrap="square" lIns="7620" tIns="77743" rIns="217988" bIns="77743" numCol="1" spcCol="1270" anchor="t"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en-US" sz="1200" kern="1200" dirty="0" err="1">
                    <a:latin typeface="Century Gothic Pro" panose="020B0502020202020204" pitchFamily="34" charset="0"/>
                  </a:rPr>
                  <a:t>ClearHance</a:t>
                </a:r>
                <a:r>
                  <a:rPr lang="en-US" sz="1200" kern="1200" dirty="0">
                    <a:latin typeface="Century Gothic Pro" panose="020B0502020202020204" pitchFamily="34" charset="0"/>
                  </a:rPr>
                  <a:t> ™ </a:t>
                </a:r>
                <a:r>
                  <a:rPr lang="en-US" sz="1200" dirty="0">
                    <a:latin typeface="Century Gothic Pro" panose="020B0502020202020204" pitchFamily="34" charset="0"/>
                  </a:rPr>
                  <a:t>C – </a:t>
                </a:r>
                <a:r>
                  <a:rPr lang="ru-RU" sz="1200" dirty="0">
                    <a:latin typeface="Century Gothic" panose="020B0502020202020204" pitchFamily="34" charset="0"/>
                  </a:rPr>
                  <a:t>превосходное кондиционирование в прозрачных системах</a:t>
                </a:r>
                <a:endParaRPr lang="en-US" sz="1200" kern="1200" dirty="0">
                  <a:latin typeface="Century Gothic" panose="020B0502020202020204" pitchFamily="34" charset="0"/>
                </a:endParaRPr>
              </a:p>
              <a:p>
                <a:pPr marL="171450" lvl="1" indent="0" algn="l" defTabSz="711200">
                  <a:lnSpc>
                    <a:spcPct val="90000"/>
                  </a:lnSpc>
                  <a:spcBef>
                    <a:spcPct val="0"/>
                  </a:spcBef>
                  <a:spcAft>
                    <a:spcPct val="15000"/>
                  </a:spcAft>
                </a:pPr>
                <a:endParaRPr lang="en-US" sz="1600" kern="1200" dirty="0">
                  <a:latin typeface="Century Gothic Pro" panose="020B0502020202020204" pitchFamily="34" charset="0"/>
                </a:endParaRPr>
              </a:p>
              <a:p>
                <a:pPr marL="171450" lvl="1" indent="0" algn="l" defTabSz="711200">
                  <a:lnSpc>
                    <a:spcPct val="90000"/>
                  </a:lnSpc>
                  <a:spcBef>
                    <a:spcPct val="0"/>
                  </a:spcBef>
                  <a:spcAft>
                    <a:spcPct val="15000"/>
                  </a:spcAft>
                  <a:buChar char="•"/>
                </a:pPr>
                <a:endParaRPr lang="en-US" sz="1600" kern="1200" dirty="0">
                  <a:latin typeface="Century Gothic Pro" panose="020B0502020202020204" pitchFamily="34" charset="0"/>
                </a:endParaRPr>
              </a:p>
            </p:txBody>
          </p:sp>
          <p:sp>
            <p:nvSpPr>
              <p:cNvPr id="24" name="Freeform: Shape 8"/>
              <p:cNvSpPr/>
              <p:nvPr/>
            </p:nvSpPr>
            <p:spPr>
              <a:xfrm>
                <a:off x="1830698" y="3044069"/>
                <a:ext cx="2319690" cy="560982"/>
              </a:xfrm>
              <a:custGeom>
                <a:avLst/>
                <a:gdLst>
                  <a:gd name="connsiteX0" fmla="*/ 0 w 2319690"/>
                  <a:gd name="connsiteY0" fmla="*/ 93499 h 560982"/>
                  <a:gd name="connsiteX1" fmla="*/ 93499 w 2319690"/>
                  <a:gd name="connsiteY1" fmla="*/ 0 h 560982"/>
                  <a:gd name="connsiteX2" fmla="*/ 2226191 w 2319690"/>
                  <a:gd name="connsiteY2" fmla="*/ 0 h 560982"/>
                  <a:gd name="connsiteX3" fmla="*/ 2319690 w 2319690"/>
                  <a:gd name="connsiteY3" fmla="*/ 93499 h 560982"/>
                  <a:gd name="connsiteX4" fmla="*/ 2319690 w 2319690"/>
                  <a:gd name="connsiteY4" fmla="*/ 467483 h 560982"/>
                  <a:gd name="connsiteX5" fmla="*/ 2226191 w 2319690"/>
                  <a:gd name="connsiteY5" fmla="*/ 560982 h 560982"/>
                  <a:gd name="connsiteX6" fmla="*/ 93499 w 2319690"/>
                  <a:gd name="connsiteY6" fmla="*/ 560982 h 560982"/>
                  <a:gd name="connsiteX7" fmla="*/ 0 w 2319690"/>
                  <a:gd name="connsiteY7" fmla="*/ 467483 h 560982"/>
                  <a:gd name="connsiteX8" fmla="*/ 0 w 2319690"/>
                  <a:gd name="connsiteY8" fmla="*/ 93499 h 560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9690" h="560982">
                    <a:moveTo>
                      <a:pt x="0" y="93499"/>
                    </a:moveTo>
                    <a:cubicBezTo>
                      <a:pt x="0" y="41861"/>
                      <a:pt x="41861" y="0"/>
                      <a:pt x="93499" y="0"/>
                    </a:cubicBezTo>
                    <a:lnTo>
                      <a:pt x="2226191" y="0"/>
                    </a:lnTo>
                    <a:cubicBezTo>
                      <a:pt x="2277829" y="0"/>
                      <a:pt x="2319690" y="41861"/>
                      <a:pt x="2319690" y="93499"/>
                    </a:cubicBezTo>
                    <a:lnTo>
                      <a:pt x="2319690" y="467483"/>
                    </a:lnTo>
                    <a:cubicBezTo>
                      <a:pt x="2319690" y="519121"/>
                      <a:pt x="2277829" y="560982"/>
                      <a:pt x="2226191" y="560982"/>
                    </a:cubicBezTo>
                    <a:lnTo>
                      <a:pt x="93499" y="560982"/>
                    </a:lnTo>
                    <a:cubicBezTo>
                      <a:pt x="41861" y="560982"/>
                      <a:pt x="0" y="519121"/>
                      <a:pt x="0" y="467483"/>
                    </a:cubicBezTo>
                    <a:lnTo>
                      <a:pt x="0" y="93499"/>
                    </a:lnTo>
                    <a:close/>
                  </a:path>
                </a:pathLst>
              </a:custGeom>
            </p:spPr>
            <p:style>
              <a:lnRef idx="2">
                <a:schemeClr val="lt1">
                  <a:hueOff val="0"/>
                  <a:satOff val="0"/>
                  <a:lumOff val="0"/>
                  <a:alphaOff val="0"/>
                </a:schemeClr>
              </a:lnRef>
              <a:fillRef idx="1">
                <a:schemeClr val="accent3">
                  <a:hueOff val="-339772"/>
                  <a:satOff val="-6493"/>
                  <a:lumOff val="-2157"/>
                  <a:alphaOff val="0"/>
                </a:schemeClr>
              </a:fillRef>
              <a:effectRef idx="0">
                <a:schemeClr val="accent3">
                  <a:hueOff val="-339772"/>
                  <a:satOff val="-6493"/>
                  <a:lumOff val="-2157"/>
                  <a:alphaOff val="0"/>
                </a:schemeClr>
              </a:effectRef>
              <a:fontRef idx="minor">
                <a:schemeClr val="lt1"/>
              </a:fontRef>
            </p:style>
            <p:txBody>
              <a:bodyPr spcFirstLastPara="0" vert="horz" wrap="square" lIns="88345" tIns="57865" rIns="88345" bIns="57865" numCol="1" spcCol="1270" anchor="ctr" anchorCtr="0">
                <a:noAutofit/>
              </a:bodyPr>
              <a:lstStyle/>
              <a:p>
                <a:pPr marL="0" lvl="0" indent="0" algn="ctr" defTabSz="711200">
                  <a:lnSpc>
                    <a:spcPct val="90000"/>
                  </a:lnSpc>
                  <a:spcBef>
                    <a:spcPct val="0"/>
                  </a:spcBef>
                  <a:spcAft>
                    <a:spcPct val="35000"/>
                  </a:spcAft>
                  <a:buNone/>
                </a:pPr>
                <a:r>
                  <a:rPr lang="ru-RU" sz="1600" dirty="0">
                    <a:latin typeface="Century Gothic" panose="020B0502020202020204" pitchFamily="34" charset="0"/>
                  </a:rPr>
                  <a:t>Супер - кондиционирование</a:t>
                </a:r>
                <a:endParaRPr lang="en-US" sz="1600" kern="1200" dirty="0">
                  <a:latin typeface="Century Gothic" panose="020B0502020202020204" pitchFamily="34" charset="0"/>
                </a:endParaRPr>
              </a:p>
            </p:txBody>
          </p:sp>
          <p:sp>
            <p:nvSpPr>
              <p:cNvPr id="25" name="Freeform: Shape 9"/>
              <p:cNvSpPr/>
              <p:nvPr/>
            </p:nvSpPr>
            <p:spPr>
              <a:xfrm>
                <a:off x="4081413" y="1489114"/>
                <a:ext cx="4385620" cy="560983"/>
              </a:xfrm>
              <a:custGeom>
                <a:avLst/>
                <a:gdLst>
                  <a:gd name="connsiteX0" fmla="*/ 0 w 4385620"/>
                  <a:gd name="connsiteY0" fmla="*/ 70123 h 560982"/>
                  <a:gd name="connsiteX1" fmla="*/ 4105129 w 4385620"/>
                  <a:gd name="connsiteY1" fmla="*/ 70123 h 560982"/>
                  <a:gd name="connsiteX2" fmla="*/ 4105129 w 4385620"/>
                  <a:gd name="connsiteY2" fmla="*/ 0 h 560982"/>
                  <a:gd name="connsiteX3" fmla="*/ 4385620 w 4385620"/>
                  <a:gd name="connsiteY3" fmla="*/ 280491 h 560982"/>
                  <a:gd name="connsiteX4" fmla="*/ 4105129 w 4385620"/>
                  <a:gd name="connsiteY4" fmla="*/ 560982 h 560982"/>
                  <a:gd name="connsiteX5" fmla="*/ 4105129 w 4385620"/>
                  <a:gd name="connsiteY5" fmla="*/ 490859 h 560982"/>
                  <a:gd name="connsiteX6" fmla="*/ 0 w 4385620"/>
                  <a:gd name="connsiteY6" fmla="*/ 490859 h 560982"/>
                  <a:gd name="connsiteX7" fmla="*/ 0 w 4385620"/>
                  <a:gd name="connsiteY7" fmla="*/ 70123 h 560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85620" h="560982">
                    <a:moveTo>
                      <a:pt x="0" y="70123"/>
                    </a:moveTo>
                    <a:lnTo>
                      <a:pt x="4105129" y="70123"/>
                    </a:lnTo>
                    <a:lnTo>
                      <a:pt x="4105129" y="0"/>
                    </a:lnTo>
                    <a:lnTo>
                      <a:pt x="4385620" y="280491"/>
                    </a:lnTo>
                    <a:lnTo>
                      <a:pt x="4105129" y="560982"/>
                    </a:lnTo>
                    <a:lnTo>
                      <a:pt x="4105129" y="490859"/>
                    </a:lnTo>
                    <a:lnTo>
                      <a:pt x="0" y="490859"/>
                    </a:lnTo>
                    <a:lnTo>
                      <a:pt x="0" y="70123"/>
                    </a:lnTo>
                    <a:close/>
                  </a:path>
                </a:pathLst>
              </a:custGeom>
            </p:spPr>
            <p:style>
              <a:lnRef idx="2">
                <a:schemeClr val="accent3">
                  <a:tint val="40000"/>
                  <a:alpha val="90000"/>
                  <a:hueOff val="-723606"/>
                  <a:satOff val="-10850"/>
                  <a:lumOff val="-995"/>
                  <a:alphaOff val="0"/>
                </a:schemeClr>
              </a:lnRef>
              <a:fillRef idx="1">
                <a:schemeClr val="accent3">
                  <a:tint val="40000"/>
                  <a:alpha val="90000"/>
                  <a:hueOff val="-723606"/>
                  <a:satOff val="-10850"/>
                  <a:lumOff val="-995"/>
                  <a:alphaOff val="0"/>
                </a:schemeClr>
              </a:fillRef>
              <a:effectRef idx="0">
                <a:schemeClr val="accent3">
                  <a:tint val="40000"/>
                  <a:alpha val="90000"/>
                  <a:hueOff val="-723606"/>
                  <a:satOff val="-10850"/>
                  <a:lumOff val="-995"/>
                  <a:alphaOff val="0"/>
                </a:schemeClr>
              </a:effectRef>
              <a:fontRef idx="minor">
                <a:schemeClr val="dk1">
                  <a:hueOff val="0"/>
                  <a:satOff val="0"/>
                  <a:lumOff val="0"/>
                  <a:alphaOff val="0"/>
                </a:schemeClr>
              </a:fontRef>
            </p:style>
            <p:txBody>
              <a:bodyPr spcFirstLastPara="0" vert="horz" wrap="square" lIns="7620" tIns="77743" rIns="217988" bIns="77743" numCol="1" spcCol="1270" anchor="t"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en-US" sz="1200" kern="1200" dirty="0">
                    <a:latin typeface="Century Gothic Pro" panose="020B0502020202020204" pitchFamily="34" charset="0"/>
                  </a:rPr>
                  <a:t>FiberHance™ BM Solution </a:t>
                </a:r>
                <a:r>
                  <a:rPr lang="ru-RU" sz="1200" kern="1200" dirty="0">
                    <a:latin typeface="Century Gothic" panose="020B0502020202020204" pitchFamily="34" charset="0"/>
                  </a:rPr>
                  <a:t>укрепление волос изнутри и создание новых ионных и водородных связей</a:t>
                </a:r>
                <a:endParaRPr lang="en-US" sz="1200" kern="1200" dirty="0">
                  <a:latin typeface="Century Gothic" panose="020B0502020202020204" pitchFamily="34" charset="0"/>
                </a:endParaRPr>
              </a:p>
              <a:p>
                <a:pPr marL="114300" lvl="1" indent="0" algn="l" defTabSz="533400">
                  <a:lnSpc>
                    <a:spcPct val="90000"/>
                  </a:lnSpc>
                  <a:spcBef>
                    <a:spcPct val="0"/>
                  </a:spcBef>
                  <a:spcAft>
                    <a:spcPct val="15000"/>
                  </a:spcAft>
                </a:pPr>
                <a:endParaRPr lang="en-US" sz="1200" kern="1200" dirty="0"/>
              </a:p>
              <a:p>
                <a:pPr marL="114300" lvl="1" indent="0" algn="l" defTabSz="533400">
                  <a:lnSpc>
                    <a:spcPct val="90000"/>
                  </a:lnSpc>
                  <a:spcBef>
                    <a:spcPct val="0"/>
                  </a:spcBef>
                  <a:spcAft>
                    <a:spcPct val="15000"/>
                  </a:spcAft>
                  <a:buChar char="•"/>
                </a:pPr>
                <a:endParaRPr lang="en-US" sz="1200" kern="1200" dirty="0"/>
              </a:p>
            </p:txBody>
          </p:sp>
          <p:sp>
            <p:nvSpPr>
              <p:cNvPr id="26" name="Freeform: Shape 15"/>
              <p:cNvSpPr/>
              <p:nvPr/>
            </p:nvSpPr>
            <p:spPr>
              <a:xfrm>
                <a:off x="4164895" y="3787343"/>
                <a:ext cx="4302138" cy="560982"/>
              </a:xfrm>
              <a:custGeom>
                <a:avLst/>
                <a:gdLst>
                  <a:gd name="connsiteX0" fmla="*/ 0 w 4302138"/>
                  <a:gd name="connsiteY0" fmla="*/ 70123 h 560982"/>
                  <a:gd name="connsiteX1" fmla="*/ 4021647 w 4302138"/>
                  <a:gd name="connsiteY1" fmla="*/ 70123 h 560982"/>
                  <a:gd name="connsiteX2" fmla="*/ 4021647 w 4302138"/>
                  <a:gd name="connsiteY2" fmla="*/ 0 h 560982"/>
                  <a:gd name="connsiteX3" fmla="*/ 4302138 w 4302138"/>
                  <a:gd name="connsiteY3" fmla="*/ 280491 h 560982"/>
                  <a:gd name="connsiteX4" fmla="*/ 4021647 w 4302138"/>
                  <a:gd name="connsiteY4" fmla="*/ 560982 h 560982"/>
                  <a:gd name="connsiteX5" fmla="*/ 4021647 w 4302138"/>
                  <a:gd name="connsiteY5" fmla="*/ 490859 h 560982"/>
                  <a:gd name="connsiteX6" fmla="*/ 0 w 4302138"/>
                  <a:gd name="connsiteY6" fmla="*/ 490859 h 560982"/>
                  <a:gd name="connsiteX7" fmla="*/ 0 w 4302138"/>
                  <a:gd name="connsiteY7" fmla="*/ 70123 h 560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2138" h="560982">
                    <a:moveTo>
                      <a:pt x="0" y="70123"/>
                    </a:moveTo>
                    <a:lnTo>
                      <a:pt x="4021647" y="70123"/>
                    </a:lnTo>
                    <a:lnTo>
                      <a:pt x="4021647" y="0"/>
                    </a:lnTo>
                    <a:lnTo>
                      <a:pt x="4302138" y="280491"/>
                    </a:lnTo>
                    <a:lnTo>
                      <a:pt x="4021647" y="560982"/>
                    </a:lnTo>
                    <a:lnTo>
                      <a:pt x="4021647" y="490859"/>
                    </a:lnTo>
                    <a:lnTo>
                      <a:pt x="0" y="490859"/>
                    </a:lnTo>
                    <a:lnTo>
                      <a:pt x="0" y="70123"/>
                    </a:lnTo>
                    <a:close/>
                  </a:path>
                </a:pathLst>
              </a:custGeom>
            </p:spPr>
            <p:style>
              <a:lnRef idx="2">
                <a:schemeClr val="accent3">
                  <a:tint val="40000"/>
                  <a:alpha val="90000"/>
                  <a:hueOff val="-1447212"/>
                  <a:satOff val="-21700"/>
                  <a:lumOff val="-1989"/>
                  <a:alphaOff val="0"/>
                </a:schemeClr>
              </a:lnRef>
              <a:fillRef idx="1">
                <a:schemeClr val="accent3">
                  <a:tint val="40000"/>
                  <a:alpha val="90000"/>
                  <a:hueOff val="-1447212"/>
                  <a:satOff val="-21700"/>
                  <a:lumOff val="-1989"/>
                  <a:alphaOff val="0"/>
                </a:schemeClr>
              </a:fillRef>
              <a:effectRef idx="0">
                <a:schemeClr val="accent3">
                  <a:tint val="40000"/>
                  <a:alpha val="90000"/>
                  <a:hueOff val="-1447212"/>
                  <a:satOff val="-21700"/>
                  <a:lumOff val="-1989"/>
                  <a:alphaOff val="0"/>
                </a:schemeClr>
              </a:effectRef>
              <a:fontRef idx="minor">
                <a:schemeClr val="dk1">
                  <a:hueOff val="0"/>
                  <a:satOff val="0"/>
                  <a:lumOff val="0"/>
                  <a:alphaOff val="0"/>
                </a:schemeClr>
              </a:fontRef>
            </p:style>
            <p:txBody>
              <a:bodyPr spcFirstLastPara="0" vert="horz" wrap="square" lIns="7620" tIns="77743" rIns="217988" bIns="77743" numCol="1" spcCol="1270" anchor="t" anchorCtr="0">
                <a:noAutofit/>
              </a:bodyPr>
              <a:lstStyle/>
              <a:p>
                <a:pPr marL="171450" lvl="1" defTabSz="711200">
                  <a:lnSpc>
                    <a:spcPct val="90000"/>
                  </a:lnSpc>
                  <a:spcBef>
                    <a:spcPct val="0"/>
                  </a:spcBef>
                  <a:spcAft>
                    <a:spcPct val="15000"/>
                  </a:spcAft>
                </a:pPr>
                <a:r>
                  <a:rPr lang="en-US" sz="1200" b="0" kern="1200" dirty="0">
                    <a:latin typeface="Century Gothic" panose="020B0502020202020204" pitchFamily="34" charset="0"/>
                  </a:rPr>
                  <a:t>Style Fusion</a:t>
                </a:r>
                <a:r>
                  <a:rPr lang="en-US" sz="1200" dirty="0">
                    <a:latin typeface="Century Gothic Pro" panose="020B0502020202020204" pitchFamily="34" charset="0"/>
                  </a:rPr>
                  <a:t> ™</a:t>
                </a:r>
                <a:r>
                  <a:rPr lang="en-US" sz="1200" b="0" kern="1200" dirty="0">
                    <a:latin typeface="Century Gothic" panose="020B0502020202020204" pitchFamily="34" charset="0"/>
                  </a:rPr>
                  <a:t> complex 1 – </a:t>
                </a:r>
                <a:r>
                  <a:rPr lang="ru-RU" sz="1200" b="0" kern="1200" dirty="0">
                    <a:latin typeface="Century Gothic" panose="020B0502020202020204" pitchFamily="34" charset="0"/>
                  </a:rPr>
                  <a:t>защита и восстановление секущихся кончиков</a:t>
                </a:r>
                <a:endParaRPr lang="en-US" sz="1200" b="0" kern="1200" dirty="0">
                  <a:latin typeface="Century Gothic" panose="020B0502020202020204" pitchFamily="34" charset="0"/>
                </a:endParaRPr>
              </a:p>
            </p:txBody>
          </p:sp>
          <p:sp>
            <p:nvSpPr>
              <p:cNvPr id="27" name="Freeform: Shape 16"/>
              <p:cNvSpPr/>
              <p:nvPr/>
            </p:nvSpPr>
            <p:spPr>
              <a:xfrm>
                <a:off x="1789560" y="3752572"/>
                <a:ext cx="2401966" cy="560982"/>
              </a:xfrm>
              <a:custGeom>
                <a:avLst/>
                <a:gdLst>
                  <a:gd name="connsiteX0" fmla="*/ 0 w 2401966"/>
                  <a:gd name="connsiteY0" fmla="*/ 93499 h 560982"/>
                  <a:gd name="connsiteX1" fmla="*/ 93499 w 2401966"/>
                  <a:gd name="connsiteY1" fmla="*/ 0 h 560982"/>
                  <a:gd name="connsiteX2" fmla="*/ 2308467 w 2401966"/>
                  <a:gd name="connsiteY2" fmla="*/ 0 h 560982"/>
                  <a:gd name="connsiteX3" fmla="*/ 2401966 w 2401966"/>
                  <a:gd name="connsiteY3" fmla="*/ 93499 h 560982"/>
                  <a:gd name="connsiteX4" fmla="*/ 2401966 w 2401966"/>
                  <a:gd name="connsiteY4" fmla="*/ 467483 h 560982"/>
                  <a:gd name="connsiteX5" fmla="*/ 2308467 w 2401966"/>
                  <a:gd name="connsiteY5" fmla="*/ 560982 h 560982"/>
                  <a:gd name="connsiteX6" fmla="*/ 93499 w 2401966"/>
                  <a:gd name="connsiteY6" fmla="*/ 560982 h 560982"/>
                  <a:gd name="connsiteX7" fmla="*/ 0 w 2401966"/>
                  <a:gd name="connsiteY7" fmla="*/ 467483 h 560982"/>
                  <a:gd name="connsiteX8" fmla="*/ 0 w 2401966"/>
                  <a:gd name="connsiteY8" fmla="*/ 93499 h 560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1966" h="560982">
                    <a:moveTo>
                      <a:pt x="0" y="93499"/>
                    </a:moveTo>
                    <a:cubicBezTo>
                      <a:pt x="0" y="41861"/>
                      <a:pt x="41861" y="0"/>
                      <a:pt x="93499" y="0"/>
                    </a:cubicBezTo>
                    <a:lnTo>
                      <a:pt x="2308467" y="0"/>
                    </a:lnTo>
                    <a:cubicBezTo>
                      <a:pt x="2360105" y="0"/>
                      <a:pt x="2401966" y="41861"/>
                      <a:pt x="2401966" y="93499"/>
                    </a:cubicBezTo>
                    <a:lnTo>
                      <a:pt x="2401966" y="467483"/>
                    </a:lnTo>
                    <a:cubicBezTo>
                      <a:pt x="2401966" y="519121"/>
                      <a:pt x="2360105" y="560982"/>
                      <a:pt x="2308467" y="560982"/>
                    </a:cubicBezTo>
                    <a:lnTo>
                      <a:pt x="93499" y="560982"/>
                    </a:lnTo>
                    <a:cubicBezTo>
                      <a:pt x="41861" y="560982"/>
                      <a:pt x="0" y="519121"/>
                      <a:pt x="0" y="467483"/>
                    </a:cubicBezTo>
                    <a:lnTo>
                      <a:pt x="0" y="93499"/>
                    </a:lnTo>
                    <a:close/>
                  </a:path>
                </a:pathLst>
              </a:custGeom>
            </p:spPr>
            <p:style>
              <a:lnRef idx="2">
                <a:schemeClr val="lt1">
                  <a:hueOff val="0"/>
                  <a:satOff val="0"/>
                  <a:lumOff val="0"/>
                  <a:alphaOff val="0"/>
                </a:schemeClr>
              </a:lnRef>
              <a:fillRef idx="1">
                <a:schemeClr val="accent3">
                  <a:hueOff val="-1019317"/>
                  <a:satOff val="-19480"/>
                  <a:lumOff val="-6470"/>
                  <a:alphaOff val="0"/>
                </a:schemeClr>
              </a:fillRef>
              <a:effectRef idx="0">
                <a:schemeClr val="accent3">
                  <a:hueOff val="-1019317"/>
                  <a:satOff val="-19480"/>
                  <a:lumOff val="-6470"/>
                  <a:alphaOff val="0"/>
                </a:schemeClr>
              </a:effectRef>
              <a:fontRef idx="minor">
                <a:schemeClr val="lt1"/>
              </a:fontRef>
            </p:style>
            <p:txBody>
              <a:bodyPr spcFirstLastPara="0" vert="horz" wrap="square" lIns="88345" tIns="57865" rIns="88345" bIns="57865" numCol="1" spcCol="1270" anchor="ctr" anchorCtr="0">
                <a:noAutofit/>
              </a:bodyPr>
              <a:lstStyle/>
              <a:p>
                <a:pPr marL="171450" lvl="1" indent="0" algn="ctr" defTabSz="711200">
                  <a:lnSpc>
                    <a:spcPct val="90000"/>
                  </a:lnSpc>
                  <a:spcBef>
                    <a:spcPct val="0"/>
                  </a:spcBef>
                  <a:spcAft>
                    <a:spcPct val="15000"/>
                  </a:spcAft>
                  <a:buNone/>
                </a:pPr>
                <a:r>
                  <a:rPr lang="ru-RU" sz="1600" kern="1200" dirty="0">
                    <a:latin typeface="Century Gothic" panose="020B0502020202020204" pitchFamily="34" charset="0"/>
                  </a:rPr>
                  <a:t>Восстановление секущихся кончиков</a:t>
                </a:r>
                <a:endParaRPr lang="en-US" sz="1600" kern="1200" dirty="0">
                  <a:latin typeface="Century Gothic" panose="020B0502020202020204" pitchFamily="34" charset="0"/>
                </a:endParaRPr>
              </a:p>
            </p:txBody>
          </p:sp>
        </p:grpSp>
        <p:sp>
          <p:nvSpPr>
            <p:cNvPr id="15" name="Freeform: Shape 18"/>
            <p:cNvSpPr/>
            <p:nvPr/>
          </p:nvSpPr>
          <p:spPr>
            <a:xfrm>
              <a:off x="1521112" y="2194097"/>
              <a:ext cx="2284094" cy="560982"/>
            </a:xfrm>
            <a:custGeom>
              <a:avLst/>
              <a:gdLst>
                <a:gd name="connsiteX0" fmla="*/ 0 w 2284094"/>
                <a:gd name="connsiteY0" fmla="*/ 93499 h 560982"/>
                <a:gd name="connsiteX1" fmla="*/ 93499 w 2284094"/>
                <a:gd name="connsiteY1" fmla="*/ 0 h 560982"/>
                <a:gd name="connsiteX2" fmla="*/ 2190595 w 2284094"/>
                <a:gd name="connsiteY2" fmla="*/ 0 h 560982"/>
                <a:gd name="connsiteX3" fmla="*/ 2284094 w 2284094"/>
                <a:gd name="connsiteY3" fmla="*/ 93499 h 560982"/>
                <a:gd name="connsiteX4" fmla="*/ 2284094 w 2284094"/>
                <a:gd name="connsiteY4" fmla="*/ 467483 h 560982"/>
                <a:gd name="connsiteX5" fmla="*/ 2190595 w 2284094"/>
                <a:gd name="connsiteY5" fmla="*/ 560982 h 560982"/>
                <a:gd name="connsiteX6" fmla="*/ 93499 w 2284094"/>
                <a:gd name="connsiteY6" fmla="*/ 560982 h 560982"/>
                <a:gd name="connsiteX7" fmla="*/ 0 w 2284094"/>
                <a:gd name="connsiteY7" fmla="*/ 467483 h 560982"/>
                <a:gd name="connsiteX8" fmla="*/ 0 w 2284094"/>
                <a:gd name="connsiteY8" fmla="*/ 93499 h 560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4094" h="560982">
                  <a:moveTo>
                    <a:pt x="0" y="93499"/>
                  </a:moveTo>
                  <a:cubicBezTo>
                    <a:pt x="0" y="41861"/>
                    <a:pt x="41861" y="0"/>
                    <a:pt x="93499" y="0"/>
                  </a:cubicBezTo>
                  <a:lnTo>
                    <a:pt x="2190595" y="0"/>
                  </a:lnTo>
                  <a:cubicBezTo>
                    <a:pt x="2242233" y="0"/>
                    <a:pt x="2284094" y="41861"/>
                    <a:pt x="2284094" y="93499"/>
                  </a:cubicBezTo>
                  <a:lnTo>
                    <a:pt x="2284094" y="467483"/>
                  </a:lnTo>
                  <a:cubicBezTo>
                    <a:pt x="2284094" y="519121"/>
                    <a:pt x="2242233" y="560982"/>
                    <a:pt x="2190595" y="560982"/>
                  </a:cubicBezTo>
                  <a:lnTo>
                    <a:pt x="93499" y="560982"/>
                  </a:lnTo>
                  <a:cubicBezTo>
                    <a:pt x="41861" y="560982"/>
                    <a:pt x="0" y="519121"/>
                    <a:pt x="0" y="467483"/>
                  </a:cubicBezTo>
                  <a:lnTo>
                    <a:pt x="0" y="93499"/>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8345" tIns="57865" rIns="88345" bIns="57865" numCol="1" spcCol="1270" anchor="ctr" anchorCtr="0">
              <a:noAutofit/>
            </a:bodyPr>
            <a:lstStyle/>
            <a:p>
              <a:pPr marL="0" lvl="0" indent="0" algn="ctr" defTabSz="711200">
                <a:lnSpc>
                  <a:spcPct val="90000"/>
                </a:lnSpc>
                <a:spcBef>
                  <a:spcPct val="0"/>
                </a:spcBef>
                <a:spcAft>
                  <a:spcPct val="35000"/>
                </a:spcAft>
                <a:buNone/>
              </a:pPr>
              <a:r>
                <a:rPr lang="en-US" sz="1600" kern="1200" dirty="0" err="1">
                  <a:latin typeface="Century Gothic Pro" panose="020B0502020202020204" pitchFamily="34" charset="0"/>
                </a:rPr>
                <a:t>Biothairapy</a:t>
              </a:r>
              <a:endParaRPr lang="en-US" sz="1600" kern="1200" dirty="0">
                <a:latin typeface="Century Gothic Pro" panose="020B0502020202020204" pitchFamily="34" charset="0"/>
              </a:endParaRPr>
            </a:p>
          </p:txBody>
        </p:sp>
        <p:sp>
          <p:nvSpPr>
            <p:cNvPr id="16" name="Freeform: Shape 19"/>
            <p:cNvSpPr/>
            <p:nvPr/>
          </p:nvSpPr>
          <p:spPr>
            <a:xfrm>
              <a:off x="3820483" y="2192030"/>
              <a:ext cx="4420648" cy="526212"/>
            </a:xfrm>
            <a:custGeom>
              <a:avLst/>
              <a:gdLst>
                <a:gd name="connsiteX0" fmla="*/ 0 w 4420648"/>
                <a:gd name="connsiteY0" fmla="*/ 70123 h 560982"/>
                <a:gd name="connsiteX1" fmla="*/ 4140157 w 4420648"/>
                <a:gd name="connsiteY1" fmla="*/ 70123 h 560982"/>
                <a:gd name="connsiteX2" fmla="*/ 4140157 w 4420648"/>
                <a:gd name="connsiteY2" fmla="*/ 0 h 560982"/>
                <a:gd name="connsiteX3" fmla="*/ 4420648 w 4420648"/>
                <a:gd name="connsiteY3" fmla="*/ 280491 h 560982"/>
                <a:gd name="connsiteX4" fmla="*/ 4140157 w 4420648"/>
                <a:gd name="connsiteY4" fmla="*/ 560982 h 560982"/>
                <a:gd name="connsiteX5" fmla="*/ 4140157 w 4420648"/>
                <a:gd name="connsiteY5" fmla="*/ 490859 h 560982"/>
                <a:gd name="connsiteX6" fmla="*/ 0 w 4420648"/>
                <a:gd name="connsiteY6" fmla="*/ 490859 h 560982"/>
                <a:gd name="connsiteX7" fmla="*/ 0 w 4420648"/>
                <a:gd name="connsiteY7" fmla="*/ 70123 h 560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20648" h="560982">
                  <a:moveTo>
                    <a:pt x="0" y="70123"/>
                  </a:moveTo>
                  <a:lnTo>
                    <a:pt x="4140157" y="70123"/>
                  </a:lnTo>
                  <a:lnTo>
                    <a:pt x="4140157" y="0"/>
                  </a:lnTo>
                  <a:lnTo>
                    <a:pt x="4420648" y="280491"/>
                  </a:lnTo>
                  <a:lnTo>
                    <a:pt x="4140157" y="560982"/>
                  </a:lnTo>
                  <a:lnTo>
                    <a:pt x="4140157" y="490859"/>
                  </a:lnTo>
                  <a:lnTo>
                    <a:pt x="0" y="490859"/>
                  </a:lnTo>
                  <a:lnTo>
                    <a:pt x="0" y="70123"/>
                  </a:lnTo>
                  <a:close/>
                </a:path>
              </a:pathLst>
            </a:custGeom>
          </p:spPr>
          <p:style>
            <a:lnRef idx="2">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0160" tIns="80283" rIns="220528" bIns="80283" numCol="1" spcCol="1270" anchor="t" anchorCtr="0">
              <a:noAutofit/>
            </a:bodyPr>
            <a:lstStyle/>
            <a:p>
              <a:pPr lvl="0">
                <a:spcBef>
                  <a:spcPct val="0"/>
                </a:spcBef>
                <a:defRPr/>
              </a:pPr>
              <a:r>
                <a:rPr lang="en-US" sz="1600" kern="1200" dirty="0"/>
                <a:t> </a:t>
              </a:r>
              <a:r>
                <a:rPr lang="ru-RU" sz="1200" kern="1200" dirty="0">
                  <a:latin typeface="Century Gothic" panose="020B0502020202020204" pitchFamily="34" charset="0"/>
                </a:rPr>
                <a:t>фокус на корни волос для получения длительных преимуществ </a:t>
              </a:r>
              <a:r>
                <a:rPr lang="en-US" sz="1200" dirty="0">
                  <a:latin typeface="Century Gothic Pro" panose="020B0502020202020204" pitchFamily="34" charset="0"/>
                </a:rPr>
                <a:t>Capauxein ™, </a:t>
              </a:r>
              <a:r>
                <a:rPr lang="en-US" sz="1200" dirty="0" err="1">
                  <a:latin typeface="Century Gothic Pro" panose="020B0502020202020204" pitchFamily="34" charset="0"/>
                </a:rPr>
                <a:t>Chromafend</a:t>
              </a:r>
              <a:r>
                <a:rPr lang="en-US" sz="1200" dirty="0">
                  <a:latin typeface="Century Gothic Pro" panose="020B0502020202020204" pitchFamily="34" charset="0"/>
                </a:rPr>
                <a:t> ™,</a:t>
              </a:r>
            </a:p>
            <a:p>
              <a:pPr lvl="0">
                <a:spcBef>
                  <a:spcPct val="0"/>
                </a:spcBef>
                <a:defRPr/>
              </a:pPr>
              <a:r>
                <a:rPr lang="en-US" sz="1200" dirty="0">
                  <a:latin typeface="Century Gothic Pro" panose="020B0502020202020204" pitchFamily="34" charset="0"/>
                </a:rPr>
                <a:t> Dynagen ™</a:t>
              </a:r>
              <a:endParaRPr lang="en-US" sz="1200" kern="1200" dirty="0">
                <a:latin typeface="Century Gothic Pro" panose="020B0502020202020204" pitchFamily="34" charset="0"/>
              </a:endParaRPr>
            </a:p>
            <a:p>
              <a:pPr marL="0" marR="0" lvl="0" indent="0" algn="l" defTabSz="914400" eaLnBrk="1" fontAlgn="auto" latinLnBrk="0" hangingPunct="1">
                <a:lnSpc>
                  <a:spcPct val="100000"/>
                </a:lnSpc>
                <a:spcBef>
                  <a:spcPct val="0"/>
                </a:spcBef>
                <a:spcAft>
                  <a:spcPts val="0"/>
                </a:spcAft>
                <a:buClrTx/>
                <a:buSzTx/>
                <a:buFontTx/>
                <a:buNone/>
                <a:tabLst/>
                <a:defRPr/>
              </a:pPr>
              <a:endParaRPr lang="en-US" sz="1600" kern="1200" dirty="0"/>
            </a:p>
            <a:p>
              <a:pPr marL="171450" lvl="1" indent="0" algn="l" defTabSz="711200">
                <a:lnSpc>
                  <a:spcPct val="90000"/>
                </a:lnSpc>
                <a:spcBef>
                  <a:spcPct val="0"/>
                </a:spcBef>
                <a:spcAft>
                  <a:spcPct val="15000"/>
                </a:spcAft>
                <a:buChar char="•"/>
              </a:pPr>
              <a:endParaRPr lang="en-US" sz="1600" kern="1200" dirty="0"/>
            </a:p>
          </p:txBody>
        </p:sp>
        <p:sp>
          <p:nvSpPr>
            <p:cNvPr id="17" name="Freeform: Shape 20"/>
            <p:cNvSpPr/>
            <p:nvPr/>
          </p:nvSpPr>
          <p:spPr>
            <a:xfrm>
              <a:off x="1521112" y="2887830"/>
              <a:ext cx="2299371" cy="540109"/>
            </a:xfrm>
            <a:custGeom>
              <a:avLst/>
              <a:gdLst>
                <a:gd name="connsiteX0" fmla="*/ 0 w 2315527"/>
                <a:gd name="connsiteY0" fmla="*/ 93499 h 560982"/>
                <a:gd name="connsiteX1" fmla="*/ 93499 w 2315527"/>
                <a:gd name="connsiteY1" fmla="*/ 0 h 560982"/>
                <a:gd name="connsiteX2" fmla="*/ 2222028 w 2315527"/>
                <a:gd name="connsiteY2" fmla="*/ 0 h 560982"/>
                <a:gd name="connsiteX3" fmla="*/ 2315527 w 2315527"/>
                <a:gd name="connsiteY3" fmla="*/ 93499 h 560982"/>
                <a:gd name="connsiteX4" fmla="*/ 2315527 w 2315527"/>
                <a:gd name="connsiteY4" fmla="*/ 467483 h 560982"/>
                <a:gd name="connsiteX5" fmla="*/ 2222028 w 2315527"/>
                <a:gd name="connsiteY5" fmla="*/ 560982 h 560982"/>
                <a:gd name="connsiteX6" fmla="*/ 93499 w 2315527"/>
                <a:gd name="connsiteY6" fmla="*/ 560982 h 560982"/>
                <a:gd name="connsiteX7" fmla="*/ 0 w 2315527"/>
                <a:gd name="connsiteY7" fmla="*/ 467483 h 560982"/>
                <a:gd name="connsiteX8" fmla="*/ 0 w 2315527"/>
                <a:gd name="connsiteY8" fmla="*/ 93499 h 560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5527" h="560982">
                  <a:moveTo>
                    <a:pt x="0" y="93499"/>
                  </a:moveTo>
                  <a:cubicBezTo>
                    <a:pt x="0" y="41861"/>
                    <a:pt x="41861" y="0"/>
                    <a:pt x="93499" y="0"/>
                  </a:cubicBezTo>
                  <a:lnTo>
                    <a:pt x="2222028" y="0"/>
                  </a:lnTo>
                  <a:cubicBezTo>
                    <a:pt x="2273666" y="0"/>
                    <a:pt x="2315527" y="41861"/>
                    <a:pt x="2315527" y="93499"/>
                  </a:cubicBezTo>
                  <a:lnTo>
                    <a:pt x="2315527" y="467483"/>
                  </a:lnTo>
                  <a:cubicBezTo>
                    <a:pt x="2315527" y="519121"/>
                    <a:pt x="2273666" y="560982"/>
                    <a:pt x="2222028" y="560982"/>
                  </a:cubicBezTo>
                  <a:lnTo>
                    <a:pt x="93499" y="560982"/>
                  </a:lnTo>
                  <a:cubicBezTo>
                    <a:pt x="41861" y="560982"/>
                    <a:pt x="0" y="519121"/>
                    <a:pt x="0" y="467483"/>
                  </a:cubicBezTo>
                  <a:lnTo>
                    <a:pt x="0" y="93499"/>
                  </a:lnTo>
                  <a:close/>
                </a:path>
              </a:pathLst>
            </a:custGeom>
          </p:spPr>
          <p:style>
            <a:lnRef idx="2">
              <a:schemeClr val="lt1">
                <a:hueOff val="0"/>
                <a:satOff val="0"/>
                <a:lumOff val="0"/>
                <a:alphaOff val="0"/>
              </a:schemeClr>
            </a:lnRef>
            <a:fillRef idx="1">
              <a:schemeClr val="accent3">
                <a:hueOff val="-509659"/>
                <a:satOff val="-9740"/>
                <a:lumOff val="-3235"/>
                <a:alphaOff val="0"/>
              </a:schemeClr>
            </a:fillRef>
            <a:effectRef idx="0">
              <a:schemeClr val="accent3">
                <a:hueOff val="-509659"/>
                <a:satOff val="-9740"/>
                <a:lumOff val="-3235"/>
                <a:alphaOff val="0"/>
              </a:schemeClr>
            </a:effectRef>
            <a:fontRef idx="minor">
              <a:schemeClr val="lt1"/>
            </a:fontRef>
          </p:style>
          <p:txBody>
            <a:bodyPr spcFirstLastPara="0" vert="horz" wrap="square" lIns="88345" tIns="57865" rIns="88345" bIns="57865" numCol="1" spcCol="1270" anchor="ctr" anchorCtr="0">
              <a:noAutofit/>
            </a:bodyPr>
            <a:lstStyle/>
            <a:p>
              <a:pPr marL="0" lvl="0" indent="0" algn="ctr" defTabSz="711200">
                <a:lnSpc>
                  <a:spcPct val="90000"/>
                </a:lnSpc>
                <a:spcBef>
                  <a:spcPct val="0"/>
                </a:spcBef>
                <a:spcAft>
                  <a:spcPct val="35000"/>
                </a:spcAft>
                <a:buNone/>
              </a:pPr>
              <a:r>
                <a:rPr lang="ru-RU" sz="1600" kern="1200" dirty="0">
                  <a:latin typeface="Century Gothic" panose="020B0502020202020204" pitchFamily="34" charset="0"/>
                </a:rPr>
                <a:t>Укрепление волос и мультипликатор</a:t>
              </a:r>
              <a:r>
                <a:rPr lang="en-US" sz="1600" dirty="0">
                  <a:latin typeface="Century Gothic" panose="020B0502020202020204" pitchFamily="34" charset="0"/>
                </a:rPr>
                <a:t> </a:t>
              </a:r>
              <a:r>
                <a:rPr lang="ru-RU" sz="1600" kern="1200" dirty="0">
                  <a:latin typeface="Century Gothic" panose="020B0502020202020204" pitchFamily="34" charset="0"/>
                </a:rPr>
                <a:t>связей</a:t>
              </a:r>
              <a:endParaRPr lang="en-US" sz="1600" kern="1200" dirty="0">
                <a:latin typeface="Century Gothic" panose="020B0502020202020204" pitchFamily="34" charset="0"/>
              </a:endParaRPr>
            </a:p>
          </p:txBody>
        </p:sp>
      </p:grpSp>
    </p:spTree>
    <p:extLst>
      <p:ext uri="{BB962C8B-B14F-4D97-AF65-F5344CB8AC3E}">
        <p14:creationId xmlns:p14="http://schemas.microsoft.com/office/powerpoint/2010/main" val="6129214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latin typeface="Century Gothic Pro" panose="020B0502020202020204" pitchFamily="34" charset="0"/>
              </a:rPr>
              <a:t>Style Fusion™</a:t>
            </a:r>
            <a:r>
              <a:rPr lang="en-US" baseline="30000" dirty="0">
                <a:latin typeface="Century Gothic Pro" panose="020B0502020202020204" pitchFamily="34" charset="0"/>
              </a:rPr>
              <a:t> </a:t>
            </a:r>
            <a:r>
              <a:rPr lang="en-US" dirty="0">
                <a:latin typeface="Century Gothic Pro" panose="020B0502020202020204" pitchFamily="34" charset="0"/>
              </a:rPr>
              <a:t> complex 1–</a:t>
            </a:r>
            <a:br>
              <a:rPr lang="en-US" dirty="0">
                <a:latin typeface="Century Gothic Pro" panose="020B0502020202020204" pitchFamily="34" charset="0"/>
              </a:rPr>
            </a:br>
            <a:r>
              <a:rPr lang="ru-RU" dirty="0">
                <a:latin typeface="Century Gothic Pro" panose="020B0502020202020204" pitchFamily="34" charset="0"/>
              </a:rPr>
              <a:t>химия</a:t>
            </a:r>
            <a:endParaRPr lang="en-US" dirty="0">
              <a:latin typeface="Century Gothic Pro" panose="020B0502020202020204" pitchFamily="34" charset="0"/>
            </a:endParaRPr>
          </a:p>
        </p:txBody>
      </p:sp>
      <p:sp>
        <p:nvSpPr>
          <p:cNvPr id="4" name="Slide Number Placeholder 3"/>
          <p:cNvSpPr>
            <a:spLocks noGrp="1"/>
          </p:cNvSpPr>
          <p:nvPr>
            <p:ph type="sldNum" sz="quarter" idx="4294967295"/>
          </p:nvPr>
        </p:nvSpPr>
        <p:spPr>
          <a:xfrm>
            <a:off x="294372" y="6270090"/>
            <a:ext cx="1137611" cy="365125"/>
          </a:xfrm>
        </p:spPr>
        <p:txBody>
          <a:bodyPr/>
          <a:lstStyle/>
          <a:p>
            <a:fld id="{91393B01-7800-434A-B836-B3320A3476BB}" type="slidenum">
              <a:rPr lang="en-US" smtClean="0">
                <a:latin typeface="Century Gothic Pro" panose="020B0502020202020204" pitchFamily="34" charset="0"/>
              </a:rPr>
              <a:pPr/>
              <a:t>30</a:t>
            </a:fld>
            <a:endParaRPr lang="en-US">
              <a:latin typeface="Century Gothic Pro" panose="020B0502020202020204" pitchFamily="34" charset="0"/>
            </a:endParaRPr>
          </a:p>
        </p:txBody>
      </p:sp>
      <p:sp>
        <p:nvSpPr>
          <p:cNvPr id="5" name="TextBox 4"/>
          <p:cNvSpPr txBox="1"/>
          <p:nvPr/>
        </p:nvSpPr>
        <p:spPr>
          <a:xfrm>
            <a:off x="377965" y="1624022"/>
            <a:ext cx="3430637" cy="369332"/>
          </a:xfrm>
          <a:prstGeom prst="rect">
            <a:avLst/>
          </a:prstGeom>
          <a:solidFill>
            <a:schemeClr val="accent3"/>
          </a:solidFill>
        </p:spPr>
        <p:txBody>
          <a:bodyPr wrap="square" rtlCol="0">
            <a:spAutoFit/>
          </a:bodyPr>
          <a:lstStyle/>
          <a:p>
            <a:r>
              <a:rPr lang="ru-RU" b="1" dirty="0">
                <a:solidFill>
                  <a:schemeClr val="bg1"/>
                </a:solidFill>
                <a:latin typeface="Century Gothic Pro" panose="020B0502020202020204" pitchFamily="34" charset="0"/>
              </a:rPr>
              <a:t>Химическая структура</a:t>
            </a:r>
            <a:endParaRPr lang="nl-NL" b="1" dirty="0">
              <a:solidFill>
                <a:schemeClr val="bg1"/>
              </a:solidFill>
              <a:latin typeface="Century Gothic Pro" panose="020B0502020202020204" pitchFamily="34" charset="0"/>
            </a:endParaRPr>
          </a:p>
        </p:txBody>
      </p:sp>
      <p:cxnSp>
        <p:nvCxnSpPr>
          <p:cNvPr id="9" name="Straight Connector 8"/>
          <p:cNvCxnSpPr/>
          <p:nvPr/>
        </p:nvCxnSpPr>
        <p:spPr>
          <a:xfrm>
            <a:off x="4558342" y="2225689"/>
            <a:ext cx="0" cy="3291840"/>
          </a:xfrm>
          <a:prstGeom prst="line">
            <a:avLst/>
          </a:prstGeom>
          <a:ln/>
        </p:spPr>
        <p:style>
          <a:lnRef idx="1">
            <a:schemeClr val="accent3"/>
          </a:lnRef>
          <a:fillRef idx="0">
            <a:schemeClr val="accent3"/>
          </a:fillRef>
          <a:effectRef idx="0">
            <a:schemeClr val="accent3"/>
          </a:effectRef>
          <a:fontRef idx="minor">
            <a:schemeClr val="tx1"/>
          </a:fontRef>
        </p:style>
      </p:cxnSp>
      <p:graphicFrame>
        <p:nvGraphicFramePr>
          <p:cNvPr id="10" name="Table 9"/>
          <p:cNvGraphicFramePr>
            <a:graphicFrameLocks noGrp="1"/>
          </p:cNvGraphicFramePr>
          <p:nvPr>
            <p:extLst>
              <p:ext uri="{D42A27DB-BD31-4B8C-83A1-F6EECF244321}">
                <p14:modId xmlns:p14="http://schemas.microsoft.com/office/powerpoint/2010/main" val="106966953"/>
              </p:ext>
            </p:extLst>
          </p:nvPr>
        </p:nvGraphicFramePr>
        <p:xfrm>
          <a:off x="4833257" y="2407228"/>
          <a:ext cx="5010581" cy="2987040"/>
        </p:xfrm>
        <a:graphic>
          <a:graphicData uri="http://schemas.openxmlformats.org/drawingml/2006/table">
            <a:tbl>
              <a:tblPr firstRow="1" bandRow="1">
                <a:tableStyleId>{8799B23B-EC83-4686-B30A-512413B5E67A}</a:tableStyleId>
              </a:tblPr>
              <a:tblGrid>
                <a:gridCol w="2675740">
                  <a:extLst>
                    <a:ext uri="{9D8B030D-6E8A-4147-A177-3AD203B41FA5}">
                      <a16:colId xmlns:a16="http://schemas.microsoft.com/office/drawing/2014/main" xmlns="" val="20000"/>
                    </a:ext>
                  </a:extLst>
                </a:gridCol>
                <a:gridCol w="2334841">
                  <a:extLst>
                    <a:ext uri="{9D8B030D-6E8A-4147-A177-3AD203B41FA5}">
                      <a16:colId xmlns:a16="http://schemas.microsoft.com/office/drawing/2014/main" xmlns="" val="20001"/>
                    </a:ext>
                  </a:extLst>
                </a:gridCol>
              </a:tblGrid>
              <a:tr h="259080">
                <a:tc>
                  <a:txBody>
                    <a:bodyPr/>
                    <a:lstStyle/>
                    <a:p>
                      <a:r>
                        <a:rPr lang="ru-RU" sz="1600" dirty="0">
                          <a:solidFill>
                            <a:schemeClr val="tx1">
                              <a:lumMod val="50000"/>
                              <a:lumOff val="50000"/>
                            </a:schemeClr>
                          </a:solidFill>
                          <a:latin typeface="Century Gothic" panose="020B0502020202020204" pitchFamily="34" charset="0"/>
                        </a:rPr>
                        <a:t>Свойства</a:t>
                      </a:r>
                      <a:endParaRPr lang="nl-NL" sz="1600" dirty="0">
                        <a:solidFill>
                          <a:schemeClr val="tx1">
                            <a:lumMod val="50000"/>
                            <a:lumOff val="50000"/>
                          </a:schemeClr>
                        </a:solidFill>
                        <a:latin typeface="Century Gothic" panose="020B0502020202020204" pitchFamily="34" charset="0"/>
                      </a:endParaRPr>
                    </a:p>
                  </a:txBody>
                  <a:tcPr/>
                </a:tc>
                <a:tc>
                  <a:txBody>
                    <a:bodyPr/>
                    <a:lstStyle/>
                    <a:p>
                      <a:r>
                        <a:rPr lang="ru-RU" sz="1600" dirty="0">
                          <a:solidFill>
                            <a:schemeClr val="tx1">
                              <a:lumMod val="50000"/>
                              <a:lumOff val="50000"/>
                            </a:schemeClr>
                          </a:solidFill>
                          <a:latin typeface="Century Gothic" panose="020B0502020202020204" pitchFamily="34" charset="0"/>
                        </a:rPr>
                        <a:t>Показатели </a:t>
                      </a:r>
                      <a:endParaRPr lang="nl-NL" sz="1600" dirty="0">
                        <a:solidFill>
                          <a:schemeClr val="tx1">
                            <a:lumMod val="50000"/>
                            <a:lumOff val="50000"/>
                          </a:schemeClr>
                        </a:solidFill>
                        <a:latin typeface="Century Gothic" panose="020B0502020202020204" pitchFamily="34" charset="0"/>
                      </a:endParaRPr>
                    </a:p>
                  </a:txBody>
                  <a:tcPr/>
                </a:tc>
                <a:extLst>
                  <a:ext uri="{0D108BD9-81ED-4DB2-BD59-A6C34878D82A}">
                    <a16:rowId xmlns:a16="http://schemas.microsoft.com/office/drawing/2014/main" xmlns="" val="10000"/>
                  </a:ext>
                </a:extLst>
              </a:tr>
              <a:tr h="222673">
                <a:tc>
                  <a:txBody>
                    <a:bodyPr/>
                    <a:lstStyle/>
                    <a:p>
                      <a:r>
                        <a:rPr lang="ru-RU" sz="1600" dirty="0">
                          <a:solidFill>
                            <a:schemeClr val="tx1">
                              <a:lumMod val="50000"/>
                              <a:lumOff val="50000"/>
                            </a:schemeClr>
                          </a:solidFill>
                          <a:latin typeface="Century Gothic" panose="020B0502020202020204" pitchFamily="34" charset="0"/>
                        </a:rPr>
                        <a:t>Внешний вид</a:t>
                      </a:r>
                      <a:endParaRPr lang="nl-NL" sz="1600" dirty="0">
                        <a:solidFill>
                          <a:schemeClr val="tx1">
                            <a:lumMod val="50000"/>
                            <a:lumOff val="50000"/>
                          </a:schemeClr>
                        </a:solidFill>
                        <a:latin typeface="Century Gothic" panose="020B0502020202020204" pitchFamily="34" charset="0"/>
                      </a:endParaRPr>
                    </a:p>
                  </a:txBody>
                  <a:tcPr/>
                </a:tc>
                <a:tc>
                  <a:txBody>
                    <a:bodyPr/>
                    <a:lstStyle/>
                    <a:p>
                      <a:r>
                        <a:rPr lang="ru-RU" sz="1600" dirty="0">
                          <a:solidFill>
                            <a:schemeClr val="tx1">
                              <a:lumMod val="50000"/>
                              <a:lumOff val="50000"/>
                            </a:schemeClr>
                          </a:solidFill>
                          <a:latin typeface="Century Gothic" panose="020B0502020202020204" pitchFamily="34" charset="0"/>
                        </a:rPr>
                        <a:t>Белый опалесцирующий жидкий лосьон</a:t>
                      </a:r>
                      <a:endParaRPr lang="nl-NL" sz="1600" dirty="0">
                        <a:solidFill>
                          <a:schemeClr val="tx1">
                            <a:lumMod val="50000"/>
                            <a:lumOff val="50000"/>
                          </a:schemeClr>
                        </a:solidFill>
                        <a:latin typeface="Century Gothic" panose="020B0502020202020204" pitchFamily="34" charset="0"/>
                      </a:endParaRPr>
                    </a:p>
                  </a:txBody>
                  <a:tcPr/>
                </a:tc>
                <a:extLst>
                  <a:ext uri="{0D108BD9-81ED-4DB2-BD59-A6C34878D82A}">
                    <a16:rowId xmlns:a16="http://schemas.microsoft.com/office/drawing/2014/main" xmlns="" val="10001"/>
                  </a:ext>
                </a:extLst>
              </a:tr>
              <a:tr h="222673">
                <a:tc>
                  <a:txBody>
                    <a:bodyPr/>
                    <a:lstStyle/>
                    <a:p>
                      <a:r>
                        <a:rPr lang="ru-RU" sz="1600" dirty="0">
                          <a:solidFill>
                            <a:schemeClr val="tx1">
                              <a:lumMod val="50000"/>
                              <a:lumOff val="50000"/>
                            </a:schemeClr>
                          </a:solidFill>
                          <a:latin typeface="Century Gothic" panose="020B0502020202020204" pitchFamily="34" charset="0"/>
                        </a:rPr>
                        <a:t>Запах</a:t>
                      </a:r>
                      <a:r>
                        <a:rPr lang="ru-RU" sz="1600" baseline="0" dirty="0">
                          <a:solidFill>
                            <a:schemeClr val="tx1">
                              <a:lumMod val="50000"/>
                              <a:lumOff val="50000"/>
                            </a:schemeClr>
                          </a:solidFill>
                          <a:latin typeface="Century Gothic" panose="020B0502020202020204" pitchFamily="34" charset="0"/>
                        </a:rPr>
                        <a:t> </a:t>
                      </a:r>
                      <a:endParaRPr lang="nl-NL" sz="1600" dirty="0">
                        <a:solidFill>
                          <a:schemeClr val="tx1">
                            <a:lumMod val="50000"/>
                            <a:lumOff val="50000"/>
                          </a:schemeClr>
                        </a:solidFill>
                        <a:latin typeface="Century Gothic" panose="020B0502020202020204" pitchFamily="34" charset="0"/>
                      </a:endParaRPr>
                    </a:p>
                  </a:txBody>
                  <a:tcPr/>
                </a:tc>
                <a:tc>
                  <a:txBody>
                    <a:bodyPr/>
                    <a:lstStyle/>
                    <a:p>
                      <a:r>
                        <a:rPr lang="ru-RU" sz="1600" dirty="0">
                          <a:solidFill>
                            <a:schemeClr val="tx1">
                              <a:lumMod val="50000"/>
                              <a:lumOff val="50000"/>
                            </a:schemeClr>
                          </a:solidFill>
                          <a:latin typeface="Century Gothic" panose="020B0502020202020204" pitchFamily="34" charset="0"/>
                        </a:rPr>
                        <a:t>Характерный</a:t>
                      </a:r>
                      <a:r>
                        <a:rPr lang="ru-RU" sz="1600" baseline="0" dirty="0">
                          <a:solidFill>
                            <a:schemeClr val="tx1">
                              <a:lumMod val="50000"/>
                              <a:lumOff val="50000"/>
                            </a:schemeClr>
                          </a:solidFill>
                          <a:latin typeface="Century Gothic" panose="020B0502020202020204" pitchFamily="34" charset="0"/>
                        </a:rPr>
                        <a:t> </a:t>
                      </a:r>
                      <a:endParaRPr lang="nl-NL" sz="1600" dirty="0">
                        <a:solidFill>
                          <a:schemeClr val="tx1">
                            <a:lumMod val="50000"/>
                            <a:lumOff val="50000"/>
                          </a:schemeClr>
                        </a:solidFill>
                        <a:latin typeface="Century Gothic" panose="020B0502020202020204" pitchFamily="34" charset="0"/>
                      </a:endParaRPr>
                    </a:p>
                  </a:txBody>
                  <a:tcPr/>
                </a:tc>
                <a:extLst>
                  <a:ext uri="{0D108BD9-81ED-4DB2-BD59-A6C34878D82A}">
                    <a16:rowId xmlns:a16="http://schemas.microsoft.com/office/drawing/2014/main" xmlns="" val="10002"/>
                  </a:ext>
                </a:extLst>
              </a:tr>
              <a:tr h="222673">
                <a:tc>
                  <a:txBody>
                    <a:bodyPr/>
                    <a:lstStyle/>
                    <a:p>
                      <a:r>
                        <a:rPr lang="ru-RU" sz="1600" kern="1200" dirty="0">
                          <a:solidFill>
                            <a:schemeClr val="tx1">
                              <a:lumMod val="50000"/>
                              <a:lumOff val="50000"/>
                            </a:schemeClr>
                          </a:solidFill>
                          <a:latin typeface="Century Gothic" panose="020B0502020202020204" pitchFamily="34" charset="0"/>
                        </a:rPr>
                        <a:t>Основной компонент</a:t>
                      </a:r>
                      <a:r>
                        <a:rPr lang="en-US" sz="1600" kern="1200" dirty="0">
                          <a:solidFill>
                            <a:schemeClr val="tx1">
                              <a:lumMod val="50000"/>
                              <a:lumOff val="50000"/>
                            </a:schemeClr>
                          </a:solidFill>
                          <a:latin typeface="Century Gothic" panose="020B0502020202020204" pitchFamily="34" charset="0"/>
                        </a:rPr>
                        <a:t>,%</a:t>
                      </a:r>
                      <a:endParaRPr lang="nl-NL" sz="1600" dirty="0">
                        <a:solidFill>
                          <a:schemeClr val="tx1">
                            <a:lumMod val="50000"/>
                            <a:lumOff val="50000"/>
                          </a:schemeClr>
                        </a:solidFill>
                        <a:latin typeface="Century Gothic" panose="020B0502020202020204" pitchFamily="34" charset="0"/>
                      </a:endParaRPr>
                    </a:p>
                  </a:txBody>
                  <a:tcPr/>
                </a:tc>
                <a:tc>
                  <a:txBody>
                    <a:bodyPr/>
                    <a:lstStyle/>
                    <a:p>
                      <a:r>
                        <a:rPr lang="nl-NL" sz="1600" dirty="0">
                          <a:solidFill>
                            <a:schemeClr val="tx1">
                              <a:lumMod val="50000"/>
                              <a:lumOff val="50000"/>
                            </a:schemeClr>
                          </a:solidFill>
                          <a:latin typeface="Century Gothic" panose="020B0502020202020204" pitchFamily="34" charset="0"/>
                        </a:rPr>
                        <a:t>10%</a:t>
                      </a:r>
                    </a:p>
                  </a:txBody>
                  <a:tcPr/>
                </a:tc>
                <a:extLst>
                  <a:ext uri="{0D108BD9-81ED-4DB2-BD59-A6C34878D82A}">
                    <a16:rowId xmlns:a16="http://schemas.microsoft.com/office/drawing/2014/main" xmlns="" val="10004"/>
                  </a:ext>
                </a:extLst>
              </a:tr>
              <a:tr h="222673">
                <a:tc>
                  <a:txBody>
                    <a:bodyPr/>
                    <a:lstStyle/>
                    <a:p>
                      <a:r>
                        <a:rPr lang="en-US" sz="1600" kern="1200" dirty="0">
                          <a:solidFill>
                            <a:schemeClr val="tx1">
                              <a:lumMod val="50000"/>
                              <a:lumOff val="50000"/>
                            </a:schemeClr>
                          </a:solidFill>
                          <a:latin typeface="Century Gothic" panose="020B0502020202020204" pitchFamily="34" charset="0"/>
                        </a:rPr>
                        <a:t>pH @ 25°C</a:t>
                      </a:r>
                      <a:endParaRPr lang="nl-NL" sz="1600" dirty="0">
                        <a:solidFill>
                          <a:schemeClr val="tx1">
                            <a:lumMod val="50000"/>
                            <a:lumOff val="50000"/>
                          </a:schemeClr>
                        </a:solidFill>
                        <a:latin typeface="Century Gothic" panose="020B0502020202020204" pitchFamily="34" charset="0"/>
                      </a:endParaRPr>
                    </a:p>
                  </a:txBody>
                  <a:tcPr/>
                </a:tc>
                <a:tc>
                  <a:txBody>
                    <a:bodyPr/>
                    <a:lstStyle/>
                    <a:p>
                      <a:r>
                        <a:rPr lang="nl-NL" sz="1600" dirty="0">
                          <a:solidFill>
                            <a:schemeClr val="tx1">
                              <a:lumMod val="50000"/>
                              <a:lumOff val="50000"/>
                            </a:schemeClr>
                          </a:solidFill>
                          <a:latin typeface="Century Gothic" panose="020B0502020202020204" pitchFamily="34" charset="0"/>
                        </a:rPr>
                        <a:t>6.9 -7.9</a:t>
                      </a:r>
                    </a:p>
                  </a:txBody>
                  <a:tcPr/>
                </a:tc>
                <a:extLst>
                  <a:ext uri="{0D108BD9-81ED-4DB2-BD59-A6C34878D82A}">
                    <a16:rowId xmlns:a16="http://schemas.microsoft.com/office/drawing/2014/main" xmlns="" val="10005"/>
                  </a:ext>
                </a:extLst>
              </a:tr>
              <a:tr h="222673">
                <a:tc>
                  <a:txBody>
                    <a:bodyPr/>
                    <a:lstStyle/>
                    <a:p>
                      <a:r>
                        <a:rPr lang="ru-RU" sz="1600" kern="1200" dirty="0">
                          <a:solidFill>
                            <a:schemeClr val="tx1">
                              <a:lumMod val="50000"/>
                              <a:lumOff val="50000"/>
                            </a:schemeClr>
                          </a:solidFill>
                          <a:latin typeface="Century Gothic" panose="020B0502020202020204" pitchFamily="34" charset="0"/>
                        </a:rPr>
                        <a:t>Вязкость</a:t>
                      </a:r>
                      <a:r>
                        <a:rPr lang="ru-RU" sz="1600" kern="1200" baseline="0" dirty="0">
                          <a:solidFill>
                            <a:schemeClr val="tx1">
                              <a:lumMod val="50000"/>
                              <a:lumOff val="50000"/>
                            </a:schemeClr>
                          </a:solidFill>
                          <a:latin typeface="Century Gothic" panose="020B0502020202020204" pitchFamily="34" charset="0"/>
                        </a:rPr>
                        <a:t>, Брукфильд</a:t>
                      </a:r>
                      <a:r>
                        <a:rPr lang="en-US" sz="1600" kern="1200" dirty="0">
                          <a:solidFill>
                            <a:schemeClr val="tx1">
                              <a:lumMod val="50000"/>
                              <a:lumOff val="50000"/>
                            </a:schemeClr>
                          </a:solidFill>
                          <a:latin typeface="Century Gothic" panose="020B0502020202020204" pitchFamily="34" charset="0"/>
                        </a:rPr>
                        <a:t>, cps (RVT,sp4,10 RPM @ 25°C)</a:t>
                      </a:r>
                      <a:endParaRPr lang="nl-NL" sz="1600" dirty="0">
                        <a:solidFill>
                          <a:schemeClr val="tx1">
                            <a:lumMod val="50000"/>
                            <a:lumOff val="50000"/>
                          </a:schemeClr>
                        </a:solidFill>
                        <a:latin typeface="Century Gothic" panose="020B0502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lumMod val="50000"/>
                              <a:lumOff val="50000"/>
                            </a:schemeClr>
                          </a:solidFill>
                          <a:latin typeface="Century Gothic" panose="020B0502020202020204" pitchFamily="34" charset="0"/>
                        </a:rPr>
                        <a:t>1000 – 3000 cps</a:t>
                      </a:r>
                    </a:p>
                  </a:txBody>
                  <a:tcPr/>
                </a:tc>
                <a:extLst>
                  <a:ext uri="{0D108BD9-81ED-4DB2-BD59-A6C34878D82A}">
                    <a16:rowId xmlns:a16="http://schemas.microsoft.com/office/drawing/2014/main" xmlns="" val="10006"/>
                  </a:ext>
                </a:extLst>
              </a:tr>
            </a:tbl>
          </a:graphicData>
        </a:graphic>
      </p:graphicFrame>
      <p:sp>
        <p:nvSpPr>
          <p:cNvPr id="11" name="TextBox 10"/>
          <p:cNvSpPr txBox="1"/>
          <p:nvPr/>
        </p:nvSpPr>
        <p:spPr>
          <a:xfrm>
            <a:off x="4897661" y="1653595"/>
            <a:ext cx="2526721" cy="369332"/>
          </a:xfrm>
          <a:prstGeom prst="rect">
            <a:avLst/>
          </a:prstGeom>
          <a:solidFill>
            <a:schemeClr val="accent3"/>
          </a:solidFill>
        </p:spPr>
        <p:txBody>
          <a:bodyPr wrap="square" rtlCol="0">
            <a:spAutoFit/>
          </a:bodyPr>
          <a:lstStyle/>
          <a:p>
            <a:r>
              <a:rPr lang="ru-RU" b="1" dirty="0">
                <a:solidFill>
                  <a:schemeClr val="bg1"/>
                </a:solidFill>
                <a:latin typeface="Century Gothic Pro" panose="020B0502020202020204" pitchFamily="34" charset="0"/>
              </a:rPr>
              <a:t>Типичные свойства</a:t>
            </a:r>
            <a:endParaRPr lang="nl-NL" b="1" dirty="0">
              <a:solidFill>
                <a:schemeClr val="bg1"/>
              </a:solidFill>
              <a:latin typeface="Century Gothic Pro" panose="020B0502020202020204" pitchFamily="34" charset="0"/>
            </a:endParaRPr>
          </a:p>
        </p:txBody>
      </p:sp>
      <p:pic>
        <p:nvPicPr>
          <p:cNvPr id="13" name="Picture 12" descr="5029"/>
          <p:cNvPicPr/>
          <p:nvPr/>
        </p:nvPicPr>
        <p:blipFill>
          <a:blip r:embed="rId2" cstate="print"/>
          <a:srcRect/>
          <a:stretch>
            <a:fillRect/>
          </a:stretch>
        </p:blipFill>
        <p:spPr bwMode="auto">
          <a:xfrm>
            <a:off x="377965" y="2085007"/>
            <a:ext cx="3012440" cy="1590675"/>
          </a:xfrm>
          <a:prstGeom prst="rect">
            <a:avLst/>
          </a:prstGeom>
          <a:noFill/>
          <a:ln w="9525">
            <a:noFill/>
            <a:miter lim="800000"/>
            <a:headEnd/>
            <a:tailEnd/>
          </a:ln>
        </p:spPr>
      </p:pic>
      <p:pic>
        <p:nvPicPr>
          <p:cNvPr id="14" name="Picture 13"/>
          <p:cNvPicPr/>
          <p:nvPr/>
        </p:nvPicPr>
        <p:blipFill>
          <a:blip r:embed="rId3" cstate="print"/>
          <a:srcRect/>
          <a:stretch>
            <a:fillRect/>
          </a:stretch>
        </p:blipFill>
        <p:spPr bwMode="auto">
          <a:xfrm>
            <a:off x="377965" y="4241629"/>
            <a:ext cx="2789555" cy="1371600"/>
          </a:xfrm>
          <a:prstGeom prst="rect">
            <a:avLst/>
          </a:prstGeom>
          <a:noFill/>
          <a:ln w="9525">
            <a:noFill/>
            <a:miter lim="800000"/>
            <a:headEnd/>
            <a:tailEnd/>
          </a:ln>
        </p:spPr>
      </p:pic>
      <p:sp>
        <p:nvSpPr>
          <p:cNvPr id="15" name="TextBox 36"/>
          <p:cNvSpPr txBox="1">
            <a:spLocks noChangeArrowheads="1"/>
          </p:cNvSpPr>
          <p:nvPr/>
        </p:nvSpPr>
        <p:spPr bwMode="auto">
          <a:xfrm>
            <a:off x="319260" y="3588886"/>
            <a:ext cx="1355725" cy="394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none" lIns="91440" tIns="45720" rIns="91440" bIns="45720" anchor="t" anchorCtr="0" upright="1">
            <a:noAutofit/>
          </a:bodyPr>
          <a:lstStyle/>
          <a:p>
            <a:pPr fontAlgn="base">
              <a:spcAft>
                <a:spcPts val="0"/>
              </a:spcAft>
            </a:pPr>
            <a:r>
              <a:rPr lang="en-US" sz="1100" kern="1200">
                <a:solidFill>
                  <a:srgbClr val="000000"/>
                </a:solidFill>
                <a:effectLst/>
                <a:latin typeface="Century Gothic Pro" panose="020B0502020202020204" pitchFamily="34" charset="0"/>
                <a:ea typeface="ヒラギノ角ゴ Pro W3"/>
                <a:cs typeface="Times New Roman" panose="02020603050405020304" pitchFamily="18" charset="0"/>
              </a:rPr>
              <a:t>Polyquaternium-28</a:t>
            </a:r>
            <a:endParaRPr lang="de-DE" sz="1200">
              <a:effectLst/>
              <a:latin typeface="Century Gothic Pro" panose="020B0502020202020204" pitchFamily="34" charset="0"/>
              <a:ea typeface="Times New Roman" panose="02020603050405020304" pitchFamily="18" charset="0"/>
            </a:endParaRPr>
          </a:p>
          <a:p>
            <a:pPr fontAlgn="base">
              <a:spcAft>
                <a:spcPts val="0"/>
              </a:spcAft>
            </a:pPr>
            <a:r>
              <a:rPr lang="en-US" sz="1100" kern="1200">
                <a:solidFill>
                  <a:srgbClr val="000000"/>
                </a:solidFill>
                <a:effectLst/>
                <a:latin typeface="Century Gothic Pro" panose="020B0502020202020204" pitchFamily="34" charset="0"/>
                <a:ea typeface="ヒラギノ角ゴ Pro W3"/>
                <a:cs typeface="Times New Roman" panose="02020603050405020304" pitchFamily="18" charset="0"/>
              </a:rPr>
              <a:t> </a:t>
            </a:r>
            <a:endParaRPr lang="de-DE" sz="1200">
              <a:effectLst/>
              <a:latin typeface="Century Gothic Pro" panose="020B0502020202020204" pitchFamily="34" charset="0"/>
              <a:ea typeface="Times New Roman" panose="02020603050405020304" pitchFamily="18" charset="0"/>
            </a:endParaRPr>
          </a:p>
          <a:p>
            <a:pPr fontAlgn="base">
              <a:spcAft>
                <a:spcPts val="0"/>
              </a:spcAft>
            </a:pPr>
            <a:r>
              <a:rPr lang="de-DE" sz="1200">
                <a:effectLst/>
                <a:latin typeface="Century Gothic Pro" panose="020B0502020202020204" pitchFamily="34" charset="0"/>
                <a:ea typeface="Times New Roman" panose="02020603050405020304" pitchFamily="18" charset="0"/>
              </a:rPr>
              <a:t> </a:t>
            </a:r>
          </a:p>
        </p:txBody>
      </p:sp>
      <p:sp>
        <p:nvSpPr>
          <p:cNvPr id="16" name="TextBox 38"/>
          <p:cNvSpPr txBox="1">
            <a:spLocks/>
          </p:cNvSpPr>
          <p:nvPr/>
        </p:nvSpPr>
        <p:spPr>
          <a:xfrm>
            <a:off x="317853" y="5593314"/>
            <a:ext cx="1828800" cy="261610"/>
          </a:xfrm>
          <a:prstGeom prst="rect">
            <a:avLst/>
          </a:prstGeom>
          <a:noFill/>
        </p:spPr>
        <p:txBody>
          <a:bodyPr wrap="square" rtlCol="0">
            <a:spAutoFit/>
          </a:bodyPr>
          <a:lstStyle/>
          <a:p>
            <a:pPr eaLnBrk="0" fontAlgn="base" hangingPunct="0">
              <a:spcAft>
                <a:spcPts val="0"/>
              </a:spcAft>
            </a:pPr>
            <a:r>
              <a:rPr lang="en-US" sz="1100" kern="1200">
                <a:solidFill>
                  <a:srgbClr val="000000"/>
                </a:solidFill>
                <a:effectLst/>
                <a:latin typeface="Century Gothic Pro" panose="020B0502020202020204" pitchFamily="34" charset="0"/>
                <a:ea typeface="ヒラギノ角ゴ Pro W3"/>
                <a:cs typeface="Times New Roman" panose="02020603050405020304" pitchFamily="18" charset="0"/>
              </a:rPr>
              <a:t>PVM/MA Copolymer</a:t>
            </a:r>
            <a:endParaRPr lang="de-DE" sz="1200">
              <a:effectLst/>
              <a:latin typeface="Century Gothic Pro" panose="020B0502020202020204" pitchFamily="34" charset="0"/>
              <a:ea typeface="Times New Roman" panose="02020603050405020304" pitchFamily="18" charset="0"/>
            </a:endParaRPr>
          </a:p>
        </p:txBody>
      </p:sp>
      <p:sp>
        <p:nvSpPr>
          <p:cNvPr id="12" name="Rectangle 11"/>
          <p:cNvSpPr/>
          <p:nvPr/>
        </p:nvSpPr>
        <p:spPr>
          <a:xfrm>
            <a:off x="8437419" y="0"/>
            <a:ext cx="1620982" cy="3463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Century Gothic Pro" panose="020B0502020202020204" pitchFamily="34" charset="0"/>
              </a:rPr>
              <a:t>Style </a:t>
            </a:r>
            <a:r>
              <a:rPr lang="en-US" sz="1100" dirty="0" err="1">
                <a:latin typeface="Century Gothic Pro" panose="020B0502020202020204" pitchFamily="34" charset="0"/>
              </a:rPr>
              <a:t>Fusion</a:t>
            </a:r>
            <a:r>
              <a:rPr lang="en-US" sz="1100" baseline="30000" dirty="0" err="1">
                <a:latin typeface="Century Gothic Pro" panose="020B0502020202020204" pitchFamily="34" charset="0"/>
              </a:rPr>
              <a:t>TM</a:t>
            </a:r>
            <a:r>
              <a:rPr lang="en-US" sz="1100" dirty="0">
                <a:latin typeface="Century Gothic Pro" panose="020B0502020202020204" pitchFamily="34" charset="0"/>
              </a:rPr>
              <a:t> complex 1</a:t>
            </a:r>
          </a:p>
        </p:txBody>
      </p:sp>
    </p:spTree>
    <p:extLst>
      <p:ext uri="{BB962C8B-B14F-4D97-AF65-F5344CB8AC3E}">
        <p14:creationId xmlns:p14="http://schemas.microsoft.com/office/powerpoint/2010/main" val="28395887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4372" y="102439"/>
            <a:ext cx="9306826" cy="1325563"/>
          </a:xfrm>
        </p:spPr>
        <p:txBody>
          <a:bodyPr/>
          <a:lstStyle/>
          <a:p>
            <a:r>
              <a:rPr lang="ru-RU" dirty="0"/>
              <a:t>Метод восстановления секущихся кончиков</a:t>
            </a:r>
            <a:endParaRPr lang="en-US" dirty="0"/>
          </a:p>
        </p:txBody>
      </p:sp>
      <p:sp>
        <p:nvSpPr>
          <p:cNvPr id="3" name="Slide Number Placeholder 2"/>
          <p:cNvSpPr>
            <a:spLocks noGrp="1"/>
          </p:cNvSpPr>
          <p:nvPr>
            <p:ph type="sldNum" sz="quarter" idx="12"/>
          </p:nvPr>
        </p:nvSpPr>
        <p:spPr/>
        <p:txBody>
          <a:bodyPr/>
          <a:lstStyle/>
          <a:p>
            <a:fld id="{91393B01-7800-434A-B836-B3320A3476BB}" type="slidenum">
              <a:rPr lang="en-US" smtClean="0"/>
              <a:pPr/>
              <a:t>31</a:t>
            </a:fld>
            <a:endParaRPr lang="en-US"/>
          </a:p>
        </p:txBody>
      </p:sp>
      <p:sp>
        <p:nvSpPr>
          <p:cNvPr id="4" name="Text Box 3"/>
          <p:cNvSpPr txBox="1">
            <a:spLocks noChangeArrowheads="1"/>
          </p:cNvSpPr>
          <p:nvPr/>
        </p:nvSpPr>
        <p:spPr bwMode="auto">
          <a:xfrm>
            <a:off x="1360225" y="5513730"/>
            <a:ext cx="2362200" cy="307777"/>
          </a:xfrm>
          <a:prstGeom prst="rect">
            <a:avLst/>
          </a:prstGeom>
          <a:noFill/>
          <a:ln w="9525" algn="ctr">
            <a:noFill/>
            <a:miter lim="800000"/>
            <a:headEnd/>
            <a:tailEnd/>
          </a:ln>
          <a:effectLst/>
        </p:spPr>
        <p:txBody>
          <a:bodyPr>
            <a:spAutoFit/>
            <a:flatTx/>
          </a:bodyPr>
          <a:lstStyle/>
          <a:p>
            <a:pPr algn="ctr">
              <a:spcBef>
                <a:spcPct val="50000"/>
              </a:spcBef>
            </a:pPr>
            <a:r>
              <a:rPr lang="ru-RU" sz="1400" dirty="0">
                <a:solidFill>
                  <a:srgbClr val="000000"/>
                </a:solidFill>
                <a:latin typeface="+mj-lt"/>
                <a:cs typeface="Arial" pitchFamily="34" charset="0"/>
              </a:rPr>
              <a:t>До обработки</a:t>
            </a:r>
            <a:endParaRPr lang="en-US" sz="1400" dirty="0">
              <a:latin typeface="+mj-lt"/>
              <a:cs typeface="Arial" pitchFamily="34" charset="0"/>
            </a:endParaRPr>
          </a:p>
        </p:txBody>
      </p:sp>
      <p:sp>
        <p:nvSpPr>
          <p:cNvPr id="5" name="Rectangle 4"/>
          <p:cNvSpPr>
            <a:spLocks noChangeArrowheads="1"/>
          </p:cNvSpPr>
          <p:nvPr/>
        </p:nvSpPr>
        <p:spPr bwMode="auto">
          <a:xfrm>
            <a:off x="5453466" y="3116462"/>
            <a:ext cx="2914650" cy="307777"/>
          </a:xfrm>
          <a:prstGeom prst="rect">
            <a:avLst/>
          </a:prstGeom>
          <a:noFill/>
          <a:ln w="9525" algn="ctr">
            <a:noFill/>
            <a:miter lim="800000"/>
            <a:headEnd/>
            <a:tailEnd/>
          </a:ln>
          <a:effectLst/>
        </p:spPr>
        <p:txBody>
          <a:bodyPr wrap="square">
            <a:spAutoFit/>
            <a:flatTx/>
          </a:bodyPr>
          <a:lstStyle/>
          <a:p>
            <a:pPr algn="ctr"/>
            <a:r>
              <a:rPr lang="ru-RU" sz="1400" dirty="0">
                <a:solidFill>
                  <a:srgbClr val="000000"/>
                </a:solidFill>
                <a:latin typeface="+mj-lt"/>
                <a:cs typeface="Arial" pitchFamily="34" charset="0"/>
              </a:rPr>
              <a:t>После обработки до расчесывания</a:t>
            </a:r>
            <a:endParaRPr lang="en-US" sz="1400" dirty="0">
              <a:solidFill>
                <a:srgbClr val="000000"/>
              </a:solidFill>
              <a:latin typeface="+mj-lt"/>
              <a:cs typeface="Arial" pitchFamily="34" charset="0"/>
            </a:endParaRPr>
          </a:p>
        </p:txBody>
      </p:sp>
      <p:sp>
        <p:nvSpPr>
          <p:cNvPr id="6" name="Rectangle 5"/>
          <p:cNvSpPr>
            <a:spLocks noChangeArrowheads="1"/>
          </p:cNvSpPr>
          <p:nvPr/>
        </p:nvSpPr>
        <p:spPr bwMode="auto">
          <a:xfrm>
            <a:off x="5457239" y="5535436"/>
            <a:ext cx="2782414" cy="523220"/>
          </a:xfrm>
          <a:prstGeom prst="rect">
            <a:avLst/>
          </a:prstGeom>
          <a:noFill/>
          <a:ln w="9525" algn="ctr">
            <a:noFill/>
            <a:miter lim="800000"/>
            <a:headEnd/>
            <a:tailEnd/>
          </a:ln>
          <a:effectLst/>
        </p:spPr>
        <p:txBody>
          <a:bodyPr wrap="square">
            <a:spAutoFit/>
            <a:flatTx/>
          </a:bodyPr>
          <a:lstStyle/>
          <a:p>
            <a:pPr algn="ctr"/>
            <a:r>
              <a:rPr lang="ru-RU" sz="1400" dirty="0">
                <a:solidFill>
                  <a:srgbClr val="000000"/>
                </a:solidFill>
                <a:latin typeface="+mj-lt"/>
                <a:cs typeface="Arial" pitchFamily="34" charset="0"/>
              </a:rPr>
              <a:t>После обработки после расчесывания 20 раз</a:t>
            </a:r>
            <a:endParaRPr lang="en-US" sz="1400" dirty="0">
              <a:latin typeface="+mj-lt"/>
              <a:cs typeface="Arial" pitchFamily="34" charset="0"/>
            </a:endParaRPr>
          </a:p>
        </p:txBody>
      </p:sp>
      <p:pic>
        <p:nvPicPr>
          <p:cNvPr id="7" name="Picture 6"/>
          <p:cNvPicPr>
            <a:picLocks noChangeAspect="1" noChangeArrowheads="1"/>
          </p:cNvPicPr>
          <p:nvPr/>
        </p:nvPicPr>
        <p:blipFill>
          <a:blip r:embed="rId2" cstate="print"/>
          <a:srcRect/>
          <a:stretch>
            <a:fillRect/>
          </a:stretch>
        </p:blipFill>
        <p:spPr bwMode="auto">
          <a:xfrm>
            <a:off x="1295400" y="3642446"/>
            <a:ext cx="2694709" cy="1831876"/>
          </a:xfrm>
          <a:prstGeom prst="rect">
            <a:avLst/>
          </a:prstGeom>
          <a:noFill/>
          <a:ln w="9525" algn="ctr">
            <a:noFill/>
            <a:miter lim="800000"/>
            <a:headEnd/>
            <a:tailEnd/>
          </a:ln>
          <a:effectLst/>
        </p:spPr>
      </p:pic>
      <p:pic>
        <p:nvPicPr>
          <p:cNvPr id="8" name="Picture 7"/>
          <p:cNvPicPr>
            <a:picLocks noChangeAspect="1" noChangeArrowheads="1"/>
          </p:cNvPicPr>
          <p:nvPr/>
        </p:nvPicPr>
        <p:blipFill>
          <a:blip r:embed="rId3" cstate="print"/>
          <a:srcRect/>
          <a:stretch>
            <a:fillRect/>
          </a:stretch>
        </p:blipFill>
        <p:spPr bwMode="auto">
          <a:xfrm>
            <a:off x="5581930" y="1200446"/>
            <a:ext cx="2657723" cy="1923756"/>
          </a:xfrm>
          <a:prstGeom prst="rect">
            <a:avLst/>
          </a:prstGeom>
          <a:noFill/>
          <a:ln w="9525" algn="ctr">
            <a:noFill/>
            <a:miter lim="800000"/>
            <a:headEnd/>
            <a:tailEnd/>
          </a:ln>
          <a:effectLst/>
        </p:spPr>
      </p:pic>
      <p:pic>
        <p:nvPicPr>
          <p:cNvPr id="9" name="Picture 8"/>
          <p:cNvPicPr>
            <a:picLocks noChangeAspect="1" noChangeArrowheads="1"/>
          </p:cNvPicPr>
          <p:nvPr/>
        </p:nvPicPr>
        <p:blipFill>
          <a:blip r:embed="rId4" cstate="print"/>
          <a:srcRect/>
          <a:stretch>
            <a:fillRect/>
          </a:stretch>
        </p:blipFill>
        <p:spPr bwMode="auto">
          <a:xfrm>
            <a:off x="5581930" y="3475061"/>
            <a:ext cx="2768766" cy="2076951"/>
          </a:xfrm>
          <a:prstGeom prst="rect">
            <a:avLst/>
          </a:prstGeom>
          <a:noFill/>
          <a:ln w="9525" algn="ctr">
            <a:noFill/>
            <a:miter lim="800000"/>
            <a:headEnd/>
            <a:tailEnd/>
          </a:ln>
          <a:effectLst/>
        </p:spPr>
      </p:pic>
      <p:grpSp>
        <p:nvGrpSpPr>
          <p:cNvPr id="10" name="Group 5"/>
          <p:cNvGrpSpPr>
            <a:grpSpLocks noChangeAspect="1"/>
          </p:cNvGrpSpPr>
          <p:nvPr/>
        </p:nvGrpSpPr>
        <p:grpSpPr bwMode="auto">
          <a:xfrm>
            <a:off x="1766589" y="1449832"/>
            <a:ext cx="1794124" cy="2138232"/>
            <a:chOff x="3696" y="0"/>
            <a:chExt cx="2112" cy="2400"/>
          </a:xfrm>
          <a:noFill/>
        </p:grpSpPr>
        <p:sp>
          <p:nvSpPr>
            <p:cNvPr id="11" name="AutoShape 6"/>
            <p:cNvSpPr>
              <a:spLocks noChangeArrowheads="1"/>
            </p:cNvSpPr>
            <p:nvPr/>
          </p:nvSpPr>
          <p:spPr bwMode="auto">
            <a:xfrm>
              <a:off x="3696" y="901"/>
              <a:ext cx="2064" cy="153"/>
            </a:xfrm>
            <a:prstGeom prst="parallelogram">
              <a:avLst>
                <a:gd name="adj" fmla="val 337255"/>
              </a:avLst>
            </a:prstGeom>
            <a:solidFill>
              <a:schemeClr val="tx1"/>
            </a:solidFill>
            <a:ln w="9525">
              <a:solidFill>
                <a:schemeClr val="tx2"/>
              </a:solidFill>
              <a:miter lim="800000"/>
              <a:headEnd/>
              <a:tailEnd/>
            </a:ln>
            <a:effectLst/>
          </p:spPr>
          <p:txBody>
            <a:bodyPr wrap="none" anchor="ctr"/>
            <a:lstStyle/>
            <a:p>
              <a:pPr algn="ctr"/>
              <a:endParaRPr lang="en-US" sz="2400">
                <a:solidFill>
                  <a:schemeClr val="bg2"/>
                </a:solidFill>
                <a:latin typeface="Times New Roman" pitchFamily="18" charset="0"/>
              </a:endParaRPr>
            </a:p>
          </p:txBody>
        </p:sp>
        <p:sp>
          <p:nvSpPr>
            <p:cNvPr id="12" name="Line 7"/>
            <p:cNvSpPr>
              <a:spLocks noChangeShapeType="1"/>
            </p:cNvSpPr>
            <p:nvPr/>
          </p:nvSpPr>
          <p:spPr bwMode="auto">
            <a:xfrm flipH="1">
              <a:off x="3954" y="952"/>
              <a:ext cx="310" cy="102"/>
            </a:xfrm>
            <a:prstGeom prst="line">
              <a:avLst/>
            </a:prstGeom>
            <a:grpFill/>
            <a:ln w="28575">
              <a:solidFill>
                <a:srgbClr val="5549EF"/>
              </a:solidFill>
              <a:round/>
              <a:headEnd/>
              <a:tailEnd/>
            </a:ln>
            <a:effectLst/>
          </p:spPr>
          <p:txBody>
            <a:bodyPr/>
            <a:lstStyle/>
            <a:p>
              <a:endParaRPr lang="en-US"/>
            </a:p>
          </p:txBody>
        </p:sp>
        <p:sp>
          <p:nvSpPr>
            <p:cNvPr id="13" name="Line 8"/>
            <p:cNvSpPr>
              <a:spLocks noChangeShapeType="1"/>
            </p:cNvSpPr>
            <p:nvPr/>
          </p:nvSpPr>
          <p:spPr bwMode="auto">
            <a:xfrm flipH="1">
              <a:off x="4057" y="952"/>
              <a:ext cx="310" cy="102"/>
            </a:xfrm>
            <a:prstGeom prst="line">
              <a:avLst/>
            </a:prstGeom>
            <a:grpFill/>
            <a:ln w="28575">
              <a:solidFill>
                <a:srgbClr val="5549EF"/>
              </a:solidFill>
              <a:round/>
              <a:headEnd/>
              <a:tailEnd/>
            </a:ln>
            <a:effectLst/>
          </p:spPr>
          <p:txBody>
            <a:bodyPr/>
            <a:lstStyle/>
            <a:p>
              <a:endParaRPr lang="en-US"/>
            </a:p>
          </p:txBody>
        </p:sp>
        <p:sp>
          <p:nvSpPr>
            <p:cNvPr id="14" name="Line 9"/>
            <p:cNvSpPr>
              <a:spLocks noChangeShapeType="1"/>
            </p:cNvSpPr>
            <p:nvPr/>
          </p:nvSpPr>
          <p:spPr bwMode="auto">
            <a:xfrm flipH="1">
              <a:off x="3851" y="952"/>
              <a:ext cx="309" cy="102"/>
            </a:xfrm>
            <a:prstGeom prst="line">
              <a:avLst/>
            </a:prstGeom>
            <a:grpFill/>
            <a:ln w="28575">
              <a:solidFill>
                <a:srgbClr val="5549EF"/>
              </a:solidFill>
              <a:round/>
              <a:headEnd/>
              <a:tailEnd/>
            </a:ln>
            <a:effectLst/>
          </p:spPr>
          <p:txBody>
            <a:bodyPr/>
            <a:lstStyle/>
            <a:p>
              <a:endParaRPr lang="en-US"/>
            </a:p>
          </p:txBody>
        </p:sp>
        <p:sp>
          <p:nvSpPr>
            <p:cNvPr id="15" name="Line 10"/>
            <p:cNvSpPr>
              <a:spLocks noChangeShapeType="1"/>
            </p:cNvSpPr>
            <p:nvPr/>
          </p:nvSpPr>
          <p:spPr bwMode="auto">
            <a:xfrm flipH="1">
              <a:off x="4160" y="952"/>
              <a:ext cx="310" cy="102"/>
            </a:xfrm>
            <a:prstGeom prst="line">
              <a:avLst/>
            </a:prstGeom>
            <a:grpFill/>
            <a:ln w="28575">
              <a:solidFill>
                <a:srgbClr val="5549EF"/>
              </a:solidFill>
              <a:round/>
              <a:headEnd/>
              <a:tailEnd/>
            </a:ln>
            <a:effectLst/>
          </p:spPr>
          <p:txBody>
            <a:bodyPr/>
            <a:lstStyle/>
            <a:p>
              <a:endParaRPr lang="en-US"/>
            </a:p>
          </p:txBody>
        </p:sp>
        <p:sp>
          <p:nvSpPr>
            <p:cNvPr id="16" name="Line 11"/>
            <p:cNvSpPr>
              <a:spLocks noChangeShapeType="1"/>
            </p:cNvSpPr>
            <p:nvPr/>
          </p:nvSpPr>
          <p:spPr bwMode="auto">
            <a:xfrm flipH="1">
              <a:off x="4264" y="952"/>
              <a:ext cx="309" cy="102"/>
            </a:xfrm>
            <a:prstGeom prst="line">
              <a:avLst/>
            </a:prstGeom>
            <a:grpFill/>
            <a:ln w="28575">
              <a:solidFill>
                <a:srgbClr val="5549EF"/>
              </a:solidFill>
              <a:round/>
              <a:headEnd/>
              <a:tailEnd/>
            </a:ln>
            <a:effectLst/>
          </p:spPr>
          <p:txBody>
            <a:bodyPr/>
            <a:lstStyle/>
            <a:p>
              <a:endParaRPr lang="en-US"/>
            </a:p>
          </p:txBody>
        </p:sp>
        <p:sp>
          <p:nvSpPr>
            <p:cNvPr id="17" name="Line 12"/>
            <p:cNvSpPr>
              <a:spLocks noChangeShapeType="1"/>
            </p:cNvSpPr>
            <p:nvPr/>
          </p:nvSpPr>
          <p:spPr bwMode="auto">
            <a:xfrm flipH="1">
              <a:off x="4367" y="952"/>
              <a:ext cx="309" cy="102"/>
            </a:xfrm>
            <a:prstGeom prst="line">
              <a:avLst/>
            </a:prstGeom>
            <a:grpFill/>
            <a:ln w="28575">
              <a:solidFill>
                <a:srgbClr val="5549EF"/>
              </a:solidFill>
              <a:round/>
              <a:headEnd/>
              <a:tailEnd/>
            </a:ln>
            <a:effectLst/>
          </p:spPr>
          <p:txBody>
            <a:bodyPr/>
            <a:lstStyle/>
            <a:p>
              <a:endParaRPr lang="en-US"/>
            </a:p>
          </p:txBody>
        </p:sp>
        <p:sp>
          <p:nvSpPr>
            <p:cNvPr id="18" name="Line 13"/>
            <p:cNvSpPr>
              <a:spLocks noChangeShapeType="1"/>
            </p:cNvSpPr>
            <p:nvPr/>
          </p:nvSpPr>
          <p:spPr bwMode="auto">
            <a:xfrm flipH="1">
              <a:off x="4470" y="952"/>
              <a:ext cx="310" cy="102"/>
            </a:xfrm>
            <a:prstGeom prst="line">
              <a:avLst/>
            </a:prstGeom>
            <a:grpFill/>
            <a:ln w="28575">
              <a:solidFill>
                <a:srgbClr val="5549EF"/>
              </a:solidFill>
              <a:round/>
              <a:headEnd/>
              <a:tailEnd/>
            </a:ln>
            <a:effectLst/>
          </p:spPr>
          <p:txBody>
            <a:bodyPr/>
            <a:lstStyle/>
            <a:p>
              <a:endParaRPr lang="en-US"/>
            </a:p>
          </p:txBody>
        </p:sp>
        <p:sp>
          <p:nvSpPr>
            <p:cNvPr id="19" name="Line 14"/>
            <p:cNvSpPr>
              <a:spLocks noChangeShapeType="1"/>
            </p:cNvSpPr>
            <p:nvPr/>
          </p:nvSpPr>
          <p:spPr bwMode="auto">
            <a:xfrm flipH="1">
              <a:off x="4573" y="952"/>
              <a:ext cx="310" cy="102"/>
            </a:xfrm>
            <a:prstGeom prst="line">
              <a:avLst/>
            </a:prstGeom>
            <a:grpFill/>
            <a:ln w="28575">
              <a:solidFill>
                <a:srgbClr val="5549EF"/>
              </a:solidFill>
              <a:round/>
              <a:headEnd/>
              <a:tailEnd/>
            </a:ln>
            <a:effectLst/>
          </p:spPr>
          <p:txBody>
            <a:bodyPr/>
            <a:lstStyle/>
            <a:p>
              <a:endParaRPr lang="en-US"/>
            </a:p>
          </p:txBody>
        </p:sp>
        <p:sp>
          <p:nvSpPr>
            <p:cNvPr id="20" name="Line 15"/>
            <p:cNvSpPr>
              <a:spLocks noChangeShapeType="1"/>
            </p:cNvSpPr>
            <p:nvPr/>
          </p:nvSpPr>
          <p:spPr bwMode="auto">
            <a:xfrm flipH="1">
              <a:off x="4676" y="952"/>
              <a:ext cx="310" cy="102"/>
            </a:xfrm>
            <a:prstGeom prst="line">
              <a:avLst/>
            </a:prstGeom>
            <a:grpFill/>
            <a:ln w="28575">
              <a:solidFill>
                <a:srgbClr val="5549EF"/>
              </a:solidFill>
              <a:round/>
              <a:headEnd/>
              <a:tailEnd/>
            </a:ln>
            <a:effectLst/>
          </p:spPr>
          <p:txBody>
            <a:bodyPr/>
            <a:lstStyle/>
            <a:p>
              <a:endParaRPr lang="en-US"/>
            </a:p>
          </p:txBody>
        </p:sp>
        <p:sp>
          <p:nvSpPr>
            <p:cNvPr id="21" name="Line 16"/>
            <p:cNvSpPr>
              <a:spLocks noChangeShapeType="1"/>
            </p:cNvSpPr>
            <p:nvPr/>
          </p:nvSpPr>
          <p:spPr bwMode="auto">
            <a:xfrm flipH="1">
              <a:off x="4780" y="952"/>
              <a:ext cx="309" cy="102"/>
            </a:xfrm>
            <a:prstGeom prst="line">
              <a:avLst/>
            </a:prstGeom>
            <a:grpFill/>
            <a:ln w="28575">
              <a:solidFill>
                <a:srgbClr val="5549EF"/>
              </a:solidFill>
              <a:round/>
              <a:headEnd/>
              <a:tailEnd/>
            </a:ln>
            <a:effectLst/>
          </p:spPr>
          <p:txBody>
            <a:bodyPr/>
            <a:lstStyle/>
            <a:p>
              <a:endParaRPr lang="en-US"/>
            </a:p>
          </p:txBody>
        </p:sp>
        <p:sp>
          <p:nvSpPr>
            <p:cNvPr id="22" name="Line 17"/>
            <p:cNvSpPr>
              <a:spLocks noChangeShapeType="1"/>
            </p:cNvSpPr>
            <p:nvPr/>
          </p:nvSpPr>
          <p:spPr bwMode="auto">
            <a:xfrm flipH="1">
              <a:off x="4883" y="952"/>
              <a:ext cx="309" cy="102"/>
            </a:xfrm>
            <a:prstGeom prst="line">
              <a:avLst/>
            </a:prstGeom>
            <a:grpFill/>
            <a:ln w="28575">
              <a:solidFill>
                <a:srgbClr val="5549EF"/>
              </a:solidFill>
              <a:round/>
              <a:headEnd/>
              <a:tailEnd/>
            </a:ln>
            <a:effectLst/>
          </p:spPr>
          <p:txBody>
            <a:bodyPr/>
            <a:lstStyle/>
            <a:p>
              <a:endParaRPr lang="en-US"/>
            </a:p>
          </p:txBody>
        </p:sp>
        <p:sp>
          <p:nvSpPr>
            <p:cNvPr id="23" name="Line 18"/>
            <p:cNvSpPr>
              <a:spLocks noChangeShapeType="1"/>
            </p:cNvSpPr>
            <p:nvPr/>
          </p:nvSpPr>
          <p:spPr bwMode="auto">
            <a:xfrm flipH="1">
              <a:off x="4986" y="952"/>
              <a:ext cx="310" cy="102"/>
            </a:xfrm>
            <a:prstGeom prst="line">
              <a:avLst/>
            </a:prstGeom>
            <a:grpFill/>
            <a:ln w="28575">
              <a:solidFill>
                <a:srgbClr val="5549EF"/>
              </a:solidFill>
              <a:round/>
              <a:headEnd/>
              <a:tailEnd/>
            </a:ln>
            <a:effectLst/>
          </p:spPr>
          <p:txBody>
            <a:bodyPr/>
            <a:lstStyle/>
            <a:p>
              <a:endParaRPr lang="en-US"/>
            </a:p>
          </p:txBody>
        </p:sp>
        <p:sp>
          <p:nvSpPr>
            <p:cNvPr id="24" name="Line 19"/>
            <p:cNvSpPr>
              <a:spLocks noChangeShapeType="1"/>
            </p:cNvSpPr>
            <p:nvPr/>
          </p:nvSpPr>
          <p:spPr bwMode="auto">
            <a:xfrm flipH="1">
              <a:off x="5089" y="952"/>
              <a:ext cx="310" cy="102"/>
            </a:xfrm>
            <a:prstGeom prst="line">
              <a:avLst/>
            </a:prstGeom>
            <a:grpFill/>
            <a:ln w="28575">
              <a:solidFill>
                <a:srgbClr val="5549EF"/>
              </a:solidFill>
              <a:round/>
              <a:headEnd/>
              <a:tailEnd/>
            </a:ln>
            <a:effectLst/>
          </p:spPr>
          <p:txBody>
            <a:bodyPr/>
            <a:lstStyle/>
            <a:p>
              <a:endParaRPr lang="en-US"/>
            </a:p>
          </p:txBody>
        </p:sp>
        <p:sp>
          <p:nvSpPr>
            <p:cNvPr id="25" name="Rectangle 20"/>
            <p:cNvSpPr>
              <a:spLocks noChangeArrowheads="1"/>
            </p:cNvSpPr>
            <p:nvPr/>
          </p:nvSpPr>
          <p:spPr bwMode="auto">
            <a:xfrm>
              <a:off x="4057" y="240"/>
              <a:ext cx="413" cy="305"/>
            </a:xfrm>
            <a:prstGeom prst="rect">
              <a:avLst/>
            </a:prstGeom>
            <a:solidFill>
              <a:schemeClr val="tx1"/>
            </a:solidFill>
            <a:ln w="9525">
              <a:solidFill>
                <a:schemeClr val="tx2"/>
              </a:solidFill>
              <a:miter lim="800000"/>
              <a:headEnd/>
              <a:tailEnd/>
            </a:ln>
            <a:effectLst/>
          </p:spPr>
          <p:txBody>
            <a:bodyPr wrap="none" anchor="ctr"/>
            <a:lstStyle/>
            <a:p>
              <a:pPr algn="ctr"/>
              <a:endParaRPr lang="en-US" sz="2400">
                <a:solidFill>
                  <a:schemeClr val="bg2"/>
                </a:solidFill>
                <a:latin typeface="Times New Roman" pitchFamily="18" charset="0"/>
              </a:endParaRPr>
            </a:p>
          </p:txBody>
        </p:sp>
        <p:sp>
          <p:nvSpPr>
            <p:cNvPr id="26" name="Freeform 21"/>
            <p:cNvSpPr>
              <a:spLocks/>
            </p:cNvSpPr>
            <p:nvPr/>
          </p:nvSpPr>
          <p:spPr bwMode="auto">
            <a:xfrm>
              <a:off x="4141" y="560"/>
              <a:ext cx="73" cy="1840"/>
            </a:xfrm>
            <a:custGeom>
              <a:avLst/>
              <a:gdLst/>
              <a:ahLst/>
              <a:cxnLst>
                <a:cxn ang="0">
                  <a:pos x="27" y="0"/>
                </a:cxn>
                <a:cxn ang="0">
                  <a:pos x="55" y="347"/>
                </a:cxn>
                <a:cxn ang="0">
                  <a:pos x="18" y="905"/>
                </a:cxn>
                <a:cxn ang="0">
                  <a:pos x="27" y="1737"/>
                </a:cxn>
              </a:cxnLst>
              <a:rect l="0" t="0" r="r" b="b"/>
              <a:pathLst>
                <a:path w="68" h="1737">
                  <a:moveTo>
                    <a:pt x="27" y="0"/>
                  </a:moveTo>
                  <a:cubicBezTo>
                    <a:pt x="0" y="107"/>
                    <a:pt x="16" y="242"/>
                    <a:pt x="55" y="347"/>
                  </a:cubicBezTo>
                  <a:cubicBezTo>
                    <a:pt x="48" y="677"/>
                    <a:pt x="68" y="698"/>
                    <a:pt x="18" y="905"/>
                  </a:cubicBezTo>
                  <a:cubicBezTo>
                    <a:pt x="28" y="1597"/>
                    <a:pt x="27" y="1320"/>
                    <a:pt x="27" y="1737"/>
                  </a:cubicBezTo>
                </a:path>
              </a:pathLst>
            </a:custGeom>
            <a:grpFill/>
            <a:ln w="9525">
              <a:solidFill>
                <a:srgbClr val="EDE20B"/>
              </a:solidFill>
              <a:round/>
              <a:headEnd/>
              <a:tailEnd/>
            </a:ln>
            <a:effectLst/>
          </p:spPr>
          <p:txBody>
            <a:bodyPr/>
            <a:lstStyle/>
            <a:p>
              <a:endParaRPr lang="en-US"/>
            </a:p>
          </p:txBody>
        </p:sp>
        <p:sp>
          <p:nvSpPr>
            <p:cNvPr id="27" name="Freeform 22"/>
            <p:cNvSpPr>
              <a:spLocks/>
            </p:cNvSpPr>
            <p:nvPr/>
          </p:nvSpPr>
          <p:spPr bwMode="auto">
            <a:xfrm>
              <a:off x="4315" y="545"/>
              <a:ext cx="73" cy="1840"/>
            </a:xfrm>
            <a:custGeom>
              <a:avLst/>
              <a:gdLst/>
              <a:ahLst/>
              <a:cxnLst>
                <a:cxn ang="0">
                  <a:pos x="27" y="0"/>
                </a:cxn>
                <a:cxn ang="0">
                  <a:pos x="55" y="347"/>
                </a:cxn>
                <a:cxn ang="0">
                  <a:pos x="18" y="905"/>
                </a:cxn>
                <a:cxn ang="0">
                  <a:pos x="27" y="1737"/>
                </a:cxn>
              </a:cxnLst>
              <a:rect l="0" t="0" r="r" b="b"/>
              <a:pathLst>
                <a:path w="68" h="1737">
                  <a:moveTo>
                    <a:pt x="27" y="0"/>
                  </a:moveTo>
                  <a:cubicBezTo>
                    <a:pt x="0" y="107"/>
                    <a:pt x="16" y="242"/>
                    <a:pt x="55" y="347"/>
                  </a:cubicBezTo>
                  <a:cubicBezTo>
                    <a:pt x="48" y="677"/>
                    <a:pt x="68" y="698"/>
                    <a:pt x="18" y="905"/>
                  </a:cubicBezTo>
                  <a:cubicBezTo>
                    <a:pt x="28" y="1597"/>
                    <a:pt x="27" y="1320"/>
                    <a:pt x="27" y="1737"/>
                  </a:cubicBezTo>
                </a:path>
              </a:pathLst>
            </a:custGeom>
            <a:grpFill/>
            <a:ln w="9525">
              <a:solidFill>
                <a:srgbClr val="EDE20B"/>
              </a:solidFill>
              <a:round/>
              <a:headEnd/>
              <a:tailEnd/>
            </a:ln>
            <a:effectLst/>
          </p:spPr>
          <p:txBody>
            <a:bodyPr/>
            <a:lstStyle/>
            <a:p>
              <a:endParaRPr lang="en-US"/>
            </a:p>
          </p:txBody>
        </p:sp>
        <p:sp>
          <p:nvSpPr>
            <p:cNvPr id="28" name="Freeform 23"/>
            <p:cNvSpPr>
              <a:spLocks/>
            </p:cNvSpPr>
            <p:nvPr/>
          </p:nvSpPr>
          <p:spPr bwMode="auto">
            <a:xfrm>
              <a:off x="4264" y="545"/>
              <a:ext cx="73" cy="1840"/>
            </a:xfrm>
            <a:custGeom>
              <a:avLst/>
              <a:gdLst/>
              <a:ahLst/>
              <a:cxnLst>
                <a:cxn ang="0">
                  <a:pos x="27" y="0"/>
                </a:cxn>
                <a:cxn ang="0">
                  <a:pos x="55" y="347"/>
                </a:cxn>
                <a:cxn ang="0">
                  <a:pos x="18" y="905"/>
                </a:cxn>
                <a:cxn ang="0">
                  <a:pos x="27" y="1737"/>
                </a:cxn>
              </a:cxnLst>
              <a:rect l="0" t="0" r="r" b="b"/>
              <a:pathLst>
                <a:path w="68" h="1737">
                  <a:moveTo>
                    <a:pt x="27" y="0"/>
                  </a:moveTo>
                  <a:cubicBezTo>
                    <a:pt x="0" y="107"/>
                    <a:pt x="16" y="242"/>
                    <a:pt x="55" y="347"/>
                  </a:cubicBezTo>
                  <a:cubicBezTo>
                    <a:pt x="48" y="677"/>
                    <a:pt x="68" y="698"/>
                    <a:pt x="18" y="905"/>
                  </a:cubicBezTo>
                  <a:cubicBezTo>
                    <a:pt x="28" y="1597"/>
                    <a:pt x="27" y="1320"/>
                    <a:pt x="27" y="1737"/>
                  </a:cubicBezTo>
                </a:path>
              </a:pathLst>
            </a:custGeom>
            <a:grpFill/>
            <a:ln w="9525">
              <a:solidFill>
                <a:srgbClr val="EDE20B"/>
              </a:solidFill>
              <a:round/>
              <a:headEnd/>
              <a:tailEnd/>
            </a:ln>
            <a:effectLst/>
          </p:spPr>
          <p:txBody>
            <a:bodyPr/>
            <a:lstStyle/>
            <a:p>
              <a:endParaRPr lang="en-US"/>
            </a:p>
          </p:txBody>
        </p:sp>
        <p:sp>
          <p:nvSpPr>
            <p:cNvPr id="29" name="Freeform 24"/>
            <p:cNvSpPr>
              <a:spLocks/>
            </p:cNvSpPr>
            <p:nvPr/>
          </p:nvSpPr>
          <p:spPr bwMode="auto">
            <a:xfrm>
              <a:off x="4109" y="545"/>
              <a:ext cx="73" cy="1840"/>
            </a:xfrm>
            <a:custGeom>
              <a:avLst/>
              <a:gdLst/>
              <a:ahLst/>
              <a:cxnLst>
                <a:cxn ang="0">
                  <a:pos x="27" y="0"/>
                </a:cxn>
                <a:cxn ang="0">
                  <a:pos x="55" y="347"/>
                </a:cxn>
                <a:cxn ang="0">
                  <a:pos x="18" y="905"/>
                </a:cxn>
                <a:cxn ang="0">
                  <a:pos x="27" y="1737"/>
                </a:cxn>
              </a:cxnLst>
              <a:rect l="0" t="0" r="r" b="b"/>
              <a:pathLst>
                <a:path w="68" h="1737">
                  <a:moveTo>
                    <a:pt x="27" y="0"/>
                  </a:moveTo>
                  <a:cubicBezTo>
                    <a:pt x="0" y="107"/>
                    <a:pt x="16" y="242"/>
                    <a:pt x="55" y="347"/>
                  </a:cubicBezTo>
                  <a:cubicBezTo>
                    <a:pt x="48" y="677"/>
                    <a:pt x="68" y="698"/>
                    <a:pt x="18" y="905"/>
                  </a:cubicBezTo>
                  <a:cubicBezTo>
                    <a:pt x="28" y="1597"/>
                    <a:pt x="27" y="1320"/>
                    <a:pt x="27" y="1737"/>
                  </a:cubicBezTo>
                </a:path>
              </a:pathLst>
            </a:custGeom>
            <a:grpFill/>
            <a:ln w="9525">
              <a:solidFill>
                <a:srgbClr val="EDE20B"/>
              </a:solidFill>
              <a:round/>
              <a:headEnd/>
              <a:tailEnd/>
            </a:ln>
            <a:effectLst/>
          </p:spPr>
          <p:txBody>
            <a:bodyPr/>
            <a:lstStyle/>
            <a:p>
              <a:endParaRPr lang="en-US"/>
            </a:p>
          </p:txBody>
        </p:sp>
        <p:sp>
          <p:nvSpPr>
            <p:cNvPr id="30" name="Freeform 25"/>
            <p:cNvSpPr>
              <a:spLocks/>
            </p:cNvSpPr>
            <p:nvPr/>
          </p:nvSpPr>
          <p:spPr bwMode="auto">
            <a:xfrm>
              <a:off x="4315" y="545"/>
              <a:ext cx="73" cy="1840"/>
            </a:xfrm>
            <a:custGeom>
              <a:avLst/>
              <a:gdLst/>
              <a:ahLst/>
              <a:cxnLst>
                <a:cxn ang="0">
                  <a:pos x="27" y="0"/>
                </a:cxn>
                <a:cxn ang="0">
                  <a:pos x="55" y="347"/>
                </a:cxn>
                <a:cxn ang="0">
                  <a:pos x="18" y="905"/>
                </a:cxn>
                <a:cxn ang="0">
                  <a:pos x="27" y="1737"/>
                </a:cxn>
              </a:cxnLst>
              <a:rect l="0" t="0" r="r" b="b"/>
              <a:pathLst>
                <a:path w="68" h="1737">
                  <a:moveTo>
                    <a:pt x="27" y="0"/>
                  </a:moveTo>
                  <a:cubicBezTo>
                    <a:pt x="0" y="107"/>
                    <a:pt x="16" y="242"/>
                    <a:pt x="55" y="347"/>
                  </a:cubicBezTo>
                  <a:cubicBezTo>
                    <a:pt x="48" y="677"/>
                    <a:pt x="68" y="698"/>
                    <a:pt x="18" y="905"/>
                  </a:cubicBezTo>
                  <a:cubicBezTo>
                    <a:pt x="28" y="1597"/>
                    <a:pt x="27" y="1320"/>
                    <a:pt x="27" y="1737"/>
                  </a:cubicBezTo>
                </a:path>
              </a:pathLst>
            </a:custGeom>
            <a:grpFill/>
            <a:ln w="9525">
              <a:solidFill>
                <a:srgbClr val="EDE20B"/>
              </a:solidFill>
              <a:round/>
              <a:headEnd/>
              <a:tailEnd/>
            </a:ln>
            <a:effectLst/>
          </p:spPr>
          <p:txBody>
            <a:bodyPr/>
            <a:lstStyle/>
            <a:p>
              <a:endParaRPr lang="en-US"/>
            </a:p>
          </p:txBody>
        </p:sp>
        <p:sp>
          <p:nvSpPr>
            <p:cNvPr id="31" name="Freeform 26"/>
            <p:cNvSpPr>
              <a:spLocks/>
            </p:cNvSpPr>
            <p:nvPr/>
          </p:nvSpPr>
          <p:spPr bwMode="auto">
            <a:xfrm>
              <a:off x="4367" y="545"/>
              <a:ext cx="73" cy="1840"/>
            </a:xfrm>
            <a:custGeom>
              <a:avLst/>
              <a:gdLst/>
              <a:ahLst/>
              <a:cxnLst>
                <a:cxn ang="0">
                  <a:pos x="27" y="0"/>
                </a:cxn>
                <a:cxn ang="0">
                  <a:pos x="55" y="347"/>
                </a:cxn>
                <a:cxn ang="0">
                  <a:pos x="18" y="905"/>
                </a:cxn>
                <a:cxn ang="0">
                  <a:pos x="27" y="1737"/>
                </a:cxn>
              </a:cxnLst>
              <a:rect l="0" t="0" r="r" b="b"/>
              <a:pathLst>
                <a:path w="68" h="1737">
                  <a:moveTo>
                    <a:pt x="27" y="0"/>
                  </a:moveTo>
                  <a:cubicBezTo>
                    <a:pt x="0" y="107"/>
                    <a:pt x="16" y="242"/>
                    <a:pt x="55" y="347"/>
                  </a:cubicBezTo>
                  <a:cubicBezTo>
                    <a:pt x="48" y="677"/>
                    <a:pt x="68" y="698"/>
                    <a:pt x="18" y="905"/>
                  </a:cubicBezTo>
                  <a:cubicBezTo>
                    <a:pt x="28" y="1597"/>
                    <a:pt x="27" y="1320"/>
                    <a:pt x="27" y="1737"/>
                  </a:cubicBezTo>
                </a:path>
              </a:pathLst>
            </a:custGeom>
            <a:grpFill/>
            <a:ln w="9525">
              <a:solidFill>
                <a:srgbClr val="EDE20B"/>
              </a:solidFill>
              <a:round/>
              <a:headEnd/>
              <a:tailEnd/>
            </a:ln>
            <a:effectLst/>
          </p:spPr>
          <p:txBody>
            <a:bodyPr/>
            <a:lstStyle/>
            <a:p>
              <a:endParaRPr lang="en-US"/>
            </a:p>
          </p:txBody>
        </p:sp>
        <p:sp>
          <p:nvSpPr>
            <p:cNvPr id="32" name="Freeform 27"/>
            <p:cNvSpPr>
              <a:spLocks/>
            </p:cNvSpPr>
            <p:nvPr/>
          </p:nvSpPr>
          <p:spPr bwMode="auto">
            <a:xfrm>
              <a:off x="4057" y="545"/>
              <a:ext cx="73" cy="1840"/>
            </a:xfrm>
            <a:custGeom>
              <a:avLst/>
              <a:gdLst/>
              <a:ahLst/>
              <a:cxnLst>
                <a:cxn ang="0">
                  <a:pos x="27" y="0"/>
                </a:cxn>
                <a:cxn ang="0">
                  <a:pos x="55" y="347"/>
                </a:cxn>
                <a:cxn ang="0">
                  <a:pos x="18" y="905"/>
                </a:cxn>
                <a:cxn ang="0">
                  <a:pos x="27" y="1737"/>
                </a:cxn>
              </a:cxnLst>
              <a:rect l="0" t="0" r="r" b="b"/>
              <a:pathLst>
                <a:path w="68" h="1737">
                  <a:moveTo>
                    <a:pt x="27" y="0"/>
                  </a:moveTo>
                  <a:cubicBezTo>
                    <a:pt x="0" y="107"/>
                    <a:pt x="16" y="242"/>
                    <a:pt x="55" y="347"/>
                  </a:cubicBezTo>
                  <a:cubicBezTo>
                    <a:pt x="48" y="677"/>
                    <a:pt x="68" y="698"/>
                    <a:pt x="18" y="905"/>
                  </a:cubicBezTo>
                  <a:cubicBezTo>
                    <a:pt x="28" y="1597"/>
                    <a:pt x="27" y="1320"/>
                    <a:pt x="27" y="1737"/>
                  </a:cubicBezTo>
                </a:path>
              </a:pathLst>
            </a:custGeom>
            <a:grpFill/>
            <a:ln w="9525">
              <a:solidFill>
                <a:srgbClr val="EDE20B"/>
              </a:solidFill>
              <a:round/>
              <a:headEnd/>
              <a:tailEnd/>
            </a:ln>
            <a:effectLst/>
          </p:spPr>
          <p:txBody>
            <a:bodyPr/>
            <a:lstStyle/>
            <a:p>
              <a:endParaRPr lang="en-US"/>
            </a:p>
          </p:txBody>
        </p:sp>
        <p:sp>
          <p:nvSpPr>
            <p:cNvPr id="33" name="Freeform 28"/>
            <p:cNvSpPr>
              <a:spLocks/>
            </p:cNvSpPr>
            <p:nvPr/>
          </p:nvSpPr>
          <p:spPr bwMode="auto">
            <a:xfrm>
              <a:off x="4418" y="545"/>
              <a:ext cx="74" cy="1840"/>
            </a:xfrm>
            <a:custGeom>
              <a:avLst/>
              <a:gdLst/>
              <a:ahLst/>
              <a:cxnLst>
                <a:cxn ang="0">
                  <a:pos x="27" y="0"/>
                </a:cxn>
                <a:cxn ang="0">
                  <a:pos x="55" y="347"/>
                </a:cxn>
                <a:cxn ang="0">
                  <a:pos x="18" y="905"/>
                </a:cxn>
                <a:cxn ang="0">
                  <a:pos x="27" y="1737"/>
                </a:cxn>
              </a:cxnLst>
              <a:rect l="0" t="0" r="r" b="b"/>
              <a:pathLst>
                <a:path w="68" h="1737">
                  <a:moveTo>
                    <a:pt x="27" y="0"/>
                  </a:moveTo>
                  <a:cubicBezTo>
                    <a:pt x="0" y="107"/>
                    <a:pt x="16" y="242"/>
                    <a:pt x="55" y="347"/>
                  </a:cubicBezTo>
                  <a:cubicBezTo>
                    <a:pt x="48" y="677"/>
                    <a:pt x="68" y="698"/>
                    <a:pt x="18" y="905"/>
                  </a:cubicBezTo>
                  <a:cubicBezTo>
                    <a:pt x="28" y="1597"/>
                    <a:pt x="27" y="1320"/>
                    <a:pt x="27" y="1737"/>
                  </a:cubicBezTo>
                </a:path>
              </a:pathLst>
            </a:custGeom>
            <a:grpFill/>
            <a:ln w="9525">
              <a:solidFill>
                <a:srgbClr val="EDE20B"/>
              </a:solidFill>
              <a:round/>
              <a:headEnd/>
              <a:tailEnd/>
            </a:ln>
            <a:effectLst/>
          </p:spPr>
          <p:txBody>
            <a:bodyPr/>
            <a:lstStyle/>
            <a:p>
              <a:endParaRPr lang="en-US"/>
            </a:p>
          </p:txBody>
        </p:sp>
        <p:sp>
          <p:nvSpPr>
            <p:cNvPr id="34" name="Freeform 29"/>
            <p:cNvSpPr>
              <a:spLocks/>
            </p:cNvSpPr>
            <p:nvPr/>
          </p:nvSpPr>
          <p:spPr bwMode="auto">
            <a:xfrm>
              <a:off x="4264" y="545"/>
              <a:ext cx="73" cy="1840"/>
            </a:xfrm>
            <a:custGeom>
              <a:avLst/>
              <a:gdLst/>
              <a:ahLst/>
              <a:cxnLst>
                <a:cxn ang="0">
                  <a:pos x="27" y="0"/>
                </a:cxn>
                <a:cxn ang="0">
                  <a:pos x="55" y="347"/>
                </a:cxn>
                <a:cxn ang="0">
                  <a:pos x="18" y="905"/>
                </a:cxn>
                <a:cxn ang="0">
                  <a:pos x="27" y="1737"/>
                </a:cxn>
              </a:cxnLst>
              <a:rect l="0" t="0" r="r" b="b"/>
              <a:pathLst>
                <a:path w="68" h="1737">
                  <a:moveTo>
                    <a:pt x="27" y="0"/>
                  </a:moveTo>
                  <a:cubicBezTo>
                    <a:pt x="0" y="107"/>
                    <a:pt x="16" y="242"/>
                    <a:pt x="55" y="347"/>
                  </a:cubicBezTo>
                  <a:cubicBezTo>
                    <a:pt x="48" y="677"/>
                    <a:pt x="68" y="698"/>
                    <a:pt x="18" y="905"/>
                  </a:cubicBezTo>
                  <a:cubicBezTo>
                    <a:pt x="28" y="1597"/>
                    <a:pt x="27" y="1320"/>
                    <a:pt x="27" y="1737"/>
                  </a:cubicBezTo>
                </a:path>
              </a:pathLst>
            </a:custGeom>
            <a:grpFill/>
            <a:ln w="9525">
              <a:solidFill>
                <a:srgbClr val="EDE20B"/>
              </a:solidFill>
              <a:round/>
              <a:headEnd/>
              <a:tailEnd/>
            </a:ln>
            <a:effectLst/>
          </p:spPr>
          <p:txBody>
            <a:bodyPr/>
            <a:lstStyle/>
            <a:p>
              <a:endParaRPr lang="en-US"/>
            </a:p>
          </p:txBody>
        </p:sp>
        <p:sp>
          <p:nvSpPr>
            <p:cNvPr id="35" name="Freeform 30"/>
            <p:cNvSpPr>
              <a:spLocks/>
            </p:cNvSpPr>
            <p:nvPr/>
          </p:nvSpPr>
          <p:spPr bwMode="auto">
            <a:xfrm>
              <a:off x="4160" y="545"/>
              <a:ext cx="74" cy="1840"/>
            </a:xfrm>
            <a:custGeom>
              <a:avLst/>
              <a:gdLst/>
              <a:ahLst/>
              <a:cxnLst>
                <a:cxn ang="0">
                  <a:pos x="27" y="0"/>
                </a:cxn>
                <a:cxn ang="0">
                  <a:pos x="55" y="347"/>
                </a:cxn>
                <a:cxn ang="0">
                  <a:pos x="18" y="905"/>
                </a:cxn>
                <a:cxn ang="0">
                  <a:pos x="27" y="1737"/>
                </a:cxn>
              </a:cxnLst>
              <a:rect l="0" t="0" r="r" b="b"/>
              <a:pathLst>
                <a:path w="68" h="1737">
                  <a:moveTo>
                    <a:pt x="27" y="0"/>
                  </a:moveTo>
                  <a:cubicBezTo>
                    <a:pt x="0" y="107"/>
                    <a:pt x="16" y="242"/>
                    <a:pt x="55" y="347"/>
                  </a:cubicBezTo>
                  <a:cubicBezTo>
                    <a:pt x="48" y="677"/>
                    <a:pt x="68" y="698"/>
                    <a:pt x="18" y="905"/>
                  </a:cubicBezTo>
                  <a:cubicBezTo>
                    <a:pt x="28" y="1597"/>
                    <a:pt x="27" y="1320"/>
                    <a:pt x="27" y="1737"/>
                  </a:cubicBezTo>
                </a:path>
              </a:pathLst>
            </a:custGeom>
            <a:grpFill/>
            <a:ln w="9525">
              <a:solidFill>
                <a:srgbClr val="EDE20B"/>
              </a:solidFill>
              <a:round/>
              <a:headEnd/>
              <a:tailEnd/>
            </a:ln>
            <a:effectLst/>
          </p:spPr>
          <p:txBody>
            <a:bodyPr/>
            <a:lstStyle/>
            <a:p>
              <a:endParaRPr lang="en-US"/>
            </a:p>
          </p:txBody>
        </p:sp>
        <p:sp>
          <p:nvSpPr>
            <p:cNvPr id="36" name="Freeform 31"/>
            <p:cNvSpPr>
              <a:spLocks/>
            </p:cNvSpPr>
            <p:nvPr/>
          </p:nvSpPr>
          <p:spPr bwMode="auto">
            <a:xfrm>
              <a:off x="4264" y="545"/>
              <a:ext cx="73" cy="1840"/>
            </a:xfrm>
            <a:custGeom>
              <a:avLst/>
              <a:gdLst/>
              <a:ahLst/>
              <a:cxnLst>
                <a:cxn ang="0">
                  <a:pos x="27" y="0"/>
                </a:cxn>
                <a:cxn ang="0">
                  <a:pos x="55" y="347"/>
                </a:cxn>
                <a:cxn ang="0">
                  <a:pos x="18" y="905"/>
                </a:cxn>
                <a:cxn ang="0">
                  <a:pos x="27" y="1737"/>
                </a:cxn>
              </a:cxnLst>
              <a:rect l="0" t="0" r="r" b="b"/>
              <a:pathLst>
                <a:path w="68" h="1737">
                  <a:moveTo>
                    <a:pt x="27" y="0"/>
                  </a:moveTo>
                  <a:cubicBezTo>
                    <a:pt x="0" y="107"/>
                    <a:pt x="16" y="242"/>
                    <a:pt x="55" y="347"/>
                  </a:cubicBezTo>
                  <a:cubicBezTo>
                    <a:pt x="48" y="677"/>
                    <a:pt x="68" y="698"/>
                    <a:pt x="18" y="905"/>
                  </a:cubicBezTo>
                  <a:cubicBezTo>
                    <a:pt x="28" y="1597"/>
                    <a:pt x="27" y="1320"/>
                    <a:pt x="27" y="1737"/>
                  </a:cubicBezTo>
                </a:path>
              </a:pathLst>
            </a:custGeom>
            <a:grpFill/>
            <a:ln w="9525">
              <a:solidFill>
                <a:srgbClr val="EDE20B"/>
              </a:solidFill>
              <a:round/>
              <a:headEnd/>
              <a:tailEnd/>
            </a:ln>
            <a:effectLst/>
          </p:spPr>
          <p:txBody>
            <a:bodyPr/>
            <a:lstStyle/>
            <a:p>
              <a:endParaRPr lang="en-US"/>
            </a:p>
          </p:txBody>
        </p:sp>
        <p:sp>
          <p:nvSpPr>
            <p:cNvPr id="37" name="Freeform 32"/>
            <p:cNvSpPr>
              <a:spLocks/>
            </p:cNvSpPr>
            <p:nvPr/>
          </p:nvSpPr>
          <p:spPr bwMode="auto">
            <a:xfrm>
              <a:off x="4212" y="545"/>
              <a:ext cx="73" cy="1840"/>
            </a:xfrm>
            <a:custGeom>
              <a:avLst/>
              <a:gdLst/>
              <a:ahLst/>
              <a:cxnLst>
                <a:cxn ang="0">
                  <a:pos x="27" y="0"/>
                </a:cxn>
                <a:cxn ang="0">
                  <a:pos x="55" y="347"/>
                </a:cxn>
                <a:cxn ang="0">
                  <a:pos x="18" y="905"/>
                </a:cxn>
                <a:cxn ang="0">
                  <a:pos x="27" y="1737"/>
                </a:cxn>
              </a:cxnLst>
              <a:rect l="0" t="0" r="r" b="b"/>
              <a:pathLst>
                <a:path w="68" h="1737">
                  <a:moveTo>
                    <a:pt x="27" y="0"/>
                  </a:moveTo>
                  <a:cubicBezTo>
                    <a:pt x="0" y="107"/>
                    <a:pt x="16" y="242"/>
                    <a:pt x="55" y="347"/>
                  </a:cubicBezTo>
                  <a:cubicBezTo>
                    <a:pt x="48" y="677"/>
                    <a:pt x="68" y="698"/>
                    <a:pt x="18" y="905"/>
                  </a:cubicBezTo>
                  <a:cubicBezTo>
                    <a:pt x="28" y="1597"/>
                    <a:pt x="27" y="1320"/>
                    <a:pt x="27" y="1737"/>
                  </a:cubicBezTo>
                </a:path>
              </a:pathLst>
            </a:custGeom>
            <a:grpFill/>
            <a:ln w="9525">
              <a:solidFill>
                <a:srgbClr val="EDE20B"/>
              </a:solidFill>
              <a:round/>
              <a:headEnd/>
              <a:tailEnd/>
            </a:ln>
            <a:effectLst/>
          </p:spPr>
          <p:txBody>
            <a:bodyPr/>
            <a:lstStyle/>
            <a:p>
              <a:endParaRPr lang="en-US"/>
            </a:p>
          </p:txBody>
        </p:sp>
        <p:sp>
          <p:nvSpPr>
            <p:cNvPr id="38" name="Freeform 33"/>
            <p:cNvSpPr>
              <a:spLocks/>
            </p:cNvSpPr>
            <p:nvPr/>
          </p:nvSpPr>
          <p:spPr bwMode="auto">
            <a:xfrm>
              <a:off x="4315" y="545"/>
              <a:ext cx="73" cy="1840"/>
            </a:xfrm>
            <a:custGeom>
              <a:avLst/>
              <a:gdLst/>
              <a:ahLst/>
              <a:cxnLst>
                <a:cxn ang="0">
                  <a:pos x="27" y="0"/>
                </a:cxn>
                <a:cxn ang="0">
                  <a:pos x="55" y="347"/>
                </a:cxn>
                <a:cxn ang="0">
                  <a:pos x="18" y="905"/>
                </a:cxn>
                <a:cxn ang="0">
                  <a:pos x="27" y="1737"/>
                </a:cxn>
              </a:cxnLst>
              <a:rect l="0" t="0" r="r" b="b"/>
              <a:pathLst>
                <a:path w="68" h="1737">
                  <a:moveTo>
                    <a:pt x="27" y="0"/>
                  </a:moveTo>
                  <a:cubicBezTo>
                    <a:pt x="0" y="107"/>
                    <a:pt x="16" y="242"/>
                    <a:pt x="55" y="347"/>
                  </a:cubicBezTo>
                  <a:cubicBezTo>
                    <a:pt x="48" y="677"/>
                    <a:pt x="68" y="698"/>
                    <a:pt x="18" y="905"/>
                  </a:cubicBezTo>
                  <a:cubicBezTo>
                    <a:pt x="28" y="1597"/>
                    <a:pt x="27" y="1320"/>
                    <a:pt x="27" y="1737"/>
                  </a:cubicBezTo>
                </a:path>
              </a:pathLst>
            </a:custGeom>
            <a:grpFill/>
            <a:ln w="9525">
              <a:solidFill>
                <a:srgbClr val="EDE20B"/>
              </a:solidFill>
              <a:round/>
              <a:headEnd/>
              <a:tailEnd/>
            </a:ln>
            <a:effectLst/>
          </p:spPr>
          <p:txBody>
            <a:bodyPr/>
            <a:lstStyle/>
            <a:p>
              <a:endParaRPr lang="en-US"/>
            </a:p>
          </p:txBody>
        </p:sp>
        <p:sp>
          <p:nvSpPr>
            <p:cNvPr id="39" name="Freeform 34"/>
            <p:cNvSpPr>
              <a:spLocks/>
            </p:cNvSpPr>
            <p:nvPr/>
          </p:nvSpPr>
          <p:spPr bwMode="auto">
            <a:xfrm>
              <a:off x="4264" y="545"/>
              <a:ext cx="73" cy="1840"/>
            </a:xfrm>
            <a:custGeom>
              <a:avLst/>
              <a:gdLst/>
              <a:ahLst/>
              <a:cxnLst>
                <a:cxn ang="0">
                  <a:pos x="27" y="0"/>
                </a:cxn>
                <a:cxn ang="0">
                  <a:pos x="55" y="347"/>
                </a:cxn>
                <a:cxn ang="0">
                  <a:pos x="18" y="905"/>
                </a:cxn>
                <a:cxn ang="0">
                  <a:pos x="27" y="1737"/>
                </a:cxn>
              </a:cxnLst>
              <a:rect l="0" t="0" r="r" b="b"/>
              <a:pathLst>
                <a:path w="68" h="1737">
                  <a:moveTo>
                    <a:pt x="27" y="0"/>
                  </a:moveTo>
                  <a:cubicBezTo>
                    <a:pt x="0" y="107"/>
                    <a:pt x="16" y="242"/>
                    <a:pt x="55" y="347"/>
                  </a:cubicBezTo>
                  <a:cubicBezTo>
                    <a:pt x="48" y="677"/>
                    <a:pt x="68" y="698"/>
                    <a:pt x="18" y="905"/>
                  </a:cubicBezTo>
                  <a:cubicBezTo>
                    <a:pt x="28" y="1597"/>
                    <a:pt x="27" y="1320"/>
                    <a:pt x="27" y="1737"/>
                  </a:cubicBezTo>
                </a:path>
              </a:pathLst>
            </a:custGeom>
            <a:grpFill/>
            <a:ln w="9525">
              <a:solidFill>
                <a:srgbClr val="EDE20B"/>
              </a:solidFill>
              <a:round/>
              <a:headEnd/>
              <a:tailEnd/>
            </a:ln>
            <a:effectLst/>
          </p:spPr>
          <p:txBody>
            <a:bodyPr/>
            <a:lstStyle/>
            <a:p>
              <a:endParaRPr lang="en-US"/>
            </a:p>
          </p:txBody>
        </p:sp>
        <p:sp>
          <p:nvSpPr>
            <p:cNvPr id="40" name="Freeform 35"/>
            <p:cNvSpPr>
              <a:spLocks/>
            </p:cNvSpPr>
            <p:nvPr/>
          </p:nvSpPr>
          <p:spPr bwMode="auto">
            <a:xfrm>
              <a:off x="4264" y="545"/>
              <a:ext cx="73" cy="1840"/>
            </a:xfrm>
            <a:custGeom>
              <a:avLst/>
              <a:gdLst/>
              <a:ahLst/>
              <a:cxnLst>
                <a:cxn ang="0">
                  <a:pos x="27" y="0"/>
                </a:cxn>
                <a:cxn ang="0">
                  <a:pos x="55" y="347"/>
                </a:cxn>
                <a:cxn ang="0">
                  <a:pos x="18" y="905"/>
                </a:cxn>
                <a:cxn ang="0">
                  <a:pos x="27" y="1737"/>
                </a:cxn>
              </a:cxnLst>
              <a:rect l="0" t="0" r="r" b="b"/>
              <a:pathLst>
                <a:path w="68" h="1737">
                  <a:moveTo>
                    <a:pt x="27" y="0"/>
                  </a:moveTo>
                  <a:cubicBezTo>
                    <a:pt x="0" y="107"/>
                    <a:pt x="16" y="242"/>
                    <a:pt x="55" y="347"/>
                  </a:cubicBezTo>
                  <a:cubicBezTo>
                    <a:pt x="48" y="677"/>
                    <a:pt x="68" y="698"/>
                    <a:pt x="18" y="905"/>
                  </a:cubicBezTo>
                  <a:cubicBezTo>
                    <a:pt x="28" y="1597"/>
                    <a:pt x="27" y="1320"/>
                    <a:pt x="27" y="1737"/>
                  </a:cubicBezTo>
                </a:path>
              </a:pathLst>
            </a:custGeom>
            <a:grpFill/>
            <a:ln w="9525">
              <a:solidFill>
                <a:srgbClr val="EDE20B"/>
              </a:solidFill>
              <a:round/>
              <a:headEnd/>
              <a:tailEnd/>
            </a:ln>
            <a:effectLst/>
          </p:spPr>
          <p:txBody>
            <a:bodyPr/>
            <a:lstStyle/>
            <a:p>
              <a:endParaRPr lang="en-US"/>
            </a:p>
          </p:txBody>
        </p:sp>
        <p:sp>
          <p:nvSpPr>
            <p:cNvPr id="41" name="Freeform 36"/>
            <p:cNvSpPr>
              <a:spLocks/>
            </p:cNvSpPr>
            <p:nvPr/>
          </p:nvSpPr>
          <p:spPr bwMode="auto">
            <a:xfrm>
              <a:off x="4436" y="560"/>
              <a:ext cx="78" cy="1810"/>
            </a:xfrm>
            <a:custGeom>
              <a:avLst/>
              <a:gdLst/>
              <a:ahLst/>
              <a:cxnLst>
                <a:cxn ang="0">
                  <a:pos x="46" y="0"/>
                </a:cxn>
                <a:cxn ang="0">
                  <a:pos x="55" y="539"/>
                </a:cxn>
                <a:cxn ang="0">
                  <a:pos x="27" y="640"/>
                </a:cxn>
                <a:cxn ang="0">
                  <a:pos x="9" y="713"/>
                </a:cxn>
                <a:cxn ang="0">
                  <a:pos x="46" y="1335"/>
                </a:cxn>
                <a:cxn ang="0">
                  <a:pos x="9" y="1709"/>
                </a:cxn>
              </a:cxnLst>
              <a:rect l="0" t="0" r="r" b="b"/>
              <a:pathLst>
                <a:path w="73" h="1709">
                  <a:moveTo>
                    <a:pt x="46" y="0"/>
                  </a:moveTo>
                  <a:cubicBezTo>
                    <a:pt x="55" y="207"/>
                    <a:pt x="71" y="321"/>
                    <a:pt x="55" y="539"/>
                  </a:cubicBezTo>
                  <a:cubicBezTo>
                    <a:pt x="50" y="603"/>
                    <a:pt x="39" y="596"/>
                    <a:pt x="27" y="640"/>
                  </a:cubicBezTo>
                  <a:cubicBezTo>
                    <a:pt x="20" y="664"/>
                    <a:pt x="9" y="713"/>
                    <a:pt x="9" y="713"/>
                  </a:cubicBezTo>
                  <a:cubicBezTo>
                    <a:pt x="16" y="1085"/>
                    <a:pt x="0" y="1098"/>
                    <a:pt x="46" y="1335"/>
                  </a:cubicBezTo>
                  <a:cubicBezTo>
                    <a:pt x="59" y="1478"/>
                    <a:pt x="73" y="1581"/>
                    <a:pt x="9" y="1709"/>
                  </a:cubicBezTo>
                </a:path>
              </a:pathLst>
            </a:custGeom>
            <a:grpFill/>
            <a:ln w="9525">
              <a:solidFill>
                <a:srgbClr val="EDE20B"/>
              </a:solidFill>
              <a:round/>
              <a:headEnd/>
              <a:tailEnd/>
            </a:ln>
            <a:effectLst/>
          </p:spPr>
          <p:txBody>
            <a:bodyPr/>
            <a:lstStyle/>
            <a:p>
              <a:endParaRPr lang="en-US"/>
            </a:p>
          </p:txBody>
        </p:sp>
        <p:sp>
          <p:nvSpPr>
            <p:cNvPr id="42" name="Freeform 37"/>
            <p:cNvSpPr>
              <a:spLocks/>
            </p:cNvSpPr>
            <p:nvPr/>
          </p:nvSpPr>
          <p:spPr bwMode="auto">
            <a:xfrm>
              <a:off x="4264" y="545"/>
              <a:ext cx="78" cy="1811"/>
            </a:xfrm>
            <a:custGeom>
              <a:avLst/>
              <a:gdLst/>
              <a:ahLst/>
              <a:cxnLst>
                <a:cxn ang="0">
                  <a:pos x="46" y="0"/>
                </a:cxn>
                <a:cxn ang="0">
                  <a:pos x="55" y="539"/>
                </a:cxn>
                <a:cxn ang="0">
                  <a:pos x="27" y="640"/>
                </a:cxn>
                <a:cxn ang="0">
                  <a:pos x="9" y="713"/>
                </a:cxn>
                <a:cxn ang="0">
                  <a:pos x="46" y="1335"/>
                </a:cxn>
                <a:cxn ang="0">
                  <a:pos x="9" y="1709"/>
                </a:cxn>
              </a:cxnLst>
              <a:rect l="0" t="0" r="r" b="b"/>
              <a:pathLst>
                <a:path w="73" h="1709">
                  <a:moveTo>
                    <a:pt x="46" y="0"/>
                  </a:moveTo>
                  <a:cubicBezTo>
                    <a:pt x="55" y="207"/>
                    <a:pt x="71" y="321"/>
                    <a:pt x="55" y="539"/>
                  </a:cubicBezTo>
                  <a:cubicBezTo>
                    <a:pt x="50" y="603"/>
                    <a:pt x="39" y="596"/>
                    <a:pt x="27" y="640"/>
                  </a:cubicBezTo>
                  <a:cubicBezTo>
                    <a:pt x="20" y="664"/>
                    <a:pt x="9" y="713"/>
                    <a:pt x="9" y="713"/>
                  </a:cubicBezTo>
                  <a:cubicBezTo>
                    <a:pt x="16" y="1085"/>
                    <a:pt x="0" y="1098"/>
                    <a:pt x="46" y="1335"/>
                  </a:cubicBezTo>
                  <a:cubicBezTo>
                    <a:pt x="59" y="1478"/>
                    <a:pt x="73" y="1581"/>
                    <a:pt x="9" y="1709"/>
                  </a:cubicBezTo>
                </a:path>
              </a:pathLst>
            </a:custGeom>
            <a:grpFill/>
            <a:ln w="9525">
              <a:solidFill>
                <a:srgbClr val="EDE20B"/>
              </a:solidFill>
              <a:round/>
              <a:headEnd/>
              <a:tailEnd/>
            </a:ln>
            <a:effectLst/>
          </p:spPr>
          <p:txBody>
            <a:bodyPr/>
            <a:lstStyle/>
            <a:p>
              <a:endParaRPr lang="en-US"/>
            </a:p>
          </p:txBody>
        </p:sp>
        <p:sp>
          <p:nvSpPr>
            <p:cNvPr id="43" name="Freeform 38"/>
            <p:cNvSpPr>
              <a:spLocks/>
            </p:cNvSpPr>
            <p:nvPr/>
          </p:nvSpPr>
          <p:spPr bwMode="auto">
            <a:xfrm>
              <a:off x="4212" y="545"/>
              <a:ext cx="78" cy="1811"/>
            </a:xfrm>
            <a:custGeom>
              <a:avLst/>
              <a:gdLst/>
              <a:ahLst/>
              <a:cxnLst>
                <a:cxn ang="0">
                  <a:pos x="46" y="0"/>
                </a:cxn>
                <a:cxn ang="0">
                  <a:pos x="55" y="539"/>
                </a:cxn>
                <a:cxn ang="0">
                  <a:pos x="27" y="640"/>
                </a:cxn>
                <a:cxn ang="0">
                  <a:pos x="9" y="713"/>
                </a:cxn>
                <a:cxn ang="0">
                  <a:pos x="46" y="1335"/>
                </a:cxn>
                <a:cxn ang="0">
                  <a:pos x="9" y="1709"/>
                </a:cxn>
              </a:cxnLst>
              <a:rect l="0" t="0" r="r" b="b"/>
              <a:pathLst>
                <a:path w="73" h="1709">
                  <a:moveTo>
                    <a:pt x="46" y="0"/>
                  </a:moveTo>
                  <a:cubicBezTo>
                    <a:pt x="55" y="207"/>
                    <a:pt x="71" y="321"/>
                    <a:pt x="55" y="539"/>
                  </a:cubicBezTo>
                  <a:cubicBezTo>
                    <a:pt x="50" y="603"/>
                    <a:pt x="39" y="596"/>
                    <a:pt x="27" y="640"/>
                  </a:cubicBezTo>
                  <a:cubicBezTo>
                    <a:pt x="20" y="664"/>
                    <a:pt x="9" y="713"/>
                    <a:pt x="9" y="713"/>
                  </a:cubicBezTo>
                  <a:cubicBezTo>
                    <a:pt x="16" y="1085"/>
                    <a:pt x="0" y="1098"/>
                    <a:pt x="46" y="1335"/>
                  </a:cubicBezTo>
                  <a:cubicBezTo>
                    <a:pt x="59" y="1478"/>
                    <a:pt x="73" y="1581"/>
                    <a:pt x="9" y="1709"/>
                  </a:cubicBezTo>
                </a:path>
              </a:pathLst>
            </a:custGeom>
            <a:grpFill/>
            <a:ln w="9525">
              <a:solidFill>
                <a:srgbClr val="EDE20B"/>
              </a:solidFill>
              <a:round/>
              <a:headEnd/>
              <a:tailEnd/>
            </a:ln>
            <a:effectLst/>
          </p:spPr>
          <p:txBody>
            <a:bodyPr/>
            <a:lstStyle/>
            <a:p>
              <a:endParaRPr lang="en-US"/>
            </a:p>
          </p:txBody>
        </p:sp>
        <p:sp>
          <p:nvSpPr>
            <p:cNvPr id="44" name="Freeform 39"/>
            <p:cNvSpPr>
              <a:spLocks/>
            </p:cNvSpPr>
            <p:nvPr/>
          </p:nvSpPr>
          <p:spPr bwMode="auto">
            <a:xfrm>
              <a:off x="4057" y="545"/>
              <a:ext cx="79" cy="1811"/>
            </a:xfrm>
            <a:custGeom>
              <a:avLst/>
              <a:gdLst/>
              <a:ahLst/>
              <a:cxnLst>
                <a:cxn ang="0">
                  <a:pos x="46" y="0"/>
                </a:cxn>
                <a:cxn ang="0">
                  <a:pos x="55" y="539"/>
                </a:cxn>
                <a:cxn ang="0">
                  <a:pos x="27" y="640"/>
                </a:cxn>
                <a:cxn ang="0">
                  <a:pos x="9" y="713"/>
                </a:cxn>
                <a:cxn ang="0">
                  <a:pos x="46" y="1335"/>
                </a:cxn>
                <a:cxn ang="0">
                  <a:pos x="9" y="1709"/>
                </a:cxn>
              </a:cxnLst>
              <a:rect l="0" t="0" r="r" b="b"/>
              <a:pathLst>
                <a:path w="73" h="1709">
                  <a:moveTo>
                    <a:pt x="46" y="0"/>
                  </a:moveTo>
                  <a:cubicBezTo>
                    <a:pt x="55" y="207"/>
                    <a:pt x="71" y="321"/>
                    <a:pt x="55" y="539"/>
                  </a:cubicBezTo>
                  <a:cubicBezTo>
                    <a:pt x="50" y="603"/>
                    <a:pt x="39" y="596"/>
                    <a:pt x="27" y="640"/>
                  </a:cubicBezTo>
                  <a:cubicBezTo>
                    <a:pt x="20" y="664"/>
                    <a:pt x="9" y="713"/>
                    <a:pt x="9" y="713"/>
                  </a:cubicBezTo>
                  <a:cubicBezTo>
                    <a:pt x="16" y="1085"/>
                    <a:pt x="0" y="1098"/>
                    <a:pt x="46" y="1335"/>
                  </a:cubicBezTo>
                  <a:cubicBezTo>
                    <a:pt x="59" y="1478"/>
                    <a:pt x="73" y="1581"/>
                    <a:pt x="9" y="1709"/>
                  </a:cubicBezTo>
                </a:path>
              </a:pathLst>
            </a:custGeom>
            <a:grpFill/>
            <a:ln w="9525">
              <a:solidFill>
                <a:srgbClr val="EDE20B"/>
              </a:solidFill>
              <a:round/>
              <a:headEnd/>
              <a:tailEnd/>
            </a:ln>
            <a:effectLst/>
          </p:spPr>
          <p:txBody>
            <a:bodyPr/>
            <a:lstStyle/>
            <a:p>
              <a:endParaRPr lang="en-US"/>
            </a:p>
          </p:txBody>
        </p:sp>
        <p:sp>
          <p:nvSpPr>
            <p:cNvPr id="45" name="Freeform 40"/>
            <p:cNvSpPr>
              <a:spLocks/>
            </p:cNvSpPr>
            <p:nvPr/>
          </p:nvSpPr>
          <p:spPr bwMode="auto">
            <a:xfrm>
              <a:off x="4160" y="545"/>
              <a:ext cx="79" cy="1811"/>
            </a:xfrm>
            <a:custGeom>
              <a:avLst/>
              <a:gdLst/>
              <a:ahLst/>
              <a:cxnLst>
                <a:cxn ang="0">
                  <a:pos x="46" y="0"/>
                </a:cxn>
                <a:cxn ang="0">
                  <a:pos x="55" y="539"/>
                </a:cxn>
                <a:cxn ang="0">
                  <a:pos x="27" y="640"/>
                </a:cxn>
                <a:cxn ang="0">
                  <a:pos x="9" y="713"/>
                </a:cxn>
                <a:cxn ang="0">
                  <a:pos x="46" y="1335"/>
                </a:cxn>
                <a:cxn ang="0">
                  <a:pos x="9" y="1709"/>
                </a:cxn>
              </a:cxnLst>
              <a:rect l="0" t="0" r="r" b="b"/>
              <a:pathLst>
                <a:path w="73" h="1709">
                  <a:moveTo>
                    <a:pt x="46" y="0"/>
                  </a:moveTo>
                  <a:cubicBezTo>
                    <a:pt x="55" y="207"/>
                    <a:pt x="71" y="321"/>
                    <a:pt x="55" y="539"/>
                  </a:cubicBezTo>
                  <a:cubicBezTo>
                    <a:pt x="50" y="603"/>
                    <a:pt x="39" y="596"/>
                    <a:pt x="27" y="640"/>
                  </a:cubicBezTo>
                  <a:cubicBezTo>
                    <a:pt x="20" y="664"/>
                    <a:pt x="9" y="713"/>
                    <a:pt x="9" y="713"/>
                  </a:cubicBezTo>
                  <a:cubicBezTo>
                    <a:pt x="16" y="1085"/>
                    <a:pt x="0" y="1098"/>
                    <a:pt x="46" y="1335"/>
                  </a:cubicBezTo>
                  <a:cubicBezTo>
                    <a:pt x="59" y="1478"/>
                    <a:pt x="73" y="1581"/>
                    <a:pt x="9" y="1709"/>
                  </a:cubicBezTo>
                </a:path>
              </a:pathLst>
            </a:custGeom>
            <a:grpFill/>
            <a:ln w="9525">
              <a:solidFill>
                <a:srgbClr val="EDE20B"/>
              </a:solidFill>
              <a:round/>
              <a:headEnd/>
              <a:tailEnd/>
            </a:ln>
            <a:effectLst/>
          </p:spPr>
          <p:txBody>
            <a:bodyPr/>
            <a:lstStyle/>
            <a:p>
              <a:endParaRPr lang="en-US"/>
            </a:p>
          </p:txBody>
        </p:sp>
        <p:sp>
          <p:nvSpPr>
            <p:cNvPr id="46" name="Freeform 41"/>
            <p:cNvSpPr>
              <a:spLocks/>
            </p:cNvSpPr>
            <p:nvPr/>
          </p:nvSpPr>
          <p:spPr bwMode="auto">
            <a:xfrm>
              <a:off x="4367" y="545"/>
              <a:ext cx="78" cy="1811"/>
            </a:xfrm>
            <a:custGeom>
              <a:avLst/>
              <a:gdLst/>
              <a:ahLst/>
              <a:cxnLst>
                <a:cxn ang="0">
                  <a:pos x="46" y="0"/>
                </a:cxn>
                <a:cxn ang="0">
                  <a:pos x="55" y="539"/>
                </a:cxn>
                <a:cxn ang="0">
                  <a:pos x="27" y="640"/>
                </a:cxn>
                <a:cxn ang="0">
                  <a:pos x="9" y="713"/>
                </a:cxn>
                <a:cxn ang="0">
                  <a:pos x="46" y="1335"/>
                </a:cxn>
                <a:cxn ang="0">
                  <a:pos x="9" y="1709"/>
                </a:cxn>
              </a:cxnLst>
              <a:rect l="0" t="0" r="r" b="b"/>
              <a:pathLst>
                <a:path w="73" h="1709">
                  <a:moveTo>
                    <a:pt x="46" y="0"/>
                  </a:moveTo>
                  <a:cubicBezTo>
                    <a:pt x="55" y="207"/>
                    <a:pt x="71" y="321"/>
                    <a:pt x="55" y="539"/>
                  </a:cubicBezTo>
                  <a:cubicBezTo>
                    <a:pt x="50" y="603"/>
                    <a:pt x="39" y="596"/>
                    <a:pt x="27" y="640"/>
                  </a:cubicBezTo>
                  <a:cubicBezTo>
                    <a:pt x="20" y="664"/>
                    <a:pt x="9" y="713"/>
                    <a:pt x="9" y="713"/>
                  </a:cubicBezTo>
                  <a:cubicBezTo>
                    <a:pt x="16" y="1085"/>
                    <a:pt x="0" y="1098"/>
                    <a:pt x="46" y="1335"/>
                  </a:cubicBezTo>
                  <a:cubicBezTo>
                    <a:pt x="59" y="1478"/>
                    <a:pt x="73" y="1581"/>
                    <a:pt x="9" y="1709"/>
                  </a:cubicBezTo>
                </a:path>
              </a:pathLst>
            </a:custGeom>
            <a:grpFill/>
            <a:ln w="9525">
              <a:solidFill>
                <a:srgbClr val="EDE20B"/>
              </a:solidFill>
              <a:round/>
              <a:headEnd/>
              <a:tailEnd/>
            </a:ln>
            <a:effectLst/>
          </p:spPr>
          <p:txBody>
            <a:bodyPr/>
            <a:lstStyle/>
            <a:p>
              <a:endParaRPr lang="en-US"/>
            </a:p>
          </p:txBody>
        </p:sp>
        <p:sp>
          <p:nvSpPr>
            <p:cNvPr id="47" name="Rectangle 42"/>
            <p:cNvSpPr>
              <a:spLocks noChangeArrowheads="1"/>
            </p:cNvSpPr>
            <p:nvPr/>
          </p:nvSpPr>
          <p:spPr bwMode="auto">
            <a:xfrm flipV="1">
              <a:off x="4464" y="576"/>
              <a:ext cx="144" cy="48"/>
            </a:xfrm>
            <a:prstGeom prst="rect">
              <a:avLst/>
            </a:prstGeom>
            <a:solidFill>
              <a:schemeClr val="tx1">
                <a:lumMod val="75000"/>
              </a:schemeClr>
            </a:solidFill>
            <a:ln w="9525">
              <a:noFill/>
              <a:miter lim="800000"/>
              <a:headEnd/>
              <a:tailEnd/>
            </a:ln>
            <a:effectLst/>
          </p:spPr>
          <p:txBody>
            <a:bodyPr wrap="none" anchor="ctr"/>
            <a:lstStyle/>
            <a:p>
              <a:endParaRPr lang="en-US" dirty="0"/>
            </a:p>
          </p:txBody>
        </p:sp>
        <p:sp>
          <p:nvSpPr>
            <p:cNvPr id="48" name="Text Box 43"/>
            <p:cNvSpPr txBox="1">
              <a:spLocks noChangeArrowheads="1"/>
            </p:cNvSpPr>
            <p:nvPr/>
          </p:nvSpPr>
          <p:spPr bwMode="auto">
            <a:xfrm>
              <a:off x="4944" y="0"/>
              <a:ext cx="864" cy="380"/>
            </a:xfrm>
            <a:prstGeom prst="rect">
              <a:avLst/>
            </a:prstGeom>
            <a:grpFill/>
            <a:ln w="9525">
              <a:noFill/>
              <a:miter lim="800000"/>
              <a:headEnd/>
              <a:tailEnd/>
            </a:ln>
            <a:effectLst/>
          </p:spPr>
          <p:txBody>
            <a:bodyPr wrap="square">
              <a:spAutoFit/>
            </a:bodyPr>
            <a:lstStyle/>
            <a:p>
              <a:pPr>
                <a:spcBef>
                  <a:spcPct val="50000"/>
                </a:spcBef>
              </a:pPr>
              <a:r>
                <a:rPr lang="en-US" sz="1600" dirty="0">
                  <a:solidFill>
                    <a:schemeClr val="tx1">
                      <a:lumMod val="50000"/>
                      <a:lumOff val="50000"/>
                    </a:schemeClr>
                  </a:solidFill>
                  <a:latin typeface="+mj-lt"/>
                  <a:cs typeface="Arial" pitchFamily="34" charset="0"/>
                </a:rPr>
                <a:t>tag</a:t>
              </a:r>
            </a:p>
          </p:txBody>
        </p:sp>
        <p:sp>
          <p:nvSpPr>
            <p:cNvPr id="49" name="Line 44"/>
            <p:cNvSpPr>
              <a:spLocks noChangeShapeType="1"/>
            </p:cNvSpPr>
            <p:nvPr/>
          </p:nvSpPr>
          <p:spPr bwMode="auto">
            <a:xfrm flipH="1">
              <a:off x="4656" y="288"/>
              <a:ext cx="336" cy="288"/>
            </a:xfrm>
            <a:prstGeom prst="line">
              <a:avLst/>
            </a:prstGeom>
            <a:grpFill/>
            <a:ln w="28575">
              <a:solidFill>
                <a:schemeClr val="tx1"/>
              </a:solidFill>
              <a:round/>
              <a:headEnd/>
              <a:tailEnd type="triangle" w="med" len="med"/>
            </a:ln>
            <a:effectLst/>
          </p:spPr>
          <p:txBody>
            <a:bodyPr/>
            <a:lstStyle/>
            <a:p>
              <a:endParaRPr lang="en-US"/>
            </a:p>
          </p:txBody>
        </p:sp>
      </p:grpSp>
      <p:sp>
        <p:nvSpPr>
          <p:cNvPr id="50" name="Rectangle 49"/>
          <p:cNvSpPr/>
          <p:nvPr/>
        </p:nvSpPr>
        <p:spPr>
          <a:xfrm>
            <a:off x="8437419" y="0"/>
            <a:ext cx="1620982" cy="3463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Century Gothic Pro" panose="020B0502020202020204" pitchFamily="34" charset="0"/>
              </a:rPr>
              <a:t>Style </a:t>
            </a:r>
            <a:r>
              <a:rPr lang="en-US" sz="1100" dirty="0" err="1">
                <a:latin typeface="Century Gothic Pro" panose="020B0502020202020204" pitchFamily="34" charset="0"/>
              </a:rPr>
              <a:t>Fusion</a:t>
            </a:r>
            <a:r>
              <a:rPr lang="en-US" sz="1100" baseline="30000" dirty="0" err="1">
                <a:latin typeface="Century Gothic Pro" panose="020B0502020202020204" pitchFamily="34" charset="0"/>
              </a:rPr>
              <a:t>TM</a:t>
            </a:r>
            <a:r>
              <a:rPr lang="en-US" sz="1100" dirty="0">
                <a:latin typeface="Century Gothic Pro" panose="020B0502020202020204" pitchFamily="34" charset="0"/>
              </a:rPr>
              <a:t> complex 1</a:t>
            </a:r>
          </a:p>
        </p:txBody>
      </p:sp>
    </p:spTree>
    <p:extLst>
      <p:ext uri="{BB962C8B-B14F-4D97-AF65-F5344CB8AC3E}">
        <p14:creationId xmlns:p14="http://schemas.microsoft.com/office/powerpoint/2010/main" val="34829863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8" y="349029"/>
            <a:ext cx="9144000" cy="1325563"/>
          </a:xfrm>
        </p:spPr>
        <p:txBody>
          <a:bodyPr/>
          <a:lstStyle/>
          <a:p>
            <a:r>
              <a:rPr lang="ru-RU" dirty="0"/>
              <a:t>Сыворотка для восстановления секущихся кончиков</a:t>
            </a:r>
            <a:r>
              <a:rPr lang="da-DK" dirty="0"/>
              <a:t/>
            </a:r>
            <a:br>
              <a:rPr lang="da-DK" dirty="0"/>
            </a:br>
            <a:r>
              <a:rPr lang="da-DK" sz="1400" dirty="0">
                <a:solidFill>
                  <a:schemeClr val="tx1">
                    <a:lumMod val="50000"/>
                    <a:lumOff val="50000"/>
                  </a:schemeClr>
                </a:solidFill>
              </a:rPr>
              <a:t>Formula #: 11110-61B</a:t>
            </a:r>
            <a:endParaRPr lang="en-US" sz="1400" dirty="0">
              <a:solidFill>
                <a:schemeClr val="tx1">
                  <a:lumMod val="50000"/>
                  <a:lumOff val="50000"/>
                </a:schemeClr>
              </a:solidFill>
            </a:endParaRPr>
          </a:p>
        </p:txBody>
      </p:sp>
      <p:sp>
        <p:nvSpPr>
          <p:cNvPr id="3" name="Slide Number Placeholder 2"/>
          <p:cNvSpPr>
            <a:spLocks noGrp="1"/>
          </p:cNvSpPr>
          <p:nvPr>
            <p:ph type="sldNum" sz="quarter" idx="12"/>
          </p:nvPr>
        </p:nvSpPr>
        <p:spPr/>
        <p:txBody>
          <a:bodyPr/>
          <a:lstStyle/>
          <a:p>
            <a:fld id="{91393B01-7800-434A-B836-B3320A3476BB}" type="slidenum">
              <a:rPr lang="en-US" smtClean="0"/>
              <a:pPr/>
              <a:t>32</a:t>
            </a:fld>
            <a:endParaRPr lang="en-US"/>
          </a:p>
        </p:txBody>
      </p:sp>
      <p:graphicFrame>
        <p:nvGraphicFramePr>
          <p:cNvPr id="4" name="Table 3"/>
          <p:cNvGraphicFramePr>
            <a:graphicFrameLocks noGrp="1"/>
          </p:cNvGraphicFramePr>
          <p:nvPr>
            <p:extLst/>
          </p:nvPr>
        </p:nvGraphicFramePr>
        <p:xfrm>
          <a:off x="166256" y="1818483"/>
          <a:ext cx="5237018" cy="3950580"/>
        </p:xfrm>
        <a:graphic>
          <a:graphicData uri="http://schemas.openxmlformats.org/drawingml/2006/table">
            <a:tbl>
              <a:tblPr>
                <a:tableStyleId>{5940675A-B579-460E-94D1-54222C63F5DA}</a:tableStyleId>
              </a:tblPr>
              <a:tblGrid>
                <a:gridCol w="3338944">
                  <a:extLst>
                    <a:ext uri="{9D8B030D-6E8A-4147-A177-3AD203B41FA5}">
                      <a16:colId xmlns:a16="http://schemas.microsoft.com/office/drawing/2014/main" xmlns="" val="20000"/>
                    </a:ext>
                  </a:extLst>
                </a:gridCol>
                <a:gridCol w="928255">
                  <a:extLst>
                    <a:ext uri="{9D8B030D-6E8A-4147-A177-3AD203B41FA5}">
                      <a16:colId xmlns:a16="http://schemas.microsoft.com/office/drawing/2014/main" xmlns="" val="20001"/>
                    </a:ext>
                  </a:extLst>
                </a:gridCol>
                <a:gridCol w="969819">
                  <a:extLst>
                    <a:ext uri="{9D8B030D-6E8A-4147-A177-3AD203B41FA5}">
                      <a16:colId xmlns:a16="http://schemas.microsoft.com/office/drawing/2014/main" xmlns="" val="20002"/>
                    </a:ext>
                  </a:extLst>
                </a:gridCol>
              </a:tblGrid>
              <a:tr h="815037">
                <a:tc>
                  <a:txBody>
                    <a:bodyPr/>
                    <a:lstStyle/>
                    <a:p>
                      <a:pPr marL="0" marR="0">
                        <a:spcBef>
                          <a:spcPts val="0"/>
                        </a:spcBef>
                        <a:spcAft>
                          <a:spcPts val="0"/>
                        </a:spcAft>
                        <a:tabLst>
                          <a:tab pos="4457700" algn="l"/>
                        </a:tabLst>
                      </a:pPr>
                      <a:r>
                        <a:rPr lang="en-GB" sz="1500" b="1" u="sng" dirty="0">
                          <a:solidFill>
                            <a:schemeClr val="bg1"/>
                          </a:solidFill>
                          <a:effectLst/>
                          <a:latin typeface="Century Gothic Pro" panose="020B0502020202020204" pitchFamily="34" charset="0"/>
                        </a:rPr>
                        <a:t>INGREDIENTS</a:t>
                      </a:r>
                      <a:endParaRPr lang="en-US" sz="1500" b="1" dirty="0">
                        <a:solidFill>
                          <a:schemeClr val="bg1"/>
                        </a:solidFill>
                        <a:effectLst/>
                        <a:latin typeface="Century Gothic Pro" panose="020B0502020202020204" pitchFamily="34" charset="0"/>
                        <a:cs typeface="Times New Roman"/>
                      </a:endParaRPr>
                    </a:p>
                  </a:txBody>
                  <a:tcPr marL="68580" marR="68580" marT="0" marB="0" anchor="b">
                    <a:solidFill>
                      <a:schemeClr val="accent3"/>
                    </a:solidFill>
                  </a:tcPr>
                </a:tc>
                <a:tc>
                  <a:txBody>
                    <a:bodyPr/>
                    <a:lstStyle/>
                    <a:p>
                      <a:pPr marL="0" marR="0">
                        <a:spcBef>
                          <a:spcPts val="0"/>
                        </a:spcBef>
                        <a:spcAft>
                          <a:spcPts val="0"/>
                        </a:spcAft>
                        <a:tabLst>
                          <a:tab pos="4114800" algn="l"/>
                          <a:tab pos="5029200" algn="l"/>
                        </a:tabLst>
                      </a:pPr>
                      <a:r>
                        <a:rPr lang="en-GB" sz="1500" b="1" u="sng" dirty="0">
                          <a:solidFill>
                            <a:schemeClr val="bg1"/>
                          </a:solidFill>
                          <a:effectLst/>
                          <a:latin typeface="Century Gothic Pro" panose="020B0502020202020204" pitchFamily="34" charset="0"/>
                        </a:rPr>
                        <a:t>   %W/W</a:t>
                      </a:r>
                      <a:endParaRPr lang="en-US" sz="1500" b="1" dirty="0">
                        <a:solidFill>
                          <a:schemeClr val="bg1"/>
                        </a:solidFill>
                        <a:effectLst/>
                        <a:latin typeface="Century Gothic Pro" panose="020B0502020202020204" pitchFamily="34" charset="0"/>
                        <a:ea typeface="Times New Roman"/>
                        <a:cs typeface="Times New Roman"/>
                      </a:endParaRPr>
                    </a:p>
                  </a:txBody>
                  <a:tcPr marL="68580" marR="68580" marT="0" marB="0" anchor="b">
                    <a:solidFill>
                      <a:schemeClr val="accent3"/>
                    </a:solidFill>
                  </a:tcPr>
                </a:tc>
                <a:tc>
                  <a:txBody>
                    <a:bodyPr/>
                    <a:lstStyle/>
                    <a:p>
                      <a:pPr marL="0" marR="0">
                        <a:spcBef>
                          <a:spcPts val="0"/>
                        </a:spcBef>
                        <a:spcAft>
                          <a:spcPts val="0"/>
                        </a:spcAft>
                        <a:tabLst>
                          <a:tab pos="4457700" algn="l"/>
                        </a:tabLst>
                      </a:pPr>
                      <a:r>
                        <a:rPr lang="en-GB" sz="1500" b="1" u="sng" dirty="0">
                          <a:solidFill>
                            <a:schemeClr val="bg1"/>
                          </a:solidFill>
                          <a:effectLst/>
                          <a:latin typeface="Century Gothic Pro" panose="020B0502020202020204" pitchFamily="34" charset="0"/>
                        </a:rPr>
                        <a:t>SUPPLIER</a:t>
                      </a:r>
                      <a:endParaRPr lang="en-US" sz="1500" b="1" dirty="0">
                        <a:solidFill>
                          <a:schemeClr val="bg1"/>
                        </a:solidFill>
                        <a:effectLst/>
                        <a:latin typeface="Century Gothic Pro" panose="020B0502020202020204" pitchFamily="34" charset="0"/>
                        <a:cs typeface="Times New Roman"/>
                      </a:endParaRPr>
                    </a:p>
                  </a:txBody>
                  <a:tcPr marL="68580" marR="68580" marT="0" marB="0" anchor="b">
                    <a:solidFill>
                      <a:schemeClr val="accent3"/>
                    </a:solidFill>
                  </a:tcPr>
                </a:tc>
                <a:extLst>
                  <a:ext uri="{0D108BD9-81ED-4DB2-BD59-A6C34878D82A}">
                    <a16:rowId xmlns:a16="http://schemas.microsoft.com/office/drawing/2014/main" xmlns="" val="10000"/>
                  </a:ext>
                </a:extLst>
              </a:tr>
              <a:tr h="253567">
                <a:tc>
                  <a:txBody>
                    <a:bodyPr/>
                    <a:lstStyle/>
                    <a:p>
                      <a:pPr marL="0" marR="0">
                        <a:spcBef>
                          <a:spcPts val="0"/>
                        </a:spcBef>
                        <a:spcAft>
                          <a:spcPts val="0"/>
                        </a:spcAft>
                        <a:tabLst>
                          <a:tab pos="4114800" algn="l"/>
                          <a:tab pos="5029200" algn="l"/>
                        </a:tabLst>
                      </a:pPr>
                      <a:r>
                        <a:rPr lang="en-GB" sz="1400" dirty="0">
                          <a:solidFill>
                            <a:schemeClr val="tx1">
                              <a:lumMod val="50000"/>
                              <a:lumOff val="50000"/>
                            </a:schemeClr>
                          </a:solidFill>
                          <a:effectLst/>
                          <a:latin typeface="Century Gothic Pro" panose="020B0502020202020204" pitchFamily="34" charset="0"/>
                        </a:rPr>
                        <a:t>Water</a:t>
                      </a:r>
                      <a:endParaRPr lang="en-US" sz="1400" dirty="0">
                        <a:solidFill>
                          <a:schemeClr val="tx1">
                            <a:lumMod val="50000"/>
                            <a:lumOff val="50000"/>
                          </a:schemeClr>
                        </a:solidFill>
                        <a:effectLst/>
                        <a:latin typeface="Century Gothic Pro" panose="020B0502020202020204" pitchFamily="34" charset="0"/>
                        <a:ea typeface="Times New Roman"/>
                        <a:cs typeface="Times New Roman"/>
                      </a:endParaRPr>
                    </a:p>
                  </a:txBody>
                  <a:tcPr marL="68580" marR="68580" marT="0" marB="0" anchor="ctr"/>
                </a:tc>
                <a:tc>
                  <a:txBody>
                    <a:bodyPr/>
                    <a:lstStyle/>
                    <a:p>
                      <a:pPr marL="0" marR="0" algn="ctr">
                        <a:spcBef>
                          <a:spcPts val="0"/>
                        </a:spcBef>
                        <a:spcAft>
                          <a:spcPts val="0"/>
                        </a:spcAft>
                        <a:tabLst>
                          <a:tab pos="200660" algn="l"/>
                          <a:tab pos="314960" algn="l"/>
                          <a:tab pos="4114800" algn="l"/>
                          <a:tab pos="5029200" algn="l"/>
                        </a:tabLst>
                      </a:pPr>
                      <a:r>
                        <a:rPr lang="en-GB" sz="1400" dirty="0">
                          <a:solidFill>
                            <a:schemeClr val="tx1">
                              <a:lumMod val="50000"/>
                              <a:lumOff val="50000"/>
                            </a:schemeClr>
                          </a:solidFill>
                          <a:effectLst/>
                          <a:latin typeface="Century Gothic Pro" panose="020B0502020202020204" pitchFamily="34" charset="0"/>
                        </a:rPr>
                        <a:t> 79.00</a:t>
                      </a:r>
                      <a:endParaRPr lang="en-US" sz="1400" dirty="0">
                        <a:solidFill>
                          <a:schemeClr val="tx1">
                            <a:lumMod val="50000"/>
                            <a:lumOff val="50000"/>
                          </a:schemeClr>
                        </a:solidFill>
                        <a:effectLst/>
                        <a:latin typeface="Century Gothic Pro" panose="020B0502020202020204" pitchFamily="34" charset="0"/>
                        <a:ea typeface="Times New Roman"/>
                        <a:cs typeface="Times New Roman"/>
                      </a:endParaRPr>
                    </a:p>
                  </a:txBody>
                  <a:tcPr marL="68580" marR="68580" marT="0" marB="0" anchor="ctr"/>
                </a:tc>
                <a:tc>
                  <a:txBody>
                    <a:bodyPr/>
                    <a:lstStyle/>
                    <a:p>
                      <a:pPr marL="0" marR="0">
                        <a:spcBef>
                          <a:spcPts val="0"/>
                        </a:spcBef>
                        <a:spcAft>
                          <a:spcPts val="0"/>
                        </a:spcAft>
                        <a:tabLst>
                          <a:tab pos="4114800" algn="l"/>
                          <a:tab pos="5029200" algn="l"/>
                        </a:tabLst>
                      </a:pPr>
                      <a:r>
                        <a:rPr lang="en-GB" sz="1400" dirty="0">
                          <a:solidFill>
                            <a:schemeClr val="tx1">
                              <a:lumMod val="50000"/>
                              <a:lumOff val="50000"/>
                            </a:schemeClr>
                          </a:solidFill>
                          <a:effectLst/>
                          <a:latin typeface="Century Gothic Pro" panose="020B0502020202020204" pitchFamily="34" charset="0"/>
                        </a:rPr>
                        <a:t> </a:t>
                      </a:r>
                      <a:endParaRPr lang="en-US" sz="1400" b="1" dirty="0">
                        <a:solidFill>
                          <a:schemeClr val="tx1">
                            <a:lumMod val="50000"/>
                            <a:lumOff val="50000"/>
                          </a:schemeClr>
                        </a:solidFill>
                        <a:effectLst/>
                        <a:latin typeface="Century Gothic Pro" panose="020B0502020202020204" pitchFamily="34" charset="0"/>
                        <a:ea typeface="Times New Roman"/>
                        <a:cs typeface="Times New Roman"/>
                      </a:endParaRPr>
                    </a:p>
                  </a:txBody>
                  <a:tcPr marL="68580" marR="68580" marT="0" marB="0" anchor="ctr"/>
                </a:tc>
                <a:extLst>
                  <a:ext uri="{0D108BD9-81ED-4DB2-BD59-A6C34878D82A}">
                    <a16:rowId xmlns:a16="http://schemas.microsoft.com/office/drawing/2014/main" xmlns="" val="10001"/>
                  </a:ext>
                </a:extLst>
              </a:tr>
              <a:tr h="760701">
                <a:tc>
                  <a:txBody>
                    <a:bodyPr/>
                    <a:lstStyle/>
                    <a:p>
                      <a:pPr marL="0" marR="0">
                        <a:spcBef>
                          <a:spcPts val="0"/>
                        </a:spcBef>
                        <a:spcAft>
                          <a:spcPts val="0"/>
                        </a:spcAft>
                        <a:tabLst>
                          <a:tab pos="4114800" algn="l"/>
                          <a:tab pos="5029200" algn="l"/>
                        </a:tabLst>
                      </a:pPr>
                      <a:r>
                        <a:rPr lang="en-US" sz="1400" u="none" strike="noStrike" spc="-20" dirty="0">
                          <a:solidFill>
                            <a:schemeClr val="tx1">
                              <a:lumMod val="50000"/>
                              <a:lumOff val="50000"/>
                            </a:schemeClr>
                          </a:solidFill>
                          <a:effectLst/>
                          <a:latin typeface="Century Gothic Pro" panose="020B0502020202020204" pitchFamily="34" charset="0"/>
                        </a:rPr>
                        <a:t>Xanthan Gum (</a:t>
                      </a:r>
                      <a:r>
                        <a:rPr lang="en-US" sz="1400" u="none" strike="noStrike" spc="-20" dirty="0" err="1">
                          <a:solidFill>
                            <a:schemeClr val="tx1">
                              <a:lumMod val="50000"/>
                              <a:lumOff val="50000"/>
                            </a:schemeClr>
                          </a:solidFill>
                          <a:effectLst/>
                          <a:latin typeface="Century Gothic Pro" panose="020B0502020202020204" pitchFamily="34" charset="0"/>
                        </a:rPr>
                        <a:t>Rhodicare</a:t>
                      </a:r>
                      <a:r>
                        <a:rPr lang="en-US" sz="1400" u="none" strike="noStrike" spc="-20" dirty="0">
                          <a:solidFill>
                            <a:schemeClr val="tx1">
                              <a:lumMod val="50000"/>
                              <a:lumOff val="50000"/>
                            </a:schemeClr>
                          </a:solidFill>
                          <a:effectLst/>
                          <a:latin typeface="Century Gothic Pro" panose="020B0502020202020204" pitchFamily="34" charset="0"/>
                        </a:rPr>
                        <a:t> T)</a:t>
                      </a:r>
                      <a:endParaRPr lang="en-US" sz="1400" b="1" u="sng" spc="-20" dirty="0">
                        <a:solidFill>
                          <a:schemeClr val="tx1">
                            <a:lumMod val="50000"/>
                            <a:lumOff val="50000"/>
                          </a:schemeClr>
                        </a:solidFill>
                        <a:effectLst/>
                        <a:latin typeface="Century Gothic Pro" panose="020B0502020202020204" pitchFamily="34" charset="0"/>
                        <a:cs typeface="Times New Roman"/>
                      </a:endParaRPr>
                    </a:p>
                  </a:txBody>
                  <a:tcPr marL="68580" marR="68580" marT="0" marB="0" anchor="ctr"/>
                </a:tc>
                <a:tc>
                  <a:txBody>
                    <a:bodyPr/>
                    <a:lstStyle/>
                    <a:p>
                      <a:pPr marL="0" marR="0" algn="ctr">
                        <a:spcBef>
                          <a:spcPts val="0"/>
                        </a:spcBef>
                        <a:spcAft>
                          <a:spcPts val="0"/>
                        </a:spcAft>
                        <a:tabLst>
                          <a:tab pos="4114800" algn="l"/>
                          <a:tab pos="5029200" algn="l"/>
                        </a:tabLst>
                      </a:pPr>
                      <a:r>
                        <a:rPr lang="en-GB" sz="1400" dirty="0">
                          <a:solidFill>
                            <a:schemeClr val="tx1">
                              <a:lumMod val="50000"/>
                              <a:lumOff val="50000"/>
                            </a:schemeClr>
                          </a:solidFill>
                          <a:effectLst/>
                          <a:latin typeface="Century Gothic Pro" panose="020B0502020202020204" pitchFamily="34" charset="0"/>
                        </a:rPr>
                        <a:t>  0.50</a:t>
                      </a:r>
                      <a:endParaRPr lang="en-US" sz="1400" dirty="0">
                        <a:solidFill>
                          <a:schemeClr val="tx1">
                            <a:lumMod val="50000"/>
                            <a:lumOff val="50000"/>
                          </a:schemeClr>
                        </a:solidFill>
                        <a:effectLst/>
                        <a:latin typeface="Century Gothic Pro" panose="020B0502020202020204" pitchFamily="34" charset="0"/>
                        <a:ea typeface="Times New Roman"/>
                        <a:cs typeface="Times New Roman"/>
                      </a:endParaRPr>
                    </a:p>
                  </a:txBody>
                  <a:tcPr marL="68580" marR="68580" marT="0" marB="0" anchor="ctr"/>
                </a:tc>
                <a:tc>
                  <a:txBody>
                    <a:bodyPr/>
                    <a:lstStyle/>
                    <a:p>
                      <a:pPr marL="0" marR="0" algn="r">
                        <a:spcBef>
                          <a:spcPts val="0"/>
                        </a:spcBef>
                        <a:spcAft>
                          <a:spcPts val="0"/>
                        </a:spcAft>
                        <a:tabLst>
                          <a:tab pos="4114800" algn="l"/>
                          <a:tab pos="5029200" algn="l"/>
                        </a:tabLst>
                      </a:pPr>
                      <a:r>
                        <a:rPr lang="en-GB" sz="1400" spc="0" dirty="0">
                          <a:solidFill>
                            <a:schemeClr val="tx1">
                              <a:lumMod val="50000"/>
                              <a:lumOff val="50000"/>
                            </a:schemeClr>
                          </a:solidFill>
                          <a:effectLst/>
                          <a:latin typeface="Century Gothic Pro" panose="020B0502020202020204" pitchFamily="34" charset="0"/>
                        </a:rPr>
                        <a:t>       Solvay</a:t>
                      </a:r>
                      <a:endParaRPr lang="en-US" sz="1400" b="1" spc="-20" dirty="0">
                        <a:solidFill>
                          <a:schemeClr val="tx1">
                            <a:lumMod val="50000"/>
                            <a:lumOff val="50000"/>
                          </a:schemeClr>
                        </a:solidFill>
                        <a:effectLst/>
                        <a:latin typeface="Century Gothic Pro" panose="020B0502020202020204" pitchFamily="34" charset="0"/>
                        <a:ea typeface="Times New Roman"/>
                        <a:cs typeface="Times New Roman"/>
                      </a:endParaRPr>
                    </a:p>
                  </a:txBody>
                  <a:tcPr marL="68580" marR="68580" marT="0" marB="0" anchor="ctr"/>
                </a:tc>
                <a:extLst>
                  <a:ext uri="{0D108BD9-81ED-4DB2-BD59-A6C34878D82A}">
                    <a16:rowId xmlns:a16="http://schemas.microsoft.com/office/drawing/2014/main" xmlns="" val="10002"/>
                  </a:ext>
                </a:extLst>
              </a:tr>
              <a:tr h="760701">
                <a:tc>
                  <a:txBody>
                    <a:bodyPr/>
                    <a:lstStyle/>
                    <a:p>
                      <a:pPr marL="0" marR="0" indent="0" algn="l" defTabSz="914400" rtl="0" eaLnBrk="1" fontAlgn="auto" latinLnBrk="0" hangingPunct="1">
                        <a:lnSpc>
                          <a:spcPct val="100000"/>
                        </a:lnSpc>
                        <a:spcBef>
                          <a:spcPts val="0"/>
                        </a:spcBef>
                        <a:spcAft>
                          <a:spcPts val="0"/>
                        </a:spcAft>
                        <a:buClrTx/>
                        <a:buSzTx/>
                        <a:buFontTx/>
                        <a:buNone/>
                        <a:tabLst>
                          <a:tab pos="4114800" algn="l"/>
                          <a:tab pos="5029200" algn="l"/>
                        </a:tabLst>
                        <a:defRPr/>
                      </a:pPr>
                      <a:r>
                        <a:rPr lang="de-DE" sz="1400" b="1" dirty="0">
                          <a:solidFill>
                            <a:schemeClr val="tx1">
                              <a:lumMod val="50000"/>
                              <a:lumOff val="50000"/>
                            </a:schemeClr>
                          </a:solidFill>
                          <a:latin typeface="Century Gothic Pro" panose="020B0502020202020204" pitchFamily="34" charset="0"/>
                        </a:rPr>
                        <a:t>Style</a:t>
                      </a:r>
                      <a:r>
                        <a:rPr lang="en-US" sz="1400" b="1" dirty="0">
                          <a:solidFill>
                            <a:schemeClr val="tx1">
                              <a:lumMod val="50000"/>
                              <a:lumOff val="50000"/>
                            </a:schemeClr>
                          </a:solidFill>
                          <a:latin typeface="Century Gothic Pro" panose="020B0502020202020204" pitchFamily="34" charset="0"/>
                        </a:rPr>
                        <a:t> </a:t>
                      </a:r>
                      <a:r>
                        <a:rPr lang="en-US" sz="1400" b="1" dirty="0" err="1">
                          <a:solidFill>
                            <a:schemeClr val="tx1">
                              <a:lumMod val="50000"/>
                              <a:lumOff val="50000"/>
                            </a:schemeClr>
                          </a:solidFill>
                          <a:latin typeface="Century Gothic Pro" panose="020B0502020202020204" pitchFamily="34" charset="0"/>
                        </a:rPr>
                        <a:t>Fusion</a:t>
                      </a:r>
                      <a:r>
                        <a:rPr lang="en-US" sz="1400" b="1" baseline="30000" dirty="0" err="1">
                          <a:solidFill>
                            <a:schemeClr val="tx1">
                              <a:lumMod val="50000"/>
                              <a:lumOff val="50000"/>
                            </a:schemeClr>
                          </a:solidFill>
                          <a:latin typeface="Century Gothic Pro" panose="020B0502020202020204" pitchFamily="34" charset="0"/>
                        </a:rPr>
                        <a:t>TM</a:t>
                      </a:r>
                      <a:r>
                        <a:rPr lang="en-US" sz="1400" b="1" baseline="30000" dirty="0">
                          <a:solidFill>
                            <a:schemeClr val="tx1">
                              <a:lumMod val="50000"/>
                              <a:lumOff val="50000"/>
                            </a:schemeClr>
                          </a:solidFill>
                          <a:latin typeface="Century Gothic Pro" panose="020B0502020202020204" pitchFamily="34" charset="0"/>
                        </a:rPr>
                        <a:t> </a:t>
                      </a:r>
                      <a:r>
                        <a:rPr lang="de-DE" sz="1400" b="1" kern="0" dirty="0">
                          <a:solidFill>
                            <a:schemeClr val="tx1">
                              <a:lumMod val="50000"/>
                              <a:lumOff val="50000"/>
                            </a:schemeClr>
                          </a:solidFill>
                          <a:latin typeface="Century Gothic Pro" panose="020B0502020202020204" pitchFamily="34" charset="0"/>
                          <a:ea typeface="+mn-ea"/>
                          <a:cs typeface="+mn-cs"/>
                        </a:rPr>
                        <a:t>complex </a:t>
                      </a:r>
                      <a:r>
                        <a:rPr kumimoji="0" lang="de-DE" sz="1400" b="1" i="0" u="none" strike="noStrike" kern="0" cap="none" spc="0" normalizeH="0" baseline="0" noProof="0" dirty="0">
                          <a:ln>
                            <a:noFill/>
                          </a:ln>
                          <a:solidFill>
                            <a:schemeClr val="tx1">
                              <a:lumMod val="50000"/>
                              <a:lumOff val="50000"/>
                            </a:schemeClr>
                          </a:solidFill>
                          <a:effectLst/>
                          <a:uLnTx/>
                          <a:uFillTx/>
                          <a:latin typeface="Century Gothic Pro" panose="020B0502020202020204" pitchFamily="34" charset="0"/>
                          <a:ea typeface="+mn-ea"/>
                          <a:cs typeface="+mn-cs"/>
                        </a:rPr>
                        <a:t>1:</a:t>
                      </a:r>
                    </a:p>
                    <a:p>
                      <a:pPr marL="0" marR="0" indent="0" algn="l" defTabSz="914400" rtl="0" eaLnBrk="1" fontAlgn="auto" latinLnBrk="0" hangingPunct="1">
                        <a:lnSpc>
                          <a:spcPct val="100000"/>
                        </a:lnSpc>
                        <a:spcBef>
                          <a:spcPts val="0"/>
                        </a:spcBef>
                        <a:spcAft>
                          <a:spcPts val="0"/>
                        </a:spcAft>
                        <a:buClrTx/>
                        <a:buSzTx/>
                        <a:buFontTx/>
                        <a:buNone/>
                        <a:tabLst>
                          <a:tab pos="4114800" algn="l"/>
                          <a:tab pos="5029200" algn="l"/>
                        </a:tabLst>
                        <a:defRPr/>
                      </a:pPr>
                      <a:r>
                        <a:rPr kumimoji="0" lang="en-US" sz="1400" b="1" i="0" u="none" strike="noStrike" kern="1200" cap="none" spc="0" normalizeH="0" baseline="0" noProof="0" dirty="0">
                          <a:ln>
                            <a:noFill/>
                          </a:ln>
                          <a:solidFill>
                            <a:schemeClr val="tx1">
                              <a:lumMod val="50000"/>
                              <a:lumOff val="50000"/>
                            </a:schemeClr>
                          </a:solidFill>
                          <a:effectLst/>
                          <a:uLnTx/>
                          <a:uFillTx/>
                          <a:latin typeface="Century Gothic Pro" panose="020B0502020202020204" pitchFamily="34" charset="0"/>
                          <a:ea typeface="+mn-ea"/>
                          <a:cs typeface="Times New Roman"/>
                        </a:rPr>
                        <a:t>Water (and) </a:t>
                      </a:r>
                      <a:r>
                        <a:rPr lang="en-US" sz="1400" b="1" dirty="0">
                          <a:solidFill>
                            <a:schemeClr val="tx1">
                              <a:lumMod val="50000"/>
                              <a:lumOff val="50000"/>
                            </a:schemeClr>
                          </a:solidFill>
                          <a:latin typeface="Century Gothic Pro" panose="020B0502020202020204" pitchFamily="34" charset="0"/>
                          <a:ea typeface="Calibri"/>
                          <a:cs typeface="Times New Roman"/>
                        </a:rPr>
                        <a:t>Polyquaternium-28 (and)  PVM/MA Copolymer</a:t>
                      </a:r>
                      <a:r>
                        <a:rPr lang="en-US" sz="1400" b="1" dirty="0">
                          <a:solidFill>
                            <a:schemeClr val="tx1">
                              <a:lumMod val="50000"/>
                              <a:lumOff val="50000"/>
                            </a:schemeClr>
                          </a:solidFill>
                          <a:latin typeface="Century Gothic Pro" panose="020B0502020202020204" pitchFamily="34" charset="0"/>
                        </a:rPr>
                        <a:t> </a:t>
                      </a:r>
                      <a:endParaRPr lang="en-US" sz="1400" b="1" u="sng" spc="-20" dirty="0">
                        <a:solidFill>
                          <a:schemeClr val="tx1">
                            <a:lumMod val="50000"/>
                            <a:lumOff val="50000"/>
                          </a:schemeClr>
                        </a:solidFill>
                        <a:effectLst/>
                        <a:latin typeface="Century Gothic Pro" panose="020B0502020202020204" pitchFamily="34" charset="0"/>
                        <a:cs typeface="Times New Roman"/>
                      </a:endParaRPr>
                    </a:p>
                  </a:txBody>
                  <a:tcPr marL="68580" marR="68580" marT="0" marB="0" anchor="ctr"/>
                </a:tc>
                <a:tc>
                  <a:txBody>
                    <a:bodyPr/>
                    <a:lstStyle/>
                    <a:p>
                      <a:pPr marL="0" marR="0" algn="ctr">
                        <a:spcBef>
                          <a:spcPts val="0"/>
                        </a:spcBef>
                        <a:spcAft>
                          <a:spcPts val="0"/>
                        </a:spcAft>
                        <a:tabLst>
                          <a:tab pos="4114800" algn="l"/>
                          <a:tab pos="5029200" algn="l"/>
                        </a:tabLst>
                      </a:pPr>
                      <a:r>
                        <a:rPr lang="en-US" sz="1400" b="1" dirty="0">
                          <a:solidFill>
                            <a:schemeClr val="tx1">
                              <a:lumMod val="50000"/>
                              <a:lumOff val="50000"/>
                            </a:schemeClr>
                          </a:solidFill>
                          <a:effectLst/>
                          <a:latin typeface="Century Gothic Pro" panose="020B0502020202020204" pitchFamily="34" charset="0"/>
                        </a:rPr>
                        <a:t>20.00</a:t>
                      </a:r>
                      <a:endParaRPr lang="en-US" sz="1400" b="1" dirty="0">
                        <a:solidFill>
                          <a:schemeClr val="tx1">
                            <a:lumMod val="50000"/>
                            <a:lumOff val="50000"/>
                          </a:schemeClr>
                        </a:solidFill>
                        <a:effectLst/>
                        <a:latin typeface="Century Gothic Pro" panose="020B0502020202020204" pitchFamily="34" charset="0"/>
                        <a:ea typeface="Times New Roman"/>
                        <a:cs typeface="Times New Roman"/>
                      </a:endParaRPr>
                    </a:p>
                  </a:txBody>
                  <a:tcPr marL="68580" marR="68580" marT="0" marB="0" anchor="ctr"/>
                </a:tc>
                <a:tc>
                  <a:txBody>
                    <a:bodyPr/>
                    <a:lstStyle/>
                    <a:p>
                      <a:pPr marL="0" marR="0" algn="r">
                        <a:spcBef>
                          <a:spcPts val="0"/>
                        </a:spcBef>
                        <a:spcAft>
                          <a:spcPts val="0"/>
                        </a:spcAft>
                        <a:tabLst>
                          <a:tab pos="4114800" algn="l"/>
                          <a:tab pos="5029200" algn="l"/>
                        </a:tabLst>
                      </a:pPr>
                      <a:r>
                        <a:rPr lang="en-GB" sz="1400" b="1" spc="0" dirty="0">
                          <a:solidFill>
                            <a:schemeClr val="tx1">
                              <a:lumMod val="50000"/>
                              <a:lumOff val="50000"/>
                            </a:schemeClr>
                          </a:solidFill>
                          <a:effectLst/>
                          <a:latin typeface="Century Gothic Pro" panose="020B0502020202020204" pitchFamily="34" charset="0"/>
                        </a:rPr>
                        <a:t>Ashland</a:t>
                      </a:r>
                      <a:endParaRPr lang="en-US" sz="1400" b="1" spc="-20" dirty="0">
                        <a:solidFill>
                          <a:schemeClr val="tx1">
                            <a:lumMod val="50000"/>
                            <a:lumOff val="50000"/>
                          </a:schemeClr>
                        </a:solidFill>
                        <a:effectLst/>
                        <a:latin typeface="Century Gothic Pro" panose="020B0502020202020204" pitchFamily="34" charset="0"/>
                        <a:ea typeface="Times New Roman"/>
                        <a:cs typeface="Times New Roman"/>
                      </a:endParaRPr>
                    </a:p>
                  </a:txBody>
                  <a:tcPr marL="68580" marR="68580" marT="0" marB="0" anchor="ctr"/>
                </a:tc>
                <a:extLst>
                  <a:ext uri="{0D108BD9-81ED-4DB2-BD59-A6C34878D82A}">
                    <a16:rowId xmlns:a16="http://schemas.microsoft.com/office/drawing/2014/main" xmlns="" val="10003"/>
                  </a:ext>
                </a:extLst>
              </a:tr>
              <a:tr h="760701">
                <a:tc>
                  <a:txBody>
                    <a:bodyPr/>
                    <a:lstStyle/>
                    <a:p>
                      <a:pPr marL="0" marR="0">
                        <a:spcBef>
                          <a:spcPts val="0"/>
                        </a:spcBef>
                        <a:spcAft>
                          <a:spcPts val="0"/>
                        </a:spcAft>
                        <a:tabLst>
                          <a:tab pos="4114800" algn="l"/>
                          <a:tab pos="5029200" algn="l"/>
                        </a:tabLst>
                      </a:pPr>
                      <a:r>
                        <a:rPr lang="en-GB" sz="1400" b="1" dirty="0">
                          <a:solidFill>
                            <a:schemeClr val="tx1">
                              <a:lumMod val="50000"/>
                              <a:lumOff val="50000"/>
                            </a:schemeClr>
                          </a:solidFill>
                          <a:effectLst/>
                          <a:latin typeface="Century Gothic Pro" panose="020B0502020202020204" pitchFamily="34" charset="0"/>
                        </a:rPr>
                        <a:t>Propylene Glycol (and) </a:t>
                      </a:r>
                      <a:r>
                        <a:rPr lang="en-GB" sz="1400" b="1" dirty="0" err="1">
                          <a:solidFill>
                            <a:schemeClr val="tx1">
                              <a:lumMod val="50000"/>
                              <a:lumOff val="50000"/>
                            </a:schemeClr>
                          </a:solidFill>
                          <a:effectLst/>
                          <a:latin typeface="Century Gothic Pro" panose="020B0502020202020204" pitchFamily="34" charset="0"/>
                        </a:rPr>
                        <a:t>Diazolidinyl</a:t>
                      </a:r>
                      <a:r>
                        <a:rPr lang="en-GB" sz="1400" b="1" dirty="0">
                          <a:solidFill>
                            <a:schemeClr val="tx1">
                              <a:lumMod val="50000"/>
                              <a:lumOff val="50000"/>
                            </a:schemeClr>
                          </a:solidFill>
                          <a:effectLst/>
                          <a:latin typeface="Century Gothic Pro" panose="020B0502020202020204" pitchFamily="34" charset="0"/>
                        </a:rPr>
                        <a:t> Urea (and) </a:t>
                      </a:r>
                      <a:r>
                        <a:rPr lang="en-GB" sz="1400" b="1" dirty="0" err="1">
                          <a:solidFill>
                            <a:schemeClr val="tx1">
                              <a:lumMod val="50000"/>
                              <a:lumOff val="50000"/>
                            </a:schemeClr>
                          </a:solidFill>
                          <a:effectLst/>
                          <a:latin typeface="Century Gothic Pro" panose="020B0502020202020204" pitchFamily="34" charset="0"/>
                        </a:rPr>
                        <a:t>Iodopropynyl</a:t>
                      </a:r>
                      <a:r>
                        <a:rPr lang="en-GB" sz="1400" b="1" dirty="0">
                          <a:solidFill>
                            <a:schemeClr val="tx1">
                              <a:lumMod val="50000"/>
                              <a:lumOff val="50000"/>
                            </a:schemeClr>
                          </a:solidFill>
                          <a:effectLst/>
                          <a:latin typeface="Century Gothic Pro" panose="020B0502020202020204" pitchFamily="34" charset="0"/>
                        </a:rPr>
                        <a:t> </a:t>
                      </a:r>
                      <a:r>
                        <a:rPr lang="en-GB" sz="1400" b="1" dirty="0" err="1">
                          <a:solidFill>
                            <a:schemeClr val="tx1">
                              <a:lumMod val="50000"/>
                              <a:lumOff val="50000"/>
                            </a:schemeClr>
                          </a:solidFill>
                          <a:effectLst/>
                          <a:latin typeface="Century Gothic Pro" panose="020B0502020202020204" pitchFamily="34" charset="0"/>
                        </a:rPr>
                        <a:t>Butylcarbamate</a:t>
                      </a:r>
                      <a:r>
                        <a:rPr lang="en-GB" sz="1400" b="1" dirty="0">
                          <a:solidFill>
                            <a:schemeClr val="tx1">
                              <a:lumMod val="50000"/>
                              <a:lumOff val="50000"/>
                            </a:schemeClr>
                          </a:solidFill>
                          <a:effectLst/>
                          <a:latin typeface="Century Gothic Pro" panose="020B0502020202020204" pitchFamily="34" charset="0"/>
                        </a:rPr>
                        <a:t> (Liquid </a:t>
                      </a:r>
                      <a:r>
                        <a:rPr lang="en-GB" sz="1400" b="1" dirty="0" err="1">
                          <a:solidFill>
                            <a:schemeClr val="tx1">
                              <a:lumMod val="50000"/>
                              <a:lumOff val="50000"/>
                            </a:schemeClr>
                          </a:solidFill>
                          <a:effectLst/>
                          <a:latin typeface="Century Gothic Pro" panose="020B0502020202020204" pitchFamily="34" charset="0"/>
                        </a:rPr>
                        <a:t>Germall</a:t>
                      </a:r>
                      <a:r>
                        <a:rPr lang="en-GB" sz="1400" b="1" baseline="30000" dirty="0">
                          <a:solidFill>
                            <a:schemeClr val="tx1">
                              <a:lumMod val="50000"/>
                              <a:lumOff val="50000"/>
                            </a:schemeClr>
                          </a:solidFill>
                          <a:effectLst/>
                          <a:latin typeface="Century Gothic Pro" panose="020B0502020202020204" pitchFamily="34" charset="0"/>
                        </a:rPr>
                        <a:t>®</a:t>
                      </a:r>
                      <a:r>
                        <a:rPr lang="en-GB" sz="1400" b="1" dirty="0">
                          <a:solidFill>
                            <a:schemeClr val="tx1">
                              <a:lumMod val="50000"/>
                              <a:lumOff val="50000"/>
                            </a:schemeClr>
                          </a:solidFill>
                          <a:effectLst/>
                          <a:latin typeface="Century Gothic Pro" panose="020B0502020202020204" pitchFamily="34" charset="0"/>
                        </a:rPr>
                        <a:t> Plus)</a:t>
                      </a:r>
                      <a:endParaRPr lang="en-US" sz="1400" b="1" dirty="0">
                        <a:solidFill>
                          <a:schemeClr val="tx1">
                            <a:lumMod val="50000"/>
                            <a:lumOff val="50000"/>
                          </a:schemeClr>
                        </a:solidFill>
                        <a:effectLst/>
                        <a:latin typeface="Century Gothic Pro" panose="020B0502020202020204" pitchFamily="34" charset="0"/>
                        <a:ea typeface="Times New Roman"/>
                        <a:cs typeface="Times New Roman"/>
                      </a:endParaRPr>
                    </a:p>
                  </a:txBody>
                  <a:tcPr marL="68580" marR="68580" marT="0" marB="0" anchor="ctr"/>
                </a:tc>
                <a:tc>
                  <a:txBody>
                    <a:bodyPr/>
                    <a:lstStyle/>
                    <a:p>
                      <a:pPr marL="0" marR="0" algn="ctr">
                        <a:spcBef>
                          <a:spcPts val="0"/>
                        </a:spcBef>
                        <a:spcAft>
                          <a:spcPts val="0"/>
                        </a:spcAft>
                        <a:tabLst>
                          <a:tab pos="4114800" algn="l"/>
                          <a:tab pos="5029200" algn="l"/>
                        </a:tabLst>
                      </a:pPr>
                      <a:r>
                        <a:rPr lang="en-GB" sz="1400" b="1" dirty="0">
                          <a:solidFill>
                            <a:schemeClr val="tx1">
                              <a:lumMod val="50000"/>
                              <a:lumOff val="50000"/>
                            </a:schemeClr>
                          </a:solidFill>
                          <a:effectLst/>
                          <a:latin typeface="Century Gothic Pro" panose="020B0502020202020204" pitchFamily="34" charset="0"/>
                        </a:rPr>
                        <a:t> </a:t>
                      </a:r>
                      <a:endParaRPr lang="en-US" sz="1400" b="1" dirty="0">
                        <a:solidFill>
                          <a:schemeClr val="tx1">
                            <a:lumMod val="50000"/>
                            <a:lumOff val="50000"/>
                          </a:schemeClr>
                        </a:solidFill>
                        <a:effectLst/>
                        <a:latin typeface="Century Gothic Pro" panose="020B0502020202020204" pitchFamily="34" charset="0"/>
                      </a:endParaRPr>
                    </a:p>
                    <a:p>
                      <a:pPr marL="0" marR="0" algn="ctr">
                        <a:spcBef>
                          <a:spcPts val="0"/>
                        </a:spcBef>
                        <a:spcAft>
                          <a:spcPts val="0"/>
                        </a:spcAft>
                        <a:tabLst>
                          <a:tab pos="4114800" algn="l"/>
                          <a:tab pos="5029200" algn="l"/>
                        </a:tabLst>
                      </a:pPr>
                      <a:r>
                        <a:rPr lang="en-GB" sz="1400" b="1" dirty="0">
                          <a:solidFill>
                            <a:schemeClr val="tx1">
                              <a:lumMod val="50000"/>
                              <a:lumOff val="50000"/>
                            </a:schemeClr>
                          </a:solidFill>
                          <a:effectLst/>
                          <a:latin typeface="Century Gothic Pro" panose="020B0502020202020204" pitchFamily="34" charset="0"/>
                        </a:rPr>
                        <a:t> 0.50</a:t>
                      </a:r>
                      <a:endParaRPr lang="en-US" sz="1400" b="1" dirty="0">
                        <a:solidFill>
                          <a:schemeClr val="tx1">
                            <a:lumMod val="50000"/>
                            <a:lumOff val="50000"/>
                          </a:schemeClr>
                        </a:solidFill>
                        <a:effectLst/>
                        <a:latin typeface="Century Gothic Pro" panose="020B0502020202020204" pitchFamily="34" charset="0"/>
                        <a:ea typeface="Times New Roman"/>
                        <a:cs typeface="Times New Roman"/>
                      </a:endParaRPr>
                    </a:p>
                  </a:txBody>
                  <a:tcPr marL="68580" marR="68580" marT="0" marB="0" anchor="ctr"/>
                </a:tc>
                <a:tc>
                  <a:txBody>
                    <a:bodyPr/>
                    <a:lstStyle/>
                    <a:p>
                      <a:pPr marL="0" marR="0" algn="r">
                        <a:spcBef>
                          <a:spcPts val="0"/>
                        </a:spcBef>
                        <a:spcAft>
                          <a:spcPts val="0"/>
                        </a:spcAft>
                        <a:tabLst>
                          <a:tab pos="4114800" algn="l"/>
                          <a:tab pos="5029200" algn="l"/>
                        </a:tabLst>
                      </a:pPr>
                      <a:r>
                        <a:rPr lang="en-GB" sz="1400" b="1" dirty="0">
                          <a:solidFill>
                            <a:schemeClr val="tx1">
                              <a:lumMod val="50000"/>
                              <a:lumOff val="50000"/>
                            </a:schemeClr>
                          </a:solidFill>
                          <a:effectLst/>
                          <a:latin typeface="Century Gothic Pro" panose="020B0502020202020204" pitchFamily="34" charset="0"/>
                        </a:rPr>
                        <a:t> </a:t>
                      </a:r>
                      <a:endParaRPr lang="en-US" sz="1400" b="1" dirty="0">
                        <a:solidFill>
                          <a:schemeClr val="tx1">
                            <a:lumMod val="50000"/>
                            <a:lumOff val="50000"/>
                          </a:schemeClr>
                        </a:solidFill>
                        <a:effectLst/>
                        <a:latin typeface="Century Gothic Pro" panose="020B0502020202020204" pitchFamily="34" charset="0"/>
                      </a:endParaRPr>
                    </a:p>
                    <a:p>
                      <a:pPr marL="0" marR="0" algn="r">
                        <a:spcBef>
                          <a:spcPts val="0"/>
                        </a:spcBef>
                        <a:spcAft>
                          <a:spcPts val="0"/>
                        </a:spcAft>
                        <a:tabLst>
                          <a:tab pos="4114800" algn="l"/>
                          <a:tab pos="5029200" algn="l"/>
                          <a:tab pos="290195" algn="l"/>
                          <a:tab pos="4114800" algn="l"/>
                          <a:tab pos="5029200" algn="l"/>
                        </a:tabLst>
                      </a:pPr>
                      <a:r>
                        <a:rPr lang="en-US" sz="1400" b="1" spc="-20" dirty="0">
                          <a:solidFill>
                            <a:schemeClr val="tx1">
                              <a:lumMod val="50000"/>
                              <a:lumOff val="50000"/>
                            </a:schemeClr>
                          </a:solidFill>
                          <a:effectLst/>
                          <a:latin typeface="Century Gothic Pro" panose="020B0502020202020204" pitchFamily="34" charset="0"/>
                        </a:rPr>
                        <a:t>Ashland</a:t>
                      </a:r>
                      <a:endParaRPr lang="en-US" sz="1400" b="1" spc="-20" dirty="0">
                        <a:solidFill>
                          <a:schemeClr val="tx1">
                            <a:lumMod val="50000"/>
                            <a:lumOff val="50000"/>
                          </a:schemeClr>
                        </a:solidFill>
                        <a:effectLst/>
                        <a:latin typeface="Century Gothic Pro" panose="020B0502020202020204" pitchFamily="34" charset="0"/>
                        <a:ea typeface="Times New Roman"/>
                        <a:cs typeface="Times New Roman"/>
                      </a:endParaRPr>
                    </a:p>
                  </a:txBody>
                  <a:tcPr marL="68580" marR="68580" marT="0" marB="0" anchor="ctr"/>
                </a:tc>
                <a:extLst>
                  <a:ext uri="{0D108BD9-81ED-4DB2-BD59-A6C34878D82A}">
                    <a16:rowId xmlns:a16="http://schemas.microsoft.com/office/drawing/2014/main" xmlns="" val="10004"/>
                  </a:ext>
                </a:extLst>
              </a:tr>
              <a:tr h="507134">
                <a:tc>
                  <a:txBody>
                    <a:bodyPr/>
                    <a:lstStyle/>
                    <a:p>
                      <a:pPr marL="0" marR="0">
                        <a:spcBef>
                          <a:spcPts val="0"/>
                        </a:spcBef>
                        <a:spcAft>
                          <a:spcPts val="0"/>
                        </a:spcAft>
                        <a:tabLst>
                          <a:tab pos="4114800" algn="l"/>
                          <a:tab pos="5029200" algn="l"/>
                        </a:tabLst>
                      </a:pPr>
                      <a:endParaRPr lang="en-US" sz="1400" b="1" u="sng" spc="-20" dirty="0">
                        <a:solidFill>
                          <a:schemeClr val="bg1"/>
                        </a:solidFill>
                        <a:effectLst/>
                        <a:latin typeface="Century Gothic Pro" panose="020B0502020202020204" pitchFamily="34" charset="0"/>
                        <a:cs typeface="Times New Roman"/>
                      </a:endParaRPr>
                    </a:p>
                  </a:txBody>
                  <a:tcPr marL="68580" marR="68580" marT="0" marB="0">
                    <a:solidFill>
                      <a:schemeClr val="accent3"/>
                    </a:solidFill>
                  </a:tcPr>
                </a:tc>
                <a:tc>
                  <a:txBody>
                    <a:bodyPr/>
                    <a:lstStyle/>
                    <a:p>
                      <a:pPr marL="0" marR="0" algn="ctr">
                        <a:spcBef>
                          <a:spcPts val="0"/>
                        </a:spcBef>
                        <a:spcAft>
                          <a:spcPts val="0"/>
                        </a:spcAft>
                        <a:tabLst>
                          <a:tab pos="4114800" algn="l"/>
                          <a:tab pos="5029200" algn="l"/>
                        </a:tabLst>
                      </a:pPr>
                      <a:r>
                        <a:rPr lang="en-US" sz="1400" dirty="0">
                          <a:solidFill>
                            <a:schemeClr val="bg1"/>
                          </a:solidFill>
                          <a:effectLst/>
                          <a:latin typeface="Century Gothic Pro" panose="020B0502020202020204" pitchFamily="34" charset="0"/>
                          <a:ea typeface="Times New Roman"/>
                          <a:cs typeface="Times New Roman"/>
                        </a:rPr>
                        <a:t>100.00</a:t>
                      </a:r>
                    </a:p>
                  </a:txBody>
                  <a:tcPr marL="68580" marR="68580" marT="0" marB="0">
                    <a:solidFill>
                      <a:schemeClr val="accent3"/>
                    </a:solidFill>
                  </a:tcPr>
                </a:tc>
                <a:tc>
                  <a:txBody>
                    <a:bodyPr/>
                    <a:lstStyle/>
                    <a:p>
                      <a:pPr marL="0" marR="0" algn="r">
                        <a:spcBef>
                          <a:spcPts val="0"/>
                        </a:spcBef>
                        <a:spcAft>
                          <a:spcPts val="0"/>
                        </a:spcAft>
                        <a:tabLst>
                          <a:tab pos="4114800" algn="l"/>
                          <a:tab pos="5029200" algn="l"/>
                        </a:tabLst>
                      </a:pPr>
                      <a:endParaRPr lang="en-US" sz="1400" dirty="0">
                        <a:solidFill>
                          <a:schemeClr val="bg1"/>
                        </a:solidFill>
                        <a:effectLst/>
                        <a:latin typeface="Century Gothic Pro" panose="020B0502020202020204" pitchFamily="34" charset="0"/>
                        <a:ea typeface="Times New Roman"/>
                        <a:cs typeface="Times New Roman"/>
                      </a:endParaRPr>
                    </a:p>
                  </a:txBody>
                  <a:tcPr marL="68580" marR="68580" marT="0" marB="0">
                    <a:solidFill>
                      <a:schemeClr val="accent3"/>
                    </a:solidFill>
                  </a:tcPr>
                </a:tc>
                <a:extLst>
                  <a:ext uri="{0D108BD9-81ED-4DB2-BD59-A6C34878D82A}">
                    <a16:rowId xmlns:a16="http://schemas.microsoft.com/office/drawing/2014/main" xmlns="" val="10006"/>
                  </a:ext>
                </a:extLst>
              </a:tr>
            </a:tbl>
          </a:graphicData>
        </a:graphic>
      </p:graphicFrame>
      <p:graphicFrame>
        <p:nvGraphicFramePr>
          <p:cNvPr id="5" name="Object 4"/>
          <p:cNvGraphicFramePr>
            <a:graphicFrameLocks noChangeAspect="1"/>
          </p:cNvGraphicFramePr>
          <p:nvPr>
            <p:extLst>
              <p:ext uri="{D42A27DB-BD31-4B8C-83A1-F6EECF244321}">
                <p14:modId xmlns:p14="http://schemas.microsoft.com/office/powerpoint/2010/main" val="173735651"/>
              </p:ext>
            </p:extLst>
          </p:nvPr>
        </p:nvGraphicFramePr>
        <p:xfrm>
          <a:off x="5999163" y="1263318"/>
          <a:ext cx="3933825" cy="3760787"/>
        </p:xfrm>
        <a:graphic>
          <a:graphicData uri="http://schemas.openxmlformats.org/presentationml/2006/ole">
            <mc:AlternateContent xmlns:mc="http://schemas.openxmlformats.org/markup-compatibility/2006">
              <mc:Choice xmlns:v="urn:schemas-microsoft-com:vml" Requires="v">
                <p:oleObj spid="_x0000_s3086" name="Worksheet" r:id="rId3" imgW="5781594" imgH="4514909" progId="Excel.Sheet.8">
                  <p:embed/>
                </p:oleObj>
              </mc:Choice>
              <mc:Fallback>
                <p:oleObj name="Worksheet" r:id="rId3" imgW="5781594" imgH="4514909" progId="Excel.Sheet.8">
                  <p:embed/>
                  <p:pic>
                    <p:nvPicPr>
                      <p:cNvPr id="5" name="Object 4"/>
                      <p:cNvPicPr>
                        <a:picLocks noChangeAspect="1" noChangeArrowheads="1"/>
                      </p:cNvPicPr>
                      <p:nvPr/>
                    </p:nvPicPr>
                    <p:blipFill>
                      <a:blip r:embed="rId4"/>
                      <a:srcRect/>
                      <a:stretch>
                        <a:fillRect/>
                      </a:stretch>
                    </p:blipFill>
                    <p:spPr bwMode="auto">
                      <a:xfrm>
                        <a:off x="5999163" y="1263318"/>
                        <a:ext cx="3933825" cy="3760787"/>
                      </a:xfrm>
                      <a:prstGeom prst="rect">
                        <a:avLst/>
                      </a:prstGeom>
                      <a:noFill/>
                      <a:extLst/>
                    </p:spPr>
                  </p:pic>
                </p:oleObj>
              </mc:Fallback>
            </mc:AlternateContent>
          </a:graphicData>
        </a:graphic>
      </p:graphicFrame>
      <p:sp>
        <p:nvSpPr>
          <p:cNvPr id="6" name="TextBox 5"/>
          <p:cNvSpPr txBox="1"/>
          <p:nvPr/>
        </p:nvSpPr>
        <p:spPr>
          <a:xfrm>
            <a:off x="5618018" y="5024105"/>
            <a:ext cx="4572000" cy="738664"/>
          </a:xfrm>
          <a:prstGeom prst="rect">
            <a:avLst/>
          </a:prstGeom>
          <a:noFill/>
        </p:spPr>
        <p:txBody>
          <a:bodyPr wrap="square" rtlCol="0">
            <a:spAutoFit/>
          </a:bodyPr>
          <a:lstStyle/>
          <a:p>
            <a:pPr algn="ctr"/>
            <a:r>
              <a:rPr lang="ru-RU" sz="1400" dirty="0">
                <a:latin typeface="Century Gothic" panose="020B0502020202020204" pitchFamily="34" charset="0"/>
              </a:rPr>
              <a:t>Эффективность восстановления секузщихся кончиков зависит от молярного соотношения полимерных реакционных групп</a:t>
            </a:r>
            <a:endParaRPr lang="en-US" sz="1400" dirty="0">
              <a:latin typeface="Century Gothic" panose="020B0502020202020204" pitchFamily="34" charset="0"/>
            </a:endParaRPr>
          </a:p>
        </p:txBody>
      </p:sp>
      <p:sp>
        <p:nvSpPr>
          <p:cNvPr id="7" name="Rectangle 6"/>
          <p:cNvSpPr/>
          <p:nvPr/>
        </p:nvSpPr>
        <p:spPr>
          <a:xfrm>
            <a:off x="8437419" y="0"/>
            <a:ext cx="1620982" cy="3463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Century Gothic Pro" panose="020B0502020202020204" pitchFamily="34" charset="0"/>
              </a:rPr>
              <a:t>Style </a:t>
            </a:r>
            <a:r>
              <a:rPr lang="en-US" sz="1100" dirty="0" err="1">
                <a:latin typeface="Century Gothic Pro" panose="020B0502020202020204" pitchFamily="34" charset="0"/>
              </a:rPr>
              <a:t>Fusion</a:t>
            </a:r>
            <a:r>
              <a:rPr lang="en-US" sz="1100" baseline="30000" dirty="0" err="1">
                <a:latin typeface="Century Gothic Pro" panose="020B0502020202020204" pitchFamily="34" charset="0"/>
              </a:rPr>
              <a:t>TM</a:t>
            </a:r>
            <a:r>
              <a:rPr lang="en-US" sz="1100" dirty="0">
                <a:latin typeface="Century Gothic Pro" panose="020B0502020202020204" pitchFamily="34" charset="0"/>
              </a:rPr>
              <a:t> complex 1</a:t>
            </a:r>
          </a:p>
        </p:txBody>
      </p:sp>
      <p:sp>
        <p:nvSpPr>
          <p:cNvPr id="9" name="Rectangle 8"/>
          <p:cNvSpPr/>
          <p:nvPr/>
        </p:nvSpPr>
        <p:spPr>
          <a:xfrm>
            <a:off x="0" y="5937851"/>
            <a:ext cx="7489371" cy="71465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0325" algn="ctr"/>
            <a:r>
              <a:rPr lang="ru-RU" b="1" dirty="0">
                <a:solidFill>
                  <a:schemeClr val="bg1"/>
                </a:solidFill>
              </a:rPr>
              <a:t>Эффект восстановления </a:t>
            </a:r>
            <a:r>
              <a:rPr lang="en-US" b="1" dirty="0">
                <a:solidFill>
                  <a:schemeClr val="bg1"/>
                </a:solidFill>
              </a:rPr>
              <a:t>92% </a:t>
            </a:r>
            <a:r>
              <a:rPr lang="ru-RU" b="1" dirty="0">
                <a:solidFill>
                  <a:schemeClr val="bg1"/>
                </a:solidFill>
              </a:rPr>
              <a:t>секущихся кончиков  при нанесении </a:t>
            </a:r>
            <a:r>
              <a:rPr lang="en-US" b="1" dirty="0">
                <a:solidFill>
                  <a:schemeClr val="bg1"/>
                </a:solidFill>
              </a:rPr>
              <a:t> Style </a:t>
            </a:r>
            <a:r>
              <a:rPr lang="en-US" b="1" dirty="0" err="1">
                <a:solidFill>
                  <a:schemeClr val="bg1"/>
                </a:solidFill>
              </a:rPr>
              <a:t>Fusion</a:t>
            </a:r>
            <a:r>
              <a:rPr lang="en-US" b="1" baseline="30000" dirty="0" err="1">
                <a:solidFill>
                  <a:schemeClr val="bg1"/>
                </a:solidFill>
              </a:rPr>
              <a:t>TM</a:t>
            </a:r>
            <a:r>
              <a:rPr lang="en-US" b="1" dirty="0">
                <a:solidFill>
                  <a:schemeClr val="bg1"/>
                </a:solidFill>
              </a:rPr>
              <a:t> complex 1</a:t>
            </a:r>
          </a:p>
        </p:txBody>
      </p:sp>
    </p:spTree>
    <p:extLst>
      <p:ext uri="{BB962C8B-B14F-4D97-AF65-F5344CB8AC3E}">
        <p14:creationId xmlns:p14="http://schemas.microsoft.com/office/powerpoint/2010/main" val="6532097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Title 1"/>
          <p:cNvSpPr>
            <a:spLocks noGrp="1"/>
          </p:cNvSpPr>
          <p:nvPr>
            <p:ph type="title"/>
          </p:nvPr>
        </p:nvSpPr>
        <p:spPr>
          <a:xfrm>
            <a:off x="989014" y="152400"/>
            <a:ext cx="8154987" cy="762000"/>
          </a:xfrm>
        </p:spPr>
        <p:txBody>
          <a:bodyPr/>
          <a:lstStyle/>
          <a:p>
            <a:r>
              <a:rPr lang="en-US" sz="2800" dirty="0">
                <a:latin typeface="Century Gothic Pro" panose="020B0502020202020204" pitchFamily="34" charset="0"/>
              </a:rPr>
              <a:t>Disclaimer</a:t>
            </a:r>
          </a:p>
        </p:txBody>
      </p:sp>
      <p:sp>
        <p:nvSpPr>
          <p:cNvPr id="22530" name="Content Placeholder 2"/>
          <p:cNvSpPr txBox="1">
            <a:spLocks/>
          </p:cNvSpPr>
          <p:nvPr/>
        </p:nvSpPr>
        <p:spPr bwMode="auto">
          <a:xfrm>
            <a:off x="996950" y="1470990"/>
            <a:ext cx="7918450" cy="4244009"/>
          </a:xfrm>
          <a:prstGeom prst="rect">
            <a:avLst/>
          </a:prstGeom>
          <a:noFill/>
          <a:ln w="9525">
            <a:noFill/>
            <a:miter lim="800000"/>
            <a:headEnd/>
            <a:tailEnd/>
          </a:ln>
        </p:spPr>
        <p:txBody>
          <a:bodyPr/>
          <a:lstStyle/>
          <a:p>
            <a:pPr>
              <a:spcBef>
                <a:spcPct val="30000"/>
              </a:spcBef>
              <a:buClr>
                <a:srgbClr val="000000"/>
              </a:buClr>
              <a:buSzPct val="100000"/>
            </a:pPr>
            <a:r>
              <a:rPr lang="en-US" sz="1100" dirty="0"/>
              <a:t>The information contained in this presentation and the various products described are intended for use only by persons having technical skill and at their own discretion and risk after they have performed necessary technical investigations, tests and evaluations of the products and their uses. This material is for informational purposes only and describes the scientific support for the use of the products described herein as an ingredient in cosmetic products intended to enhance appearance and other cosmetic benefits or to enhance performance of an end product. Certain end uses of these products may be regulated pursuant to rules governing medical devices or other regulations governing drug uses.  It is the purchaser</a:t>
            </a:r>
            <a:r>
              <a:rPr lang="ja-JP" altLang="en-US" sz="1100" dirty="0"/>
              <a:t>’</a:t>
            </a:r>
            <a:r>
              <a:rPr lang="en-US" altLang="ja-JP" sz="1100" dirty="0"/>
              <a:t>s responsibility to determine the applicability of such regulations to its products.  While the information herein is believed to be reliable, we do not guarantee its accuracy and a purchaser must make its own determination of a product</a:t>
            </a:r>
            <a:r>
              <a:rPr lang="ja-JP" altLang="en-US" sz="1100" dirty="0"/>
              <a:t>’</a:t>
            </a:r>
            <a:r>
              <a:rPr lang="en-US" altLang="ja-JP" sz="1100" dirty="0"/>
              <a:t>s suitability for purchaser</a:t>
            </a:r>
            <a:r>
              <a:rPr lang="ja-JP" altLang="en-US" sz="1100" dirty="0"/>
              <a:t>’</a:t>
            </a:r>
            <a:r>
              <a:rPr lang="en-US" altLang="ja-JP" sz="1100" dirty="0"/>
              <a:t>s use, for the protection of the environment, and for the health and safety of its employees and the purchasers of its products. </a:t>
            </a:r>
          </a:p>
          <a:p>
            <a:pPr>
              <a:spcBef>
                <a:spcPct val="30000"/>
              </a:spcBef>
              <a:buClr>
                <a:srgbClr val="000000"/>
              </a:buClr>
              <a:buSzPct val="100000"/>
            </a:pPr>
            <a:r>
              <a:rPr lang="en-US" sz="1100" dirty="0"/>
              <a:t/>
            </a:r>
            <a:br>
              <a:rPr lang="en-US" sz="1100" dirty="0"/>
            </a:br>
            <a:r>
              <a:rPr lang="en-US" sz="1100" dirty="0"/>
              <a:t>Neither Ashland nor its affiliates shall be responsible for the use of this information, or of any product, method, formulation, or apparatus described in this brochure. Nothing herein waives any of Ashland</a:t>
            </a:r>
            <a:r>
              <a:rPr lang="ja-JP" altLang="en-US" sz="1100" dirty="0"/>
              <a:t>’</a:t>
            </a:r>
            <a:r>
              <a:rPr lang="en-US" altLang="ja-JP" sz="1100" dirty="0"/>
              <a:t>s or its affiliates</a:t>
            </a:r>
            <a:r>
              <a:rPr lang="ja-JP" altLang="en-US" sz="1100" dirty="0"/>
              <a:t>’</a:t>
            </a:r>
            <a:r>
              <a:rPr lang="en-US" altLang="ja-JP" sz="1100" dirty="0"/>
              <a:t> conditions of sale, and no statement, information and data is to be taken as a guarantee, an express warranty, or an implied warranty of merchantability or fitness for a particular purpose, or representation, express or implied, for which Ashland and its affiliates assume legal responsibility. We also make no warranty against infringement of any patents by reason of purchaser</a:t>
            </a:r>
            <a:r>
              <a:rPr lang="ja-JP" altLang="en-US" sz="1100" dirty="0"/>
              <a:t>’</a:t>
            </a:r>
            <a:r>
              <a:rPr lang="en-US" altLang="ja-JP" sz="1100" dirty="0"/>
              <a:t>s use of any information, product, method or apparatus described in this presentation. </a:t>
            </a:r>
            <a:br>
              <a:rPr lang="en-US" altLang="ja-JP" sz="1100" dirty="0"/>
            </a:br>
            <a:r>
              <a:rPr lang="en-US" altLang="ja-JP" sz="1100" dirty="0"/>
              <a:t/>
            </a:r>
            <a:br>
              <a:rPr lang="en-US" altLang="ja-JP" sz="1100" dirty="0"/>
            </a:br>
            <a:r>
              <a:rPr lang="en-US" altLang="ja-JP" sz="1100" dirty="0"/>
              <a:t/>
            </a:r>
            <a:br>
              <a:rPr lang="en-US" altLang="ja-JP" sz="1100" dirty="0"/>
            </a:br>
            <a:r>
              <a:rPr lang="en-US" altLang="ja-JP" sz="1100" dirty="0"/>
              <a:t>The testing information (the </a:t>
            </a:r>
            <a:r>
              <a:rPr lang="ja-JP" altLang="en-US" sz="1100" dirty="0"/>
              <a:t>“</a:t>
            </a:r>
            <a:r>
              <a:rPr lang="en-US" altLang="ja-JP" sz="1100" dirty="0"/>
              <a:t>Testing Information</a:t>
            </a:r>
            <a:r>
              <a:rPr lang="ja-JP" altLang="en-US" sz="1100" dirty="0"/>
              <a:t>”</a:t>
            </a:r>
            <a:r>
              <a:rPr lang="en-US" altLang="ja-JP" sz="1100" dirty="0"/>
              <a:t>) has been gratuitously provided by Ashland.  The Testing Information is based on many factors beyond Ashland</a:t>
            </a:r>
            <a:r>
              <a:rPr lang="ja-JP" altLang="en-US" sz="1100" dirty="0"/>
              <a:t>’</a:t>
            </a:r>
            <a:r>
              <a:rPr lang="en-US" altLang="ja-JP" sz="1100" dirty="0"/>
              <a:t>s control, including but not limited to, the conditions prevailing when the testing was conducted, and in some cases, is based on data generated with development samples of the Active Ingredient.  Although it is intended to be accurate, ASHLAND DISCLAIMS ANY AND ALL LIABILITY, EITHER EXPRESS OR IMPLIED.  The Testing Information is confidential or proprietary to Ashland, and may not, except as provided below, be disclosed to any third party.  You may not make commercial use of the Testing Information, or make claims with respect to your products based the Testing Information, without the written agreement with Ashland covering such use. </a:t>
            </a:r>
            <a:br>
              <a:rPr lang="en-US" altLang="ja-JP" sz="1100" dirty="0"/>
            </a:br>
            <a:r>
              <a:rPr lang="en-US" altLang="ja-JP" sz="1100" dirty="0"/>
              <a:t/>
            </a:r>
            <a:br>
              <a:rPr lang="en-US" altLang="ja-JP" sz="1100" dirty="0"/>
            </a:br>
            <a:r>
              <a:rPr lang="en-US" altLang="ja-JP" sz="1100" dirty="0"/>
              <a:t>® Registered trademark, Ashland or its subsidiaries, registered in various countries </a:t>
            </a:r>
            <a:br>
              <a:rPr lang="en-US" altLang="ja-JP" sz="1100" dirty="0"/>
            </a:br>
            <a:r>
              <a:rPr lang="en-US" altLang="ja-JP" sz="1100" dirty="0"/>
              <a:t>™ Trademark, Ashland or its subsidiaries, registered in various countries </a:t>
            </a:r>
            <a:br>
              <a:rPr lang="en-US" altLang="ja-JP" sz="1100" dirty="0"/>
            </a:br>
            <a:r>
              <a:rPr lang="en-US" altLang="ja-JP" sz="1100" dirty="0"/>
              <a:t>* Trademark owned by a third party </a:t>
            </a:r>
            <a:br>
              <a:rPr lang="en-US" altLang="ja-JP" sz="1100" dirty="0"/>
            </a:br>
            <a:r>
              <a:rPr lang="en-US" altLang="ja-JP" sz="1100" dirty="0"/>
              <a:t>© 2013, Ashland </a:t>
            </a:r>
            <a:endParaRPr lang="en-US" sz="1100" dirty="0">
              <a:solidFill>
                <a:srgbClr val="000000"/>
              </a:solidFill>
            </a:endParaRPr>
          </a:p>
        </p:txBody>
      </p:sp>
    </p:spTree>
    <p:extLst>
      <p:ext uri="{BB962C8B-B14F-4D97-AF65-F5344CB8AC3E}">
        <p14:creationId xmlns:p14="http://schemas.microsoft.com/office/powerpoint/2010/main" val="6485697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91393B01-7800-434A-B836-B3320A3476BB}" type="slidenum">
              <a:rPr lang="en-US" smtClean="0"/>
              <a:pPr/>
              <a:t>34</a:t>
            </a:fld>
            <a:endParaRPr lang="en-US"/>
          </a:p>
        </p:txBody>
      </p:sp>
      <p:pic>
        <p:nvPicPr>
          <p:cNvPr id="4" name="Picture 3"/>
          <p:cNvPicPr>
            <a:picLocks noChangeAspect="1"/>
          </p:cNvPicPr>
          <p:nvPr/>
        </p:nvPicPr>
        <p:blipFill>
          <a:blip r:embed="rId2"/>
          <a:stretch>
            <a:fillRect/>
          </a:stretch>
        </p:blipFill>
        <p:spPr>
          <a:xfrm>
            <a:off x="1563243" y="2343869"/>
            <a:ext cx="6931914" cy="2170262"/>
          </a:xfrm>
          <a:prstGeom prst="rect">
            <a:avLst/>
          </a:prstGeom>
        </p:spPr>
      </p:pic>
    </p:spTree>
    <p:extLst>
      <p:ext uri="{BB962C8B-B14F-4D97-AF65-F5344CB8AC3E}">
        <p14:creationId xmlns:p14="http://schemas.microsoft.com/office/powerpoint/2010/main" val="8395207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3" name="Picture 112" descr="Dessin cheveu.jpg"/>
          <p:cNvPicPr preferRelativeResize="0">
            <a:picLocks/>
          </p:cNvPicPr>
          <p:nvPr/>
        </p:nvPicPr>
        <p:blipFill>
          <a:blip r:embed="rId3" cstate="print">
            <a:grayscl/>
            <a:extLst>
              <a:ext uri="{28A0092B-C50C-407E-A947-70E740481C1C}">
                <a14:useLocalDpi xmlns:a14="http://schemas.microsoft.com/office/drawing/2010/main" val="0"/>
              </a:ext>
            </a:extLst>
          </a:blip>
          <a:stretch>
            <a:fillRect/>
          </a:stretch>
        </p:blipFill>
        <p:spPr>
          <a:xfrm>
            <a:off x="706114" y="2013690"/>
            <a:ext cx="1666680" cy="3617044"/>
          </a:xfrm>
          <a:prstGeom prst="roundRect">
            <a:avLst>
              <a:gd name="adj" fmla="val 0"/>
            </a:avLst>
          </a:prstGeom>
          <a:ln>
            <a:noFill/>
          </a:ln>
          <a:effectLst/>
        </p:spPr>
      </p:pic>
      <p:pic>
        <p:nvPicPr>
          <p:cNvPr id="101" name="Picture 100" descr="Dessin cheveu.jpg"/>
          <p:cNvPicPr preferRelativeResize="0">
            <a:picLocks/>
          </p:cNvPicPr>
          <p:nvPr/>
        </p:nvPicPr>
        <p:blipFill>
          <a:blip r:embed="rId4" cstate="print">
            <a:grayscl/>
            <a:extLst>
              <a:ext uri="{28A0092B-C50C-407E-A947-70E740481C1C}">
                <a14:useLocalDpi xmlns:a14="http://schemas.microsoft.com/office/drawing/2010/main" val="0"/>
              </a:ext>
            </a:extLst>
          </a:blip>
          <a:stretch>
            <a:fillRect/>
          </a:stretch>
        </p:blipFill>
        <p:spPr>
          <a:xfrm>
            <a:off x="7744410" y="2019550"/>
            <a:ext cx="1691640" cy="3600000"/>
          </a:xfrm>
          <a:prstGeom prst="roundRect">
            <a:avLst>
              <a:gd name="adj" fmla="val 0"/>
            </a:avLst>
          </a:prstGeom>
          <a:ln>
            <a:noFill/>
          </a:ln>
          <a:effectLst/>
        </p:spPr>
      </p:pic>
      <p:pic>
        <p:nvPicPr>
          <p:cNvPr id="71" name="Picture 70" descr="Dessin cheveu.jpg"/>
          <p:cNvPicPr preferRelativeResize="0">
            <a:picLocks/>
          </p:cNvPicPr>
          <p:nvPr/>
        </p:nvPicPr>
        <p:blipFill>
          <a:blip r:embed="rId5" cstate="print">
            <a:grayscl/>
            <a:extLst>
              <a:ext uri="{28A0092B-C50C-407E-A947-70E740481C1C}">
                <a14:useLocalDpi xmlns:a14="http://schemas.microsoft.com/office/drawing/2010/main" val="0"/>
              </a:ext>
            </a:extLst>
          </a:blip>
          <a:stretch>
            <a:fillRect/>
          </a:stretch>
        </p:blipFill>
        <p:spPr>
          <a:xfrm>
            <a:off x="4214849" y="2030291"/>
            <a:ext cx="1692000" cy="3600000"/>
          </a:xfrm>
          <a:prstGeom prst="roundRect">
            <a:avLst>
              <a:gd name="adj" fmla="val 0"/>
            </a:avLst>
          </a:prstGeom>
          <a:ln>
            <a:noFill/>
          </a:ln>
          <a:effectLst/>
          <a:scene3d>
            <a:camera prst="orthographicFront"/>
            <a:lightRig rig="contrasting" dir="t">
              <a:rot lat="0" lon="0" rev="4200000"/>
            </a:lightRig>
          </a:scene3d>
          <a:sp3d prstMaterial="plastic">
            <a:contourClr>
              <a:srgbClr val="969696"/>
            </a:contourClr>
          </a:sp3d>
        </p:spPr>
      </p:pic>
      <p:sp>
        <p:nvSpPr>
          <p:cNvPr id="74" name="Oval 25"/>
          <p:cNvSpPr>
            <a:spLocks noChangeArrowheads="1"/>
          </p:cNvSpPr>
          <p:nvPr/>
        </p:nvSpPr>
        <p:spPr bwMode="auto">
          <a:xfrm rot="249403">
            <a:off x="4608165" y="3513381"/>
            <a:ext cx="477453" cy="1031262"/>
          </a:xfrm>
          <a:prstGeom prst="flowChartMagneticDisk">
            <a:avLst/>
          </a:prstGeom>
          <a:noFill/>
          <a:ln w="38100">
            <a:solidFill>
              <a:schemeClr val="accent3"/>
            </a:solidFill>
            <a:prstDash val="solid"/>
            <a:round/>
            <a:headEnd/>
            <a:tailEnd/>
          </a:ln>
        </p:spPr>
        <p:txBody>
          <a:bodyPr anchor="ctr"/>
          <a:lstStyle/>
          <a:p>
            <a:pPr algn="ctr">
              <a:defRPr/>
            </a:pPr>
            <a:endParaRPr lang="en-US">
              <a:latin typeface="Century Gothic Pro" panose="020B0502020202020204" pitchFamily="34" charset="0"/>
            </a:endParaRPr>
          </a:p>
        </p:txBody>
      </p:sp>
      <p:pic>
        <p:nvPicPr>
          <p:cNvPr id="43" name="Picture 42" descr="Dessin cheveu.jpg"/>
          <p:cNvPicPr preferRelativeResize="0">
            <a:picLocks/>
          </p:cNvPicPr>
          <p:nvPr/>
        </p:nvPicPr>
        <p:blipFill>
          <a:blip r:embed="rId5" cstate="print">
            <a:grayscl/>
            <a:extLst>
              <a:ext uri="{28A0092B-C50C-407E-A947-70E740481C1C}">
                <a14:useLocalDpi xmlns:a14="http://schemas.microsoft.com/office/drawing/2010/main" val="0"/>
              </a:ext>
            </a:extLst>
          </a:blip>
          <a:stretch>
            <a:fillRect/>
          </a:stretch>
        </p:blipFill>
        <p:spPr>
          <a:xfrm>
            <a:off x="674872" y="2023305"/>
            <a:ext cx="1692000" cy="3600000"/>
          </a:xfrm>
          <a:prstGeom prst="roundRect">
            <a:avLst>
              <a:gd name="adj" fmla="val 0"/>
            </a:avLst>
          </a:prstGeom>
          <a:ln>
            <a:noFill/>
          </a:ln>
          <a:effectLst/>
          <a:scene3d>
            <a:camera prst="orthographicFront"/>
            <a:lightRig rig="contrasting" dir="t">
              <a:rot lat="0" lon="0" rev="4200000"/>
            </a:lightRig>
          </a:scene3d>
          <a:sp3d prstMaterial="plastic">
            <a:contourClr>
              <a:srgbClr val="969696"/>
            </a:contourClr>
          </a:sp3d>
        </p:spPr>
      </p:pic>
      <p:sp>
        <p:nvSpPr>
          <p:cNvPr id="44" name="Rectangle 16"/>
          <p:cNvSpPr>
            <a:spLocks noChangeArrowheads="1"/>
          </p:cNvSpPr>
          <p:nvPr/>
        </p:nvSpPr>
        <p:spPr bwMode="auto">
          <a:xfrm>
            <a:off x="7894952" y="3380155"/>
            <a:ext cx="909968" cy="2160240"/>
          </a:xfrm>
          <a:prstGeom prst="rect">
            <a:avLst/>
          </a:prstGeom>
          <a:noFill/>
          <a:ln w="9525">
            <a:solidFill>
              <a:schemeClr val="accent5"/>
            </a:solidFill>
            <a:prstDash val="dash"/>
            <a:round/>
            <a:headEnd/>
            <a:tailEnd/>
          </a:ln>
        </p:spPr>
        <p:txBody>
          <a:bodyPr anchor="ctr"/>
          <a:lstStyle/>
          <a:p>
            <a:pPr algn="ctr"/>
            <a:endParaRPr lang="en-US">
              <a:solidFill>
                <a:prstClr val="black"/>
              </a:solidFill>
              <a:latin typeface="Century Gothic Pro" panose="020B0502020202020204" pitchFamily="34" charset="0"/>
            </a:endParaRPr>
          </a:p>
        </p:txBody>
      </p:sp>
      <p:sp>
        <p:nvSpPr>
          <p:cNvPr id="45" name="Freeform 44"/>
          <p:cNvSpPr/>
          <p:nvPr/>
        </p:nvSpPr>
        <p:spPr>
          <a:xfrm>
            <a:off x="8372872" y="3968797"/>
            <a:ext cx="311910" cy="1499590"/>
          </a:xfrm>
          <a:custGeom>
            <a:avLst/>
            <a:gdLst>
              <a:gd name="connsiteX0" fmla="*/ 498123 w 539045"/>
              <a:gd name="connsiteY0" fmla="*/ 0 h 2915356"/>
              <a:gd name="connsiteX1" fmla="*/ 506589 w 539045"/>
              <a:gd name="connsiteY1" fmla="*/ 389467 h 2915356"/>
              <a:gd name="connsiteX2" fmla="*/ 515056 w 539045"/>
              <a:gd name="connsiteY2" fmla="*/ 677334 h 2915356"/>
              <a:gd name="connsiteX3" fmla="*/ 489656 w 539045"/>
              <a:gd name="connsiteY3" fmla="*/ 1126067 h 2915356"/>
              <a:gd name="connsiteX4" fmla="*/ 489656 w 539045"/>
              <a:gd name="connsiteY4" fmla="*/ 1481667 h 2915356"/>
              <a:gd name="connsiteX5" fmla="*/ 498123 w 539045"/>
              <a:gd name="connsiteY5" fmla="*/ 1896534 h 2915356"/>
              <a:gd name="connsiteX6" fmla="*/ 515056 w 539045"/>
              <a:gd name="connsiteY6" fmla="*/ 2302934 h 2915356"/>
              <a:gd name="connsiteX7" fmla="*/ 523523 w 539045"/>
              <a:gd name="connsiteY7" fmla="*/ 2641600 h 2915356"/>
              <a:gd name="connsiteX8" fmla="*/ 421923 w 539045"/>
              <a:gd name="connsiteY8" fmla="*/ 2827867 h 2915356"/>
              <a:gd name="connsiteX9" fmla="*/ 176389 w 539045"/>
              <a:gd name="connsiteY9" fmla="*/ 2912534 h 2915356"/>
              <a:gd name="connsiteX10" fmla="*/ 23989 w 539045"/>
              <a:gd name="connsiteY10" fmla="*/ 2844800 h 2915356"/>
              <a:gd name="connsiteX11" fmla="*/ 32456 w 539045"/>
              <a:gd name="connsiteY11" fmla="*/ 2802467 h 2915356"/>
              <a:gd name="connsiteX0" fmla="*/ 455790 w 539045"/>
              <a:gd name="connsiteY0" fmla="*/ 0 h 2957689"/>
              <a:gd name="connsiteX1" fmla="*/ 506589 w 539045"/>
              <a:gd name="connsiteY1" fmla="*/ 431800 h 2957689"/>
              <a:gd name="connsiteX2" fmla="*/ 515056 w 539045"/>
              <a:gd name="connsiteY2" fmla="*/ 719667 h 2957689"/>
              <a:gd name="connsiteX3" fmla="*/ 489656 w 539045"/>
              <a:gd name="connsiteY3" fmla="*/ 1168400 h 2957689"/>
              <a:gd name="connsiteX4" fmla="*/ 489656 w 539045"/>
              <a:gd name="connsiteY4" fmla="*/ 1524000 h 2957689"/>
              <a:gd name="connsiteX5" fmla="*/ 498123 w 539045"/>
              <a:gd name="connsiteY5" fmla="*/ 1938867 h 2957689"/>
              <a:gd name="connsiteX6" fmla="*/ 515056 w 539045"/>
              <a:gd name="connsiteY6" fmla="*/ 2345267 h 2957689"/>
              <a:gd name="connsiteX7" fmla="*/ 523523 w 539045"/>
              <a:gd name="connsiteY7" fmla="*/ 2683933 h 2957689"/>
              <a:gd name="connsiteX8" fmla="*/ 421923 w 539045"/>
              <a:gd name="connsiteY8" fmla="*/ 2870200 h 2957689"/>
              <a:gd name="connsiteX9" fmla="*/ 176389 w 539045"/>
              <a:gd name="connsiteY9" fmla="*/ 2954867 h 2957689"/>
              <a:gd name="connsiteX10" fmla="*/ 23989 w 539045"/>
              <a:gd name="connsiteY10" fmla="*/ 2887133 h 2957689"/>
              <a:gd name="connsiteX11" fmla="*/ 32456 w 539045"/>
              <a:gd name="connsiteY11" fmla="*/ 2844800 h 2957689"/>
              <a:gd name="connsiteX0" fmla="*/ 455790 w 539045"/>
              <a:gd name="connsiteY0" fmla="*/ 0 h 2957689"/>
              <a:gd name="connsiteX1" fmla="*/ 481189 w 539045"/>
              <a:gd name="connsiteY1" fmla="*/ 440266 h 2957689"/>
              <a:gd name="connsiteX2" fmla="*/ 515056 w 539045"/>
              <a:gd name="connsiteY2" fmla="*/ 719667 h 2957689"/>
              <a:gd name="connsiteX3" fmla="*/ 489656 w 539045"/>
              <a:gd name="connsiteY3" fmla="*/ 1168400 h 2957689"/>
              <a:gd name="connsiteX4" fmla="*/ 489656 w 539045"/>
              <a:gd name="connsiteY4" fmla="*/ 1524000 h 2957689"/>
              <a:gd name="connsiteX5" fmla="*/ 498123 w 539045"/>
              <a:gd name="connsiteY5" fmla="*/ 1938867 h 2957689"/>
              <a:gd name="connsiteX6" fmla="*/ 515056 w 539045"/>
              <a:gd name="connsiteY6" fmla="*/ 2345267 h 2957689"/>
              <a:gd name="connsiteX7" fmla="*/ 523523 w 539045"/>
              <a:gd name="connsiteY7" fmla="*/ 2683933 h 2957689"/>
              <a:gd name="connsiteX8" fmla="*/ 421923 w 539045"/>
              <a:gd name="connsiteY8" fmla="*/ 2870200 h 2957689"/>
              <a:gd name="connsiteX9" fmla="*/ 176389 w 539045"/>
              <a:gd name="connsiteY9" fmla="*/ 2954867 h 2957689"/>
              <a:gd name="connsiteX10" fmla="*/ 23989 w 539045"/>
              <a:gd name="connsiteY10" fmla="*/ 2887133 h 2957689"/>
              <a:gd name="connsiteX11" fmla="*/ 32456 w 539045"/>
              <a:gd name="connsiteY11" fmla="*/ 2844800 h 2957689"/>
              <a:gd name="connsiteX0" fmla="*/ 455790 w 539045"/>
              <a:gd name="connsiteY0" fmla="*/ 0 h 2957689"/>
              <a:gd name="connsiteX1" fmla="*/ 481189 w 539045"/>
              <a:gd name="connsiteY1" fmla="*/ 440266 h 2957689"/>
              <a:gd name="connsiteX2" fmla="*/ 489656 w 539045"/>
              <a:gd name="connsiteY2" fmla="*/ 753533 h 2957689"/>
              <a:gd name="connsiteX3" fmla="*/ 489656 w 539045"/>
              <a:gd name="connsiteY3" fmla="*/ 1168400 h 2957689"/>
              <a:gd name="connsiteX4" fmla="*/ 489656 w 539045"/>
              <a:gd name="connsiteY4" fmla="*/ 1524000 h 2957689"/>
              <a:gd name="connsiteX5" fmla="*/ 498123 w 539045"/>
              <a:gd name="connsiteY5" fmla="*/ 1938867 h 2957689"/>
              <a:gd name="connsiteX6" fmla="*/ 515056 w 539045"/>
              <a:gd name="connsiteY6" fmla="*/ 2345267 h 2957689"/>
              <a:gd name="connsiteX7" fmla="*/ 523523 w 539045"/>
              <a:gd name="connsiteY7" fmla="*/ 2683933 h 2957689"/>
              <a:gd name="connsiteX8" fmla="*/ 421923 w 539045"/>
              <a:gd name="connsiteY8" fmla="*/ 2870200 h 2957689"/>
              <a:gd name="connsiteX9" fmla="*/ 176389 w 539045"/>
              <a:gd name="connsiteY9" fmla="*/ 2954867 h 2957689"/>
              <a:gd name="connsiteX10" fmla="*/ 23989 w 539045"/>
              <a:gd name="connsiteY10" fmla="*/ 2887133 h 2957689"/>
              <a:gd name="connsiteX11" fmla="*/ 32456 w 539045"/>
              <a:gd name="connsiteY11" fmla="*/ 2844800 h 2957689"/>
              <a:gd name="connsiteX0" fmla="*/ 455790 w 539045"/>
              <a:gd name="connsiteY0" fmla="*/ 0 h 2957689"/>
              <a:gd name="connsiteX1" fmla="*/ 481189 w 539045"/>
              <a:gd name="connsiteY1" fmla="*/ 440266 h 2957689"/>
              <a:gd name="connsiteX2" fmla="*/ 489656 w 539045"/>
              <a:gd name="connsiteY2" fmla="*/ 753533 h 2957689"/>
              <a:gd name="connsiteX3" fmla="*/ 464256 w 539045"/>
              <a:gd name="connsiteY3" fmla="*/ 1193800 h 2957689"/>
              <a:gd name="connsiteX4" fmla="*/ 489656 w 539045"/>
              <a:gd name="connsiteY4" fmla="*/ 1524000 h 2957689"/>
              <a:gd name="connsiteX5" fmla="*/ 498123 w 539045"/>
              <a:gd name="connsiteY5" fmla="*/ 1938867 h 2957689"/>
              <a:gd name="connsiteX6" fmla="*/ 515056 w 539045"/>
              <a:gd name="connsiteY6" fmla="*/ 2345267 h 2957689"/>
              <a:gd name="connsiteX7" fmla="*/ 523523 w 539045"/>
              <a:gd name="connsiteY7" fmla="*/ 2683933 h 2957689"/>
              <a:gd name="connsiteX8" fmla="*/ 421923 w 539045"/>
              <a:gd name="connsiteY8" fmla="*/ 2870200 h 2957689"/>
              <a:gd name="connsiteX9" fmla="*/ 176389 w 539045"/>
              <a:gd name="connsiteY9" fmla="*/ 2954867 h 2957689"/>
              <a:gd name="connsiteX10" fmla="*/ 23989 w 539045"/>
              <a:gd name="connsiteY10" fmla="*/ 2887133 h 2957689"/>
              <a:gd name="connsiteX11" fmla="*/ 32456 w 539045"/>
              <a:gd name="connsiteY11" fmla="*/ 2844800 h 2957689"/>
              <a:gd name="connsiteX0" fmla="*/ 455790 w 539045"/>
              <a:gd name="connsiteY0" fmla="*/ 0 h 2957689"/>
              <a:gd name="connsiteX1" fmla="*/ 481189 w 539045"/>
              <a:gd name="connsiteY1" fmla="*/ 440266 h 2957689"/>
              <a:gd name="connsiteX2" fmla="*/ 489656 w 539045"/>
              <a:gd name="connsiteY2" fmla="*/ 753533 h 2957689"/>
              <a:gd name="connsiteX3" fmla="*/ 464256 w 539045"/>
              <a:gd name="connsiteY3" fmla="*/ 1193800 h 2957689"/>
              <a:gd name="connsiteX4" fmla="*/ 472722 w 539045"/>
              <a:gd name="connsiteY4" fmla="*/ 1549400 h 2957689"/>
              <a:gd name="connsiteX5" fmla="*/ 498123 w 539045"/>
              <a:gd name="connsiteY5" fmla="*/ 1938867 h 2957689"/>
              <a:gd name="connsiteX6" fmla="*/ 515056 w 539045"/>
              <a:gd name="connsiteY6" fmla="*/ 2345267 h 2957689"/>
              <a:gd name="connsiteX7" fmla="*/ 523523 w 539045"/>
              <a:gd name="connsiteY7" fmla="*/ 2683933 h 2957689"/>
              <a:gd name="connsiteX8" fmla="*/ 421923 w 539045"/>
              <a:gd name="connsiteY8" fmla="*/ 2870200 h 2957689"/>
              <a:gd name="connsiteX9" fmla="*/ 176389 w 539045"/>
              <a:gd name="connsiteY9" fmla="*/ 2954867 h 2957689"/>
              <a:gd name="connsiteX10" fmla="*/ 23989 w 539045"/>
              <a:gd name="connsiteY10" fmla="*/ 2887133 h 2957689"/>
              <a:gd name="connsiteX11" fmla="*/ 32456 w 539045"/>
              <a:gd name="connsiteY11" fmla="*/ 2844800 h 2957689"/>
              <a:gd name="connsiteX0" fmla="*/ 455790 w 539045"/>
              <a:gd name="connsiteY0" fmla="*/ 0 h 2957689"/>
              <a:gd name="connsiteX1" fmla="*/ 481189 w 539045"/>
              <a:gd name="connsiteY1" fmla="*/ 440266 h 2957689"/>
              <a:gd name="connsiteX2" fmla="*/ 489656 w 539045"/>
              <a:gd name="connsiteY2" fmla="*/ 753533 h 2957689"/>
              <a:gd name="connsiteX3" fmla="*/ 464256 w 539045"/>
              <a:gd name="connsiteY3" fmla="*/ 1193800 h 2957689"/>
              <a:gd name="connsiteX4" fmla="*/ 472722 w 539045"/>
              <a:gd name="connsiteY4" fmla="*/ 1549400 h 2957689"/>
              <a:gd name="connsiteX5" fmla="*/ 481190 w 539045"/>
              <a:gd name="connsiteY5" fmla="*/ 1972734 h 2957689"/>
              <a:gd name="connsiteX6" fmla="*/ 515056 w 539045"/>
              <a:gd name="connsiteY6" fmla="*/ 2345267 h 2957689"/>
              <a:gd name="connsiteX7" fmla="*/ 523523 w 539045"/>
              <a:gd name="connsiteY7" fmla="*/ 2683933 h 2957689"/>
              <a:gd name="connsiteX8" fmla="*/ 421923 w 539045"/>
              <a:gd name="connsiteY8" fmla="*/ 2870200 h 2957689"/>
              <a:gd name="connsiteX9" fmla="*/ 176389 w 539045"/>
              <a:gd name="connsiteY9" fmla="*/ 2954867 h 2957689"/>
              <a:gd name="connsiteX10" fmla="*/ 23989 w 539045"/>
              <a:gd name="connsiteY10" fmla="*/ 2887133 h 2957689"/>
              <a:gd name="connsiteX11" fmla="*/ 32456 w 539045"/>
              <a:gd name="connsiteY11" fmla="*/ 2844800 h 2957689"/>
              <a:gd name="connsiteX0" fmla="*/ 455790 w 539045"/>
              <a:gd name="connsiteY0" fmla="*/ 0 h 2957689"/>
              <a:gd name="connsiteX1" fmla="*/ 481189 w 539045"/>
              <a:gd name="connsiteY1" fmla="*/ 440266 h 2957689"/>
              <a:gd name="connsiteX2" fmla="*/ 489656 w 539045"/>
              <a:gd name="connsiteY2" fmla="*/ 753533 h 2957689"/>
              <a:gd name="connsiteX3" fmla="*/ 464256 w 539045"/>
              <a:gd name="connsiteY3" fmla="*/ 1193800 h 2957689"/>
              <a:gd name="connsiteX4" fmla="*/ 472722 w 539045"/>
              <a:gd name="connsiteY4" fmla="*/ 1549400 h 2957689"/>
              <a:gd name="connsiteX5" fmla="*/ 455790 w 539045"/>
              <a:gd name="connsiteY5" fmla="*/ 1947334 h 2957689"/>
              <a:gd name="connsiteX6" fmla="*/ 515056 w 539045"/>
              <a:gd name="connsiteY6" fmla="*/ 2345267 h 2957689"/>
              <a:gd name="connsiteX7" fmla="*/ 523523 w 539045"/>
              <a:gd name="connsiteY7" fmla="*/ 2683933 h 2957689"/>
              <a:gd name="connsiteX8" fmla="*/ 421923 w 539045"/>
              <a:gd name="connsiteY8" fmla="*/ 2870200 h 2957689"/>
              <a:gd name="connsiteX9" fmla="*/ 176389 w 539045"/>
              <a:gd name="connsiteY9" fmla="*/ 2954867 h 2957689"/>
              <a:gd name="connsiteX10" fmla="*/ 23989 w 539045"/>
              <a:gd name="connsiteY10" fmla="*/ 2887133 h 2957689"/>
              <a:gd name="connsiteX11" fmla="*/ 32456 w 539045"/>
              <a:gd name="connsiteY11" fmla="*/ 2844800 h 2957689"/>
              <a:gd name="connsiteX0" fmla="*/ 455790 w 539045"/>
              <a:gd name="connsiteY0" fmla="*/ 0 h 2957689"/>
              <a:gd name="connsiteX1" fmla="*/ 481189 w 539045"/>
              <a:gd name="connsiteY1" fmla="*/ 440266 h 2957689"/>
              <a:gd name="connsiteX2" fmla="*/ 489656 w 539045"/>
              <a:gd name="connsiteY2" fmla="*/ 753533 h 2957689"/>
              <a:gd name="connsiteX3" fmla="*/ 464256 w 539045"/>
              <a:gd name="connsiteY3" fmla="*/ 1193800 h 2957689"/>
              <a:gd name="connsiteX4" fmla="*/ 472722 w 539045"/>
              <a:gd name="connsiteY4" fmla="*/ 1549400 h 2957689"/>
              <a:gd name="connsiteX5" fmla="*/ 455790 w 539045"/>
              <a:gd name="connsiteY5" fmla="*/ 1947334 h 2957689"/>
              <a:gd name="connsiteX6" fmla="*/ 515056 w 539045"/>
              <a:gd name="connsiteY6" fmla="*/ 2387600 h 2957689"/>
              <a:gd name="connsiteX7" fmla="*/ 523523 w 539045"/>
              <a:gd name="connsiteY7" fmla="*/ 2683933 h 2957689"/>
              <a:gd name="connsiteX8" fmla="*/ 421923 w 539045"/>
              <a:gd name="connsiteY8" fmla="*/ 2870200 h 2957689"/>
              <a:gd name="connsiteX9" fmla="*/ 176389 w 539045"/>
              <a:gd name="connsiteY9" fmla="*/ 2954867 h 2957689"/>
              <a:gd name="connsiteX10" fmla="*/ 23989 w 539045"/>
              <a:gd name="connsiteY10" fmla="*/ 2887133 h 2957689"/>
              <a:gd name="connsiteX11" fmla="*/ 32456 w 539045"/>
              <a:gd name="connsiteY11" fmla="*/ 2844800 h 2957689"/>
              <a:gd name="connsiteX0" fmla="*/ 455790 w 523523"/>
              <a:gd name="connsiteY0" fmla="*/ 0 h 2957689"/>
              <a:gd name="connsiteX1" fmla="*/ 481189 w 523523"/>
              <a:gd name="connsiteY1" fmla="*/ 440266 h 2957689"/>
              <a:gd name="connsiteX2" fmla="*/ 489656 w 523523"/>
              <a:gd name="connsiteY2" fmla="*/ 753533 h 2957689"/>
              <a:gd name="connsiteX3" fmla="*/ 464256 w 523523"/>
              <a:gd name="connsiteY3" fmla="*/ 1193800 h 2957689"/>
              <a:gd name="connsiteX4" fmla="*/ 472722 w 523523"/>
              <a:gd name="connsiteY4" fmla="*/ 1549400 h 2957689"/>
              <a:gd name="connsiteX5" fmla="*/ 455790 w 523523"/>
              <a:gd name="connsiteY5" fmla="*/ 1947334 h 2957689"/>
              <a:gd name="connsiteX6" fmla="*/ 515056 w 523523"/>
              <a:gd name="connsiteY6" fmla="*/ 2387600 h 2957689"/>
              <a:gd name="connsiteX7" fmla="*/ 506590 w 523523"/>
              <a:gd name="connsiteY7" fmla="*/ 2683933 h 2957689"/>
              <a:gd name="connsiteX8" fmla="*/ 421923 w 523523"/>
              <a:gd name="connsiteY8" fmla="*/ 2870200 h 2957689"/>
              <a:gd name="connsiteX9" fmla="*/ 176389 w 523523"/>
              <a:gd name="connsiteY9" fmla="*/ 2954867 h 2957689"/>
              <a:gd name="connsiteX10" fmla="*/ 23989 w 523523"/>
              <a:gd name="connsiteY10" fmla="*/ 2887133 h 2957689"/>
              <a:gd name="connsiteX11" fmla="*/ 32456 w 523523"/>
              <a:gd name="connsiteY11" fmla="*/ 2844800 h 2957689"/>
              <a:gd name="connsiteX0" fmla="*/ 455790 w 523523"/>
              <a:gd name="connsiteY0" fmla="*/ 0 h 2963334"/>
              <a:gd name="connsiteX1" fmla="*/ 481189 w 523523"/>
              <a:gd name="connsiteY1" fmla="*/ 440266 h 2963334"/>
              <a:gd name="connsiteX2" fmla="*/ 489656 w 523523"/>
              <a:gd name="connsiteY2" fmla="*/ 753533 h 2963334"/>
              <a:gd name="connsiteX3" fmla="*/ 464256 w 523523"/>
              <a:gd name="connsiteY3" fmla="*/ 1193800 h 2963334"/>
              <a:gd name="connsiteX4" fmla="*/ 472722 w 523523"/>
              <a:gd name="connsiteY4" fmla="*/ 1549400 h 2963334"/>
              <a:gd name="connsiteX5" fmla="*/ 455790 w 523523"/>
              <a:gd name="connsiteY5" fmla="*/ 1947334 h 2963334"/>
              <a:gd name="connsiteX6" fmla="*/ 515056 w 523523"/>
              <a:gd name="connsiteY6" fmla="*/ 2387600 h 2963334"/>
              <a:gd name="connsiteX7" fmla="*/ 506590 w 523523"/>
              <a:gd name="connsiteY7" fmla="*/ 2683933 h 2963334"/>
              <a:gd name="connsiteX8" fmla="*/ 413457 w 523523"/>
              <a:gd name="connsiteY8" fmla="*/ 2836333 h 2963334"/>
              <a:gd name="connsiteX9" fmla="*/ 176389 w 523523"/>
              <a:gd name="connsiteY9" fmla="*/ 2954867 h 2963334"/>
              <a:gd name="connsiteX10" fmla="*/ 23989 w 523523"/>
              <a:gd name="connsiteY10" fmla="*/ 2887133 h 2963334"/>
              <a:gd name="connsiteX11" fmla="*/ 32456 w 523523"/>
              <a:gd name="connsiteY11" fmla="*/ 2844800 h 2963334"/>
              <a:gd name="connsiteX0" fmla="*/ 458612 w 526345"/>
              <a:gd name="connsiteY0" fmla="*/ 0 h 2929468"/>
              <a:gd name="connsiteX1" fmla="*/ 484011 w 526345"/>
              <a:gd name="connsiteY1" fmla="*/ 440266 h 2929468"/>
              <a:gd name="connsiteX2" fmla="*/ 492478 w 526345"/>
              <a:gd name="connsiteY2" fmla="*/ 753533 h 2929468"/>
              <a:gd name="connsiteX3" fmla="*/ 467078 w 526345"/>
              <a:gd name="connsiteY3" fmla="*/ 1193800 h 2929468"/>
              <a:gd name="connsiteX4" fmla="*/ 475544 w 526345"/>
              <a:gd name="connsiteY4" fmla="*/ 1549400 h 2929468"/>
              <a:gd name="connsiteX5" fmla="*/ 458612 w 526345"/>
              <a:gd name="connsiteY5" fmla="*/ 1947334 h 2929468"/>
              <a:gd name="connsiteX6" fmla="*/ 517878 w 526345"/>
              <a:gd name="connsiteY6" fmla="*/ 2387600 h 2929468"/>
              <a:gd name="connsiteX7" fmla="*/ 509412 w 526345"/>
              <a:gd name="connsiteY7" fmla="*/ 2683933 h 2929468"/>
              <a:gd name="connsiteX8" fmla="*/ 416279 w 526345"/>
              <a:gd name="connsiteY8" fmla="*/ 2836333 h 2929468"/>
              <a:gd name="connsiteX9" fmla="*/ 196144 w 526345"/>
              <a:gd name="connsiteY9" fmla="*/ 2921001 h 2929468"/>
              <a:gd name="connsiteX10" fmla="*/ 26811 w 526345"/>
              <a:gd name="connsiteY10" fmla="*/ 2887133 h 2929468"/>
              <a:gd name="connsiteX11" fmla="*/ 35278 w 526345"/>
              <a:gd name="connsiteY11" fmla="*/ 2844800 h 2929468"/>
              <a:gd name="connsiteX0" fmla="*/ 454379 w 522112"/>
              <a:gd name="connsiteY0" fmla="*/ 0 h 2929468"/>
              <a:gd name="connsiteX1" fmla="*/ 479778 w 522112"/>
              <a:gd name="connsiteY1" fmla="*/ 440266 h 2929468"/>
              <a:gd name="connsiteX2" fmla="*/ 488245 w 522112"/>
              <a:gd name="connsiteY2" fmla="*/ 753533 h 2929468"/>
              <a:gd name="connsiteX3" fmla="*/ 462845 w 522112"/>
              <a:gd name="connsiteY3" fmla="*/ 1193800 h 2929468"/>
              <a:gd name="connsiteX4" fmla="*/ 471311 w 522112"/>
              <a:gd name="connsiteY4" fmla="*/ 1549400 h 2929468"/>
              <a:gd name="connsiteX5" fmla="*/ 454379 w 522112"/>
              <a:gd name="connsiteY5" fmla="*/ 1947334 h 2929468"/>
              <a:gd name="connsiteX6" fmla="*/ 513645 w 522112"/>
              <a:gd name="connsiteY6" fmla="*/ 2387600 h 2929468"/>
              <a:gd name="connsiteX7" fmla="*/ 505179 w 522112"/>
              <a:gd name="connsiteY7" fmla="*/ 2683933 h 2929468"/>
              <a:gd name="connsiteX8" fmla="*/ 412046 w 522112"/>
              <a:gd name="connsiteY8" fmla="*/ 2836333 h 2929468"/>
              <a:gd name="connsiteX9" fmla="*/ 191911 w 522112"/>
              <a:gd name="connsiteY9" fmla="*/ 2921001 h 2929468"/>
              <a:gd name="connsiteX10" fmla="*/ 22578 w 522112"/>
              <a:gd name="connsiteY10" fmla="*/ 2887133 h 2929468"/>
              <a:gd name="connsiteX11" fmla="*/ 56445 w 522112"/>
              <a:gd name="connsiteY11" fmla="*/ 2794000 h 2929468"/>
              <a:gd name="connsiteX0" fmla="*/ 431801 w 499534"/>
              <a:gd name="connsiteY0" fmla="*/ 0 h 2929468"/>
              <a:gd name="connsiteX1" fmla="*/ 457200 w 499534"/>
              <a:gd name="connsiteY1" fmla="*/ 440266 h 2929468"/>
              <a:gd name="connsiteX2" fmla="*/ 465667 w 499534"/>
              <a:gd name="connsiteY2" fmla="*/ 753533 h 2929468"/>
              <a:gd name="connsiteX3" fmla="*/ 440267 w 499534"/>
              <a:gd name="connsiteY3" fmla="*/ 1193800 h 2929468"/>
              <a:gd name="connsiteX4" fmla="*/ 448733 w 499534"/>
              <a:gd name="connsiteY4" fmla="*/ 1549400 h 2929468"/>
              <a:gd name="connsiteX5" fmla="*/ 431801 w 499534"/>
              <a:gd name="connsiteY5" fmla="*/ 1947334 h 2929468"/>
              <a:gd name="connsiteX6" fmla="*/ 491067 w 499534"/>
              <a:gd name="connsiteY6" fmla="*/ 2387600 h 2929468"/>
              <a:gd name="connsiteX7" fmla="*/ 482601 w 499534"/>
              <a:gd name="connsiteY7" fmla="*/ 2683933 h 2929468"/>
              <a:gd name="connsiteX8" fmla="*/ 389468 w 499534"/>
              <a:gd name="connsiteY8" fmla="*/ 2836333 h 2929468"/>
              <a:gd name="connsiteX9" fmla="*/ 169333 w 499534"/>
              <a:gd name="connsiteY9" fmla="*/ 2921001 h 2929468"/>
              <a:gd name="connsiteX10" fmla="*/ 0 w 499534"/>
              <a:gd name="connsiteY10" fmla="*/ 2887133 h 2929468"/>
              <a:gd name="connsiteX0" fmla="*/ 431801 w 499534"/>
              <a:gd name="connsiteY0" fmla="*/ 0 h 2929468"/>
              <a:gd name="connsiteX1" fmla="*/ 457200 w 499534"/>
              <a:gd name="connsiteY1" fmla="*/ 440266 h 2929468"/>
              <a:gd name="connsiteX2" fmla="*/ 465667 w 499534"/>
              <a:gd name="connsiteY2" fmla="*/ 753533 h 2929468"/>
              <a:gd name="connsiteX3" fmla="*/ 440267 w 499534"/>
              <a:gd name="connsiteY3" fmla="*/ 1193800 h 2929468"/>
              <a:gd name="connsiteX4" fmla="*/ 457200 w 499534"/>
              <a:gd name="connsiteY4" fmla="*/ 1574800 h 2929468"/>
              <a:gd name="connsiteX5" fmla="*/ 431801 w 499534"/>
              <a:gd name="connsiteY5" fmla="*/ 1947334 h 2929468"/>
              <a:gd name="connsiteX6" fmla="*/ 491067 w 499534"/>
              <a:gd name="connsiteY6" fmla="*/ 2387600 h 2929468"/>
              <a:gd name="connsiteX7" fmla="*/ 482601 w 499534"/>
              <a:gd name="connsiteY7" fmla="*/ 2683933 h 2929468"/>
              <a:gd name="connsiteX8" fmla="*/ 389468 w 499534"/>
              <a:gd name="connsiteY8" fmla="*/ 2836333 h 2929468"/>
              <a:gd name="connsiteX9" fmla="*/ 169333 w 499534"/>
              <a:gd name="connsiteY9" fmla="*/ 2921001 h 2929468"/>
              <a:gd name="connsiteX10" fmla="*/ 0 w 499534"/>
              <a:gd name="connsiteY10" fmla="*/ 2887133 h 2929468"/>
              <a:gd name="connsiteX0" fmla="*/ 431801 w 499534"/>
              <a:gd name="connsiteY0" fmla="*/ 0 h 2929468"/>
              <a:gd name="connsiteX1" fmla="*/ 457200 w 499534"/>
              <a:gd name="connsiteY1" fmla="*/ 440266 h 2929468"/>
              <a:gd name="connsiteX2" fmla="*/ 465667 w 499534"/>
              <a:gd name="connsiteY2" fmla="*/ 753533 h 2929468"/>
              <a:gd name="connsiteX3" fmla="*/ 440267 w 499534"/>
              <a:gd name="connsiteY3" fmla="*/ 1193800 h 2929468"/>
              <a:gd name="connsiteX4" fmla="*/ 440267 w 499534"/>
              <a:gd name="connsiteY4" fmla="*/ 1557866 h 2929468"/>
              <a:gd name="connsiteX5" fmla="*/ 431801 w 499534"/>
              <a:gd name="connsiteY5" fmla="*/ 1947334 h 2929468"/>
              <a:gd name="connsiteX6" fmla="*/ 491067 w 499534"/>
              <a:gd name="connsiteY6" fmla="*/ 2387600 h 2929468"/>
              <a:gd name="connsiteX7" fmla="*/ 482601 w 499534"/>
              <a:gd name="connsiteY7" fmla="*/ 2683933 h 2929468"/>
              <a:gd name="connsiteX8" fmla="*/ 389468 w 499534"/>
              <a:gd name="connsiteY8" fmla="*/ 2836333 h 2929468"/>
              <a:gd name="connsiteX9" fmla="*/ 169333 w 499534"/>
              <a:gd name="connsiteY9" fmla="*/ 2921001 h 2929468"/>
              <a:gd name="connsiteX10" fmla="*/ 0 w 499534"/>
              <a:gd name="connsiteY10" fmla="*/ 2887133 h 2929468"/>
              <a:gd name="connsiteX0" fmla="*/ 431801 w 499534"/>
              <a:gd name="connsiteY0" fmla="*/ 0 h 2929468"/>
              <a:gd name="connsiteX1" fmla="*/ 457200 w 499534"/>
              <a:gd name="connsiteY1" fmla="*/ 440266 h 2929468"/>
              <a:gd name="connsiteX2" fmla="*/ 457200 w 499534"/>
              <a:gd name="connsiteY2" fmla="*/ 778933 h 2929468"/>
              <a:gd name="connsiteX3" fmla="*/ 440267 w 499534"/>
              <a:gd name="connsiteY3" fmla="*/ 1193800 h 2929468"/>
              <a:gd name="connsiteX4" fmla="*/ 440267 w 499534"/>
              <a:gd name="connsiteY4" fmla="*/ 1557866 h 2929468"/>
              <a:gd name="connsiteX5" fmla="*/ 431801 w 499534"/>
              <a:gd name="connsiteY5" fmla="*/ 1947334 h 2929468"/>
              <a:gd name="connsiteX6" fmla="*/ 491067 w 499534"/>
              <a:gd name="connsiteY6" fmla="*/ 2387600 h 2929468"/>
              <a:gd name="connsiteX7" fmla="*/ 482601 w 499534"/>
              <a:gd name="connsiteY7" fmla="*/ 2683933 h 2929468"/>
              <a:gd name="connsiteX8" fmla="*/ 389468 w 499534"/>
              <a:gd name="connsiteY8" fmla="*/ 2836333 h 2929468"/>
              <a:gd name="connsiteX9" fmla="*/ 169333 w 499534"/>
              <a:gd name="connsiteY9" fmla="*/ 2921001 h 2929468"/>
              <a:gd name="connsiteX10" fmla="*/ 0 w 499534"/>
              <a:gd name="connsiteY10" fmla="*/ 2887133 h 2929468"/>
              <a:gd name="connsiteX0" fmla="*/ 431801 w 499534"/>
              <a:gd name="connsiteY0" fmla="*/ 0 h 2900693"/>
              <a:gd name="connsiteX1" fmla="*/ 457200 w 499534"/>
              <a:gd name="connsiteY1" fmla="*/ 411491 h 2900693"/>
              <a:gd name="connsiteX2" fmla="*/ 457200 w 499534"/>
              <a:gd name="connsiteY2" fmla="*/ 750158 h 2900693"/>
              <a:gd name="connsiteX3" fmla="*/ 440267 w 499534"/>
              <a:gd name="connsiteY3" fmla="*/ 1165025 h 2900693"/>
              <a:gd name="connsiteX4" fmla="*/ 440267 w 499534"/>
              <a:gd name="connsiteY4" fmla="*/ 1529091 h 2900693"/>
              <a:gd name="connsiteX5" fmla="*/ 431801 w 499534"/>
              <a:gd name="connsiteY5" fmla="*/ 1918559 h 2900693"/>
              <a:gd name="connsiteX6" fmla="*/ 491067 w 499534"/>
              <a:gd name="connsiteY6" fmla="*/ 2358825 h 2900693"/>
              <a:gd name="connsiteX7" fmla="*/ 482601 w 499534"/>
              <a:gd name="connsiteY7" fmla="*/ 2655158 h 2900693"/>
              <a:gd name="connsiteX8" fmla="*/ 389468 w 499534"/>
              <a:gd name="connsiteY8" fmla="*/ 2807558 h 2900693"/>
              <a:gd name="connsiteX9" fmla="*/ 169333 w 499534"/>
              <a:gd name="connsiteY9" fmla="*/ 2892226 h 2900693"/>
              <a:gd name="connsiteX10" fmla="*/ 0 w 499534"/>
              <a:gd name="connsiteY10" fmla="*/ 2858358 h 2900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9534" h="2900693">
                <a:moveTo>
                  <a:pt x="431801" y="0"/>
                </a:moveTo>
                <a:cubicBezTo>
                  <a:pt x="434623" y="138289"/>
                  <a:pt x="452967" y="286465"/>
                  <a:pt x="457200" y="411491"/>
                </a:cubicBezTo>
                <a:cubicBezTo>
                  <a:pt x="461433" y="536517"/>
                  <a:pt x="460022" y="624569"/>
                  <a:pt x="457200" y="750158"/>
                </a:cubicBezTo>
                <a:cubicBezTo>
                  <a:pt x="454378" y="875747"/>
                  <a:pt x="443089" y="1035203"/>
                  <a:pt x="440267" y="1165025"/>
                </a:cubicBezTo>
                <a:cubicBezTo>
                  <a:pt x="437445" y="1294847"/>
                  <a:pt x="441678" y="1403502"/>
                  <a:pt x="440267" y="1529091"/>
                </a:cubicBezTo>
                <a:cubicBezTo>
                  <a:pt x="438856" y="1654680"/>
                  <a:pt x="423334" y="1780270"/>
                  <a:pt x="431801" y="1918559"/>
                </a:cubicBezTo>
                <a:cubicBezTo>
                  <a:pt x="440268" y="2056848"/>
                  <a:pt x="482600" y="2236059"/>
                  <a:pt x="491067" y="2358825"/>
                </a:cubicBezTo>
                <a:cubicBezTo>
                  <a:pt x="499534" y="2481591"/>
                  <a:pt x="499534" y="2580369"/>
                  <a:pt x="482601" y="2655158"/>
                </a:cubicBezTo>
                <a:cubicBezTo>
                  <a:pt x="465668" y="2729947"/>
                  <a:pt x="441679" y="2768047"/>
                  <a:pt x="389468" y="2807558"/>
                </a:cubicBezTo>
                <a:cubicBezTo>
                  <a:pt x="337257" y="2847069"/>
                  <a:pt x="234244" y="2883759"/>
                  <a:pt x="169333" y="2892226"/>
                </a:cubicBezTo>
                <a:cubicBezTo>
                  <a:pt x="104422" y="2900693"/>
                  <a:pt x="22578" y="2879525"/>
                  <a:pt x="0" y="2858358"/>
                </a:cubicBezTo>
              </a:path>
            </a:pathLst>
          </a:custGeom>
          <a:ln w="85725" cap="rnd" cmpd="tri">
            <a:gradFill>
              <a:gsLst>
                <a:gs pos="0">
                  <a:srgbClr val="FFC000"/>
                </a:gs>
                <a:gs pos="45000">
                  <a:srgbClr val="FF7A00"/>
                </a:gs>
                <a:gs pos="70000">
                  <a:srgbClr val="FF0300"/>
                </a:gs>
                <a:gs pos="100000">
                  <a:srgbClr val="4D0808"/>
                </a:gs>
              </a:gsLst>
              <a:lin ang="15000000" scaled="0"/>
            </a:gradFill>
            <a:prstDash val="sysDot"/>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prstClr val="black"/>
              </a:solidFill>
              <a:latin typeface="Century Gothic Pro" panose="020B0502020202020204" pitchFamily="34" charset="0"/>
            </a:endParaRPr>
          </a:p>
        </p:txBody>
      </p:sp>
      <p:sp>
        <p:nvSpPr>
          <p:cNvPr id="46" name="Freeform 45"/>
          <p:cNvSpPr/>
          <p:nvPr/>
        </p:nvSpPr>
        <p:spPr>
          <a:xfrm>
            <a:off x="7952274" y="3850264"/>
            <a:ext cx="276334" cy="1605415"/>
          </a:xfrm>
          <a:custGeom>
            <a:avLst/>
            <a:gdLst>
              <a:gd name="connsiteX0" fmla="*/ 445911 w 488245"/>
              <a:gd name="connsiteY0" fmla="*/ 2921000 h 2987321"/>
              <a:gd name="connsiteX1" fmla="*/ 403578 w 488245"/>
              <a:gd name="connsiteY1" fmla="*/ 2980266 h 2987321"/>
              <a:gd name="connsiteX2" fmla="*/ 259645 w 488245"/>
              <a:gd name="connsiteY2" fmla="*/ 2963333 h 2987321"/>
              <a:gd name="connsiteX3" fmla="*/ 141111 w 488245"/>
              <a:gd name="connsiteY3" fmla="*/ 2878666 h 2987321"/>
              <a:gd name="connsiteX4" fmla="*/ 47978 w 488245"/>
              <a:gd name="connsiteY4" fmla="*/ 2700866 h 2987321"/>
              <a:gd name="connsiteX5" fmla="*/ 14111 w 488245"/>
              <a:gd name="connsiteY5" fmla="*/ 2531533 h 2987321"/>
              <a:gd name="connsiteX6" fmla="*/ 14111 w 488245"/>
              <a:gd name="connsiteY6" fmla="*/ 2345266 h 2987321"/>
              <a:gd name="connsiteX7" fmla="*/ 98778 w 488245"/>
              <a:gd name="connsiteY7" fmla="*/ 1989666 h 2987321"/>
              <a:gd name="connsiteX8" fmla="*/ 200378 w 488245"/>
              <a:gd name="connsiteY8" fmla="*/ 1549400 h 2987321"/>
              <a:gd name="connsiteX9" fmla="*/ 301978 w 488245"/>
              <a:gd name="connsiteY9" fmla="*/ 1024466 h 2987321"/>
              <a:gd name="connsiteX10" fmla="*/ 395111 w 488245"/>
              <a:gd name="connsiteY10" fmla="*/ 550333 h 2987321"/>
              <a:gd name="connsiteX11" fmla="*/ 488245 w 488245"/>
              <a:gd name="connsiteY11" fmla="*/ 0 h 2987321"/>
              <a:gd name="connsiteX12" fmla="*/ 488245 w 488245"/>
              <a:gd name="connsiteY12" fmla="*/ 0 h 2987321"/>
              <a:gd name="connsiteX13" fmla="*/ 488245 w 488245"/>
              <a:gd name="connsiteY13" fmla="*/ 0 h 2987321"/>
              <a:gd name="connsiteX0" fmla="*/ 445911 w 530578"/>
              <a:gd name="connsiteY0" fmla="*/ 2921000 h 2987321"/>
              <a:gd name="connsiteX1" fmla="*/ 403578 w 530578"/>
              <a:gd name="connsiteY1" fmla="*/ 2980266 h 2987321"/>
              <a:gd name="connsiteX2" fmla="*/ 259645 w 530578"/>
              <a:gd name="connsiteY2" fmla="*/ 2963333 h 2987321"/>
              <a:gd name="connsiteX3" fmla="*/ 141111 w 530578"/>
              <a:gd name="connsiteY3" fmla="*/ 2878666 h 2987321"/>
              <a:gd name="connsiteX4" fmla="*/ 47978 w 530578"/>
              <a:gd name="connsiteY4" fmla="*/ 2700866 h 2987321"/>
              <a:gd name="connsiteX5" fmla="*/ 14111 w 530578"/>
              <a:gd name="connsiteY5" fmla="*/ 2531533 h 2987321"/>
              <a:gd name="connsiteX6" fmla="*/ 14111 w 530578"/>
              <a:gd name="connsiteY6" fmla="*/ 2345266 h 2987321"/>
              <a:gd name="connsiteX7" fmla="*/ 98778 w 530578"/>
              <a:gd name="connsiteY7" fmla="*/ 1989666 h 2987321"/>
              <a:gd name="connsiteX8" fmla="*/ 200378 w 530578"/>
              <a:gd name="connsiteY8" fmla="*/ 1549400 h 2987321"/>
              <a:gd name="connsiteX9" fmla="*/ 301978 w 530578"/>
              <a:gd name="connsiteY9" fmla="*/ 1024466 h 2987321"/>
              <a:gd name="connsiteX10" fmla="*/ 395111 w 530578"/>
              <a:gd name="connsiteY10" fmla="*/ 550333 h 2987321"/>
              <a:gd name="connsiteX11" fmla="*/ 488245 w 530578"/>
              <a:gd name="connsiteY11" fmla="*/ 0 h 2987321"/>
              <a:gd name="connsiteX12" fmla="*/ 488245 w 530578"/>
              <a:gd name="connsiteY12" fmla="*/ 0 h 2987321"/>
              <a:gd name="connsiteX13" fmla="*/ 530578 w 530578"/>
              <a:gd name="connsiteY13" fmla="*/ 67733 h 2987321"/>
              <a:gd name="connsiteX0" fmla="*/ 445911 w 530578"/>
              <a:gd name="connsiteY0" fmla="*/ 2921000 h 2987321"/>
              <a:gd name="connsiteX1" fmla="*/ 403578 w 530578"/>
              <a:gd name="connsiteY1" fmla="*/ 2980266 h 2987321"/>
              <a:gd name="connsiteX2" fmla="*/ 259645 w 530578"/>
              <a:gd name="connsiteY2" fmla="*/ 2963333 h 2987321"/>
              <a:gd name="connsiteX3" fmla="*/ 141111 w 530578"/>
              <a:gd name="connsiteY3" fmla="*/ 2878666 h 2987321"/>
              <a:gd name="connsiteX4" fmla="*/ 47978 w 530578"/>
              <a:gd name="connsiteY4" fmla="*/ 2700866 h 2987321"/>
              <a:gd name="connsiteX5" fmla="*/ 14111 w 530578"/>
              <a:gd name="connsiteY5" fmla="*/ 2531533 h 2987321"/>
              <a:gd name="connsiteX6" fmla="*/ 14111 w 530578"/>
              <a:gd name="connsiteY6" fmla="*/ 2345266 h 2987321"/>
              <a:gd name="connsiteX7" fmla="*/ 98778 w 530578"/>
              <a:gd name="connsiteY7" fmla="*/ 1989666 h 2987321"/>
              <a:gd name="connsiteX8" fmla="*/ 200378 w 530578"/>
              <a:gd name="connsiteY8" fmla="*/ 1549400 h 2987321"/>
              <a:gd name="connsiteX9" fmla="*/ 301978 w 530578"/>
              <a:gd name="connsiteY9" fmla="*/ 1024466 h 2987321"/>
              <a:gd name="connsiteX10" fmla="*/ 331611 w 530578"/>
              <a:gd name="connsiteY10" fmla="*/ 576453 h 2987321"/>
              <a:gd name="connsiteX11" fmla="*/ 488245 w 530578"/>
              <a:gd name="connsiteY11" fmla="*/ 0 h 2987321"/>
              <a:gd name="connsiteX12" fmla="*/ 488245 w 530578"/>
              <a:gd name="connsiteY12" fmla="*/ 0 h 2987321"/>
              <a:gd name="connsiteX13" fmla="*/ 530578 w 530578"/>
              <a:gd name="connsiteY13" fmla="*/ 67733 h 2987321"/>
              <a:gd name="connsiteX0" fmla="*/ 445911 w 530578"/>
              <a:gd name="connsiteY0" fmla="*/ 2921000 h 2987321"/>
              <a:gd name="connsiteX1" fmla="*/ 403578 w 530578"/>
              <a:gd name="connsiteY1" fmla="*/ 2980266 h 2987321"/>
              <a:gd name="connsiteX2" fmla="*/ 259645 w 530578"/>
              <a:gd name="connsiteY2" fmla="*/ 2963333 h 2987321"/>
              <a:gd name="connsiteX3" fmla="*/ 141111 w 530578"/>
              <a:gd name="connsiteY3" fmla="*/ 2878666 h 2987321"/>
              <a:gd name="connsiteX4" fmla="*/ 47978 w 530578"/>
              <a:gd name="connsiteY4" fmla="*/ 2700866 h 2987321"/>
              <a:gd name="connsiteX5" fmla="*/ 14111 w 530578"/>
              <a:gd name="connsiteY5" fmla="*/ 2531533 h 2987321"/>
              <a:gd name="connsiteX6" fmla="*/ 14111 w 530578"/>
              <a:gd name="connsiteY6" fmla="*/ 2345266 h 2987321"/>
              <a:gd name="connsiteX7" fmla="*/ 98778 w 530578"/>
              <a:gd name="connsiteY7" fmla="*/ 1989666 h 2987321"/>
              <a:gd name="connsiteX8" fmla="*/ 200378 w 530578"/>
              <a:gd name="connsiteY8" fmla="*/ 1549400 h 2987321"/>
              <a:gd name="connsiteX9" fmla="*/ 301978 w 530578"/>
              <a:gd name="connsiteY9" fmla="*/ 1024466 h 2987321"/>
              <a:gd name="connsiteX10" fmla="*/ 331611 w 530578"/>
              <a:gd name="connsiteY10" fmla="*/ 576453 h 2987321"/>
              <a:gd name="connsiteX11" fmla="*/ 488245 w 530578"/>
              <a:gd name="connsiteY11" fmla="*/ 0 h 2987321"/>
              <a:gd name="connsiteX12" fmla="*/ 331611 w 530578"/>
              <a:gd name="connsiteY12" fmla="*/ 0 h 2987321"/>
              <a:gd name="connsiteX13" fmla="*/ 530578 w 530578"/>
              <a:gd name="connsiteY13" fmla="*/ 67733 h 2987321"/>
              <a:gd name="connsiteX0" fmla="*/ 445911 w 530578"/>
              <a:gd name="connsiteY0" fmla="*/ 2921000 h 2987321"/>
              <a:gd name="connsiteX1" fmla="*/ 403578 w 530578"/>
              <a:gd name="connsiteY1" fmla="*/ 2980266 h 2987321"/>
              <a:gd name="connsiteX2" fmla="*/ 259645 w 530578"/>
              <a:gd name="connsiteY2" fmla="*/ 2963333 h 2987321"/>
              <a:gd name="connsiteX3" fmla="*/ 141111 w 530578"/>
              <a:gd name="connsiteY3" fmla="*/ 2878666 h 2987321"/>
              <a:gd name="connsiteX4" fmla="*/ 47978 w 530578"/>
              <a:gd name="connsiteY4" fmla="*/ 2700866 h 2987321"/>
              <a:gd name="connsiteX5" fmla="*/ 14111 w 530578"/>
              <a:gd name="connsiteY5" fmla="*/ 2531533 h 2987321"/>
              <a:gd name="connsiteX6" fmla="*/ 14111 w 530578"/>
              <a:gd name="connsiteY6" fmla="*/ 2345266 h 2987321"/>
              <a:gd name="connsiteX7" fmla="*/ 98778 w 530578"/>
              <a:gd name="connsiteY7" fmla="*/ 1989666 h 2987321"/>
              <a:gd name="connsiteX8" fmla="*/ 200378 w 530578"/>
              <a:gd name="connsiteY8" fmla="*/ 1549400 h 2987321"/>
              <a:gd name="connsiteX9" fmla="*/ 301978 w 530578"/>
              <a:gd name="connsiteY9" fmla="*/ 1024466 h 2987321"/>
              <a:gd name="connsiteX10" fmla="*/ 331611 w 530578"/>
              <a:gd name="connsiteY10" fmla="*/ 576453 h 2987321"/>
              <a:gd name="connsiteX11" fmla="*/ 488245 w 530578"/>
              <a:gd name="connsiteY11" fmla="*/ 0 h 2987321"/>
              <a:gd name="connsiteX12" fmla="*/ 530578 w 530578"/>
              <a:gd name="connsiteY12" fmla="*/ 67733 h 2987321"/>
              <a:gd name="connsiteX0" fmla="*/ 445911 w 488245"/>
              <a:gd name="connsiteY0" fmla="*/ 2921000 h 2987321"/>
              <a:gd name="connsiteX1" fmla="*/ 403578 w 488245"/>
              <a:gd name="connsiteY1" fmla="*/ 2980266 h 2987321"/>
              <a:gd name="connsiteX2" fmla="*/ 259645 w 488245"/>
              <a:gd name="connsiteY2" fmla="*/ 2963333 h 2987321"/>
              <a:gd name="connsiteX3" fmla="*/ 141111 w 488245"/>
              <a:gd name="connsiteY3" fmla="*/ 2878666 h 2987321"/>
              <a:gd name="connsiteX4" fmla="*/ 47978 w 488245"/>
              <a:gd name="connsiteY4" fmla="*/ 2700866 h 2987321"/>
              <a:gd name="connsiteX5" fmla="*/ 14111 w 488245"/>
              <a:gd name="connsiteY5" fmla="*/ 2531533 h 2987321"/>
              <a:gd name="connsiteX6" fmla="*/ 14111 w 488245"/>
              <a:gd name="connsiteY6" fmla="*/ 2345266 h 2987321"/>
              <a:gd name="connsiteX7" fmla="*/ 98778 w 488245"/>
              <a:gd name="connsiteY7" fmla="*/ 1989666 h 2987321"/>
              <a:gd name="connsiteX8" fmla="*/ 200378 w 488245"/>
              <a:gd name="connsiteY8" fmla="*/ 1549400 h 2987321"/>
              <a:gd name="connsiteX9" fmla="*/ 301978 w 488245"/>
              <a:gd name="connsiteY9" fmla="*/ 1024466 h 2987321"/>
              <a:gd name="connsiteX10" fmla="*/ 331611 w 488245"/>
              <a:gd name="connsiteY10" fmla="*/ 576453 h 2987321"/>
              <a:gd name="connsiteX11" fmla="*/ 488245 w 488245"/>
              <a:gd name="connsiteY11" fmla="*/ 0 h 2987321"/>
              <a:gd name="connsiteX0" fmla="*/ 445911 w 445911"/>
              <a:gd name="connsiteY0" fmla="*/ 2921000 h 2987321"/>
              <a:gd name="connsiteX1" fmla="*/ 403578 w 445911"/>
              <a:gd name="connsiteY1" fmla="*/ 2980266 h 2987321"/>
              <a:gd name="connsiteX2" fmla="*/ 259645 w 445911"/>
              <a:gd name="connsiteY2" fmla="*/ 2963333 h 2987321"/>
              <a:gd name="connsiteX3" fmla="*/ 141111 w 445911"/>
              <a:gd name="connsiteY3" fmla="*/ 2878666 h 2987321"/>
              <a:gd name="connsiteX4" fmla="*/ 47978 w 445911"/>
              <a:gd name="connsiteY4" fmla="*/ 2700866 h 2987321"/>
              <a:gd name="connsiteX5" fmla="*/ 14111 w 445911"/>
              <a:gd name="connsiteY5" fmla="*/ 2531533 h 2987321"/>
              <a:gd name="connsiteX6" fmla="*/ 14111 w 445911"/>
              <a:gd name="connsiteY6" fmla="*/ 2345266 h 2987321"/>
              <a:gd name="connsiteX7" fmla="*/ 98778 w 445911"/>
              <a:gd name="connsiteY7" fmla="*/ 1989666 h 2987321"/>
              <a:gd name="connsiteX8" fmla="*/ 200378 w 445911"/>
              <a:gd name="connsiteY8" fmla="*/ 1549400 h 2987321"/>
              <a:gd name="connsiteX9" fmla="*/ 301978 w 445911"/>
              <a:gd name="connsiteY9" fmla="*/ 1024466 h 2987321"/>
              <a:gd name="connsiteX10" fmla="*/ 331611 w 445911"/>
              <a:gd name="connsiteY10" fmla="*/ 576453 h 2987321"/>
              <a:gd name="connsiteX11" fmla="*/ 397934 w 445911"/>
              <a:gd name="connsiteY11" fmla="*/ 0 h 2987321"/>
              <a:gd name="connsiteX0" fmla="*/ 445911 w 445911"/>
              <a:gd name="connsiteY0" fmla="*/ 2921000 h 2987321"/>
              <a:gd name="connsiteX1" fmla="*/ 403578 w 445911"/>
              <a:gd name="connsiteY1" fmla="*/ 2980266 h 2987321"/>
              <a:gd name="connsiteX2" fmla="*/ 259645 w 445911"/>
              <a:gd name="connsiteY2" fmla="*/ 2963333 h 2987321"/>
              <a:gd name="connsiteX3" fmla="*/ 141111 w 445911"/>
              <a:gd name="connsiteY3" fmla="*/ 2878666 h 2987321"/>
              <a:gd name="connsiteX4" fmla="*/ 47978 w 445911"/>
              <a:gd name="connsiteY4" fmla="*/ 2700866 h 2987321"/>
              <a:gd name="connsiteX5" fmla="*/ 14111 w 445911"/>
              <a:gd name="connsiteY5" fmla="*/ 2531533 h 2987321"/>
              <a:gd name="connsiteX6" fmla="*/ 14111 w 445911"/>
              <a:gd name="connsiteY6" fmla="*/ 2345266 h 2987321"/>
              <a:gd name="connsiteX7" fmla="*/ 98778 w 445911"/>
              <a:gd name="connsiteY7" fmla="*/ 1989666 h 2987321"/>
              <a:gd name="connsiteX8" fmla="*/ 200378 w 445911"/>
              <a:gd name="connsiteY8" fmla="*/ 1549400 h 2987321"/>
              <a:gd name="connsiteX9" fmla="*/ 265290 w 445911"/>
              <a:gd name="connsiteY9" fmla="*/ 1070555 h 2987321"/>
              <a:gd name="connsiteX10" fmla="*/ 331611 w 445911"/>
              <a:gd name="connsiteY10" fmla="*/ 576453 h 2987321"/>
              <a:gd name="connsiteX11" fmla="*/ 397934 w 445911"/>
              <a:gd name="connsiteY11" fmla="*/ 0 h 2987321"/>
              <a:gd name="connsiteX0" fmla="*/ 445911 w 445911"/>
              <a:gd name="connsiteY0" fmla="*/ 2921000 h 2987321"/>
              <a:gd name="connsiteX1" fmla="*/ 403578 w 445911"/>
              <a:gd name="connsiteY1" fmla="*/ 2980266 h 2987321"/>
              <a:gd name="connsiteX2" fmla="*/ 259645 w 445911"/>
              <a:gd name="connsiteY2" fmla="*/ 2963333 h 2987321"/>
              <a:gd name="connsiteX3" fmla="*/ 141111 w 445911"/>
              <a:gd name="connsiteY3" fmla="*/ 2878666 h 2987321"/>
              <a:gd name="connsiteX4" fmla="*/ 47978 w 445911"/>
              <a:gd name="connsiteY4" fmla="*/ 2700866 h 2987321"/>
              <a:gd name="connsiteX5" fmla="*/ 14111 w 445911"/>
              <a:gd name="connsiteY5" fmla="*/ 2531533 h 2987321"/>
              <a:gd name="connsiteX6" fmla="*/ 14111 w 445911"/>
              <a:gd name="connsiteY6" fmla="*/ 2345266 h 2987321"/>
              <a:gd name="connsiteX7" fmla="*/ 98778 w 445911"/>
              <a:gd name="connsiteY7" fmla="*/ 1989666 h 2987321"/>
              <a:gd name="connsiteX8" fmla="*/ 163237 w 445911"/>
              <a:gd name="connsiteY8" fmla="*/ 1526342 h 2987321"/>
              <a:gd name="connsiteX9" fmla="*/ 265290 w 445911"/>
              <a:gd name="connsiteY9" fmla="*/ 1070555 h 2987321"/>
              <a:gd name="connsiteX10" fmla="*/ 331611 w 445911"/>
              <a:gd name="connsiteY10" fmla="*/ 576453 h 2987321"/>
              <a:gd name="connsiteX11" fmla="*/ 397934 w 445911"/>
              <a:gd name="connsiteY11" fmla="*/ 0 h 2987321"/>
              <a:gd name="connsiteX0" fmla="*/ 445911 w 445911"/>
              <a:gd name="connsiteY0" fmla="*/ 2921000 h 2987321"/>
              <a:gd name="connsiteX1" fmla="*/ 403578 w 445911"/>
              <a:gd name="connsiteY1" fmla="*/ 2980266 h 2987321"/>
              <a:gd name="connsiteX2" fmla="*/ 259645 w 445911"/>
              <a:gd name="connsiteY2" fmla="*/ 2963333 h 2987321"/>
              <a:gd name="connsiteX3" fmla="*/ 141111 w 445911"/>
              <a:gd name="connsiteY3" fmla="*/ 2878666 h 2987321"/>
              <a:gd name="connsiteX4" fmla="*/ 47978 w 445911"/>
              <a:gd name="connsiteY4" fmla="*/ 2700866 h 2987321"/>
              <a:gd name="connsiteX5" fmla="*/ 14111 w 445911"/>
              <a:gd name="connsiteY5" fmla="*/ 2531533 h 2987321"/>
              <a:gd name="connsiteX6" fmla="*/ 14111 w 445911"/>
              <a:gd name="connsiteY6" fmla="*/ 2345266 h 2987321"/>
              <a:gd name="connsiteX7" fmla="*/ 98778 w 445911"/>
              <a:gd name="connsiteY7" fmla="*/ 1989666 h 2987321"/>
              <a:gd name="connsiteX8" fmla="*/ 163237 w 445911"/>
              <a:gd name="connsiteY8" fmla="*/ 1526342 h 2987321"/>
              <a:gd name="connsiteX9" fmla="*/ 257331 w 445911"/>
              <a:gd name="connsiteY9" fmla="*/ 922324 h 2987321"/>
              <a:gd name="connsiteX10" fmla="*/ 331611 w 445911"/>
              <a:gd name="connsiteY10" fmla="*/ 576453 h 2987321"/>
              <a:gd name="connsiteX11" fmla="*/ 397934 w 445911"/>
              <a:gd name="connsiteY11" fmla="*/ 0 h 2987321"/>
              <a:gd name="connsiteX0" fmla="*/ 445911 w 445911"/>
              <a:gd name="connsiteY0" fmla="*/ 2921000 h 2987321"/>
              <a:gd name="connsiteX1" fmla="*/ 403578 w 445911"/>
              <a:gd name="connsiteY1" fmla="*/ 2980266 h 2987321"/>
              <a:gd name="connsiteX2" fmla="*/ 259645 w 445911"/>
              <a:gd name="connsiteY2" fmla="*/ 2963333 h 2987321"/>
              <a:gd name="connsiteX3" fmla="*/ 141111 w 445911"/>
              <a:gd name="connsiteY3" fmla="*/ 2878666 h 2987321"/>
              <a:gd name="connsiteX4" fmla="*/ 47978 w 445911"/>
              <a:gd name="connsiteY4" fmla="*/ 2700866 h 2987321"/>
              <a:gd name="connsiteX5" fmla="*/ 14111 w 445911"/>
              <a:gd name="connsiteY5" fmla="*/ 2531533 h 2987321"/>
              <a:gd name="connsiteX6" fmla="*/ 14111 w 445911"/>
              <a:gd name="connsiteY6" fmla="*/ 2345266 h 2987321"/>
              <a:gd name="connsiteX7" fmla="*/ 98778 w 445911"/>
              <a:gd name="connsiteY7" fmla="*/ 1989666 h 2987321"/>
              <a:gd name="connsiteX8" fmla="*/ 163237 w 445911"/>
              <a:gd name="connsiteY8" fmla="*/ 1526342 h 2987321"/>
              <a:gd name="connsiteX9" fmla="*/ 257331 w 445911"/>
              <a:gd name="connsiteY9" fmla="*/ 922324 h 2987321"/>
              <a:gd name="connsiteX10" fmla="*/ 331611 w 445911"/>
              <a:gd name="connsiteY10" fmla="*/ 438104 h 2987321"/>
              <a:gd name="connsiteX11" fmla="*/ 397934 w 445911"/>
              <a:gd name="connsiteY11" fmla="*/ 0 h 2987321"/>
              <a:gd name="connsiteX0" fmla="*/ 445911 w 445911"/>
              <a:gd name="connsiteY0" fmla="*/ 2921000 h 2987321"/>
              <a:gd name="connsiteX1" fmla="*/ 403578 w 445911"/>
              <a:gd name="connsiteY1" fmla="*/ 2980266 h 2987321"/>
              <a:gd name="connsiteX2" fmla="*/ 259645 w 445911"/>
              <a:gd name="connsiteY2" fmla="*/ 2963333 h 2987321"/>
              <a:gd name="connsiteX3" fmla="*/ 117235 w 445911"/>
              <a:gd name="connsiteY3" fmla="*/ 2928076 h 2987321"/>
              <a:gd name="connsiteX4" fmla="*/ 47978 w 445911"/>
              <a:gd name="connsiteY4" fmla="*/ 2700866 h 2987321"/>
              <a:gd name="connsiteX5" fmla="*/ 14111 w 445911"/>
              <a:gd name="connsiteY5" fmla="*/ 2531533 h 2987321"/>
              <a:gd name="connsiteX6" fmla="*/ 14111 w 445911"/>
              <a:gd name="connsiteY6" fmla="*/ 2345266 h 2987321"/>
              <a:gd name="connsiteX7" fmla="*/ 98778 w 445911"/>
              <a:gd name="connsiteY7" fmla="*/ 1989666 h 2987321"/>
              <a:gd name="connsiteX8" fmla="*/ 163237 w 445911"/>
              <a:gd name="connsiteY8" fmla="*/ 1526342 h 2987321"/>
              <a:gd name="connsiteX9" fmla="*/ 257331 w 445911"/>
              <a:gd name="connsiteY9" fmla="*/ 922324 h 2987321"/>
              <a:gd name="connsiteX10" fmla="*/ 331611 w 445911"/>
              <a:gd name="connsiteY10" fmla="*/ 438104 h 2987321"/>
              <a:gd name="connsiteX11" fmla="*/ 397934 w 445911"/>
              <a:gd name="connsiteY11" fmla="*/ 0 h 2987321"/>
              <a:gd name="connsiteX0" fmla="*/ 446954 w 446954"/>
              <a:gd name="connsiteY0" fmla="*/ 2921000 h 2987321"/>
              <a:gd name="connsiteX1" fmla="*/ 404621 w 446954"/>
              <a:gd name="connsiteY1" fmla="*/ 2980266 h 2987321"/>
              <a:gd name="connsiteX2" fmla="*/ 260688 w 446954"/>
              <a:gd name="connsiteY2" fmla="*/ 2963333 h 2987321"/>
              <a:gd name="connsiteX3" fmla="*/ 118278 w 446954"/>
              <a:gd name="connsiteY3" fmla="*/ 2928076 h 2987321"/>
              <a:gd name="connsiteX4" fmla="*/ 17187 w 446954"/>
              <a:gd name="connsiteY4" fmla="*/ 2720630 h 2987321"/>
              <a:gd name="connsiteX5" fmla="*/ 15154 w 446954"/>
              <a:gd name="connsiteY5" fmla="*/ 2531533 h 2987321"/>
              <a:gd name="connsiteX6" fmla="*/ 15154 w 446954"/>
              <a:gd name="connsiteY6" fmla="*/ 2345266 h 2987321"/>
              <a:gd name="connsiteX7" fmla="*/ 99821 w 446954"/>
              <a:gd name="connsiteY7" fmla="*/ 1989666 h 2987321"/>
              <a:gd name="connsiteX8" fmla="*/ 164280 w 446954"/>
              <a:gd name="connsiteY8" fmla="*/ 1526342 h 2987321"/>
              <a:gd name="connsiteX9" fmla="*/ 258374 w 446954"/>
              <a:gd name="connsiteY9" fmla="*/ 922324 h 2987321"/>
              <a:gd name="connsiteX10" fmla="*/ 332654 w 446954"/>
              <a:gd name="connsiteY10" fmla="*/ 438104 h 2987321"/>
              <a:gd name="connsiteX11" fmla="*/ 398977 w 446954"/>
              <a:gd name="connsiteY11" fmla="*/ 0 h 2987321"/>
              <a:gd name="connsiteX0" fmla="*/ 446954 w 446954"/>
              <a:gd name="connsiteY0" fmla="*/ 2921000 h 3021442"/>
              <a:gd name="connsiteX1" fmla="*/ 404621 w 446954"/>
              <a:gd name="connsiteY1" fmla="*/ 2980266 h 3021442"/>
              <a:gd name="connsiteX2" fmla="*/ 252730 w 446954"/>
              <a:gd name="connsiteY2" fmla="*/ 3012744 h 3021442"/>
              <a:gd name="connsiteX3" fmla="*/ 118278 w 446954"/>
              <a:gd name="connsiteY3" fmla="*/ 2928076 h 3021442"/>
              <a:gd name="connsiteX4" fmla="*/ 17187 w 446954"/>
              <a:gd name="connsiteY4" fmla="*/ 2720630 h 3021442"/>
              <a:gd name="connsiteX5" fmla="*/ 15154 w 446954"/>
              <a:gd name="connsiteY5" fmla="*/ 2531533 h 3021442"/>
              <a:gd name="connsiteX6" fmla="*/ 15154 w 446954"/>
              <a:gd name="connsiteY6" fmla="*/ 2345266 h 3021442"/>
              <a:gd name="connsiteX7" fmla="*/ 99821 w 446954"/>
              <a:gd name="connsiteY7" fmla="*/ 1989666 h 3021442"/>
              <a:gd name="connsiteX8" fmla="*/ 164280 w 446954"/>
              <a:gd name="connsiteY8" fmla="*/ 1526342 h 3021442"/>
              <a:gd name="connsiteX9" fmla="*/ 258374 w 446954"/>
              <a:gd name="connsiteY9" fmla="*/ 922324 h 3021442"/>
              <a:gd name="connsiteX10" fmla="*/ 332654 w 446954"/>
              <a:gd name="connsiteY10" fmla="*/ 438104 h 3021442"/>
              <a:gd name="connsiteX11" fmla="*/ 398977 w 446954"/>
              <a:gd name="connsiteY11" fmla="*/ 0 h 3021442"/>
              <a:gd name="connsiteX0" fmla="*/ 446954 w 446954"/>
              <a:gd name="connsiteY0" fmla="*/ 2921000 h 3021442"/>
              <a:gd name="connsiteX1" fmla="*/ 404621 w 446954"/>
              <a:gd name="connsiteY1" fmla="*/ 2980266 h 3021442"/>
              <a:gd name="connsiteX2" fmla="*/ 252730 w 446954"/>
              <a:gd name="connsiteY2" fmla="*/ 3012744 h 3021442"/>
              <a:gd name="connsiteX3" fmla="*/ 118278 w 446954"/>
              <a:gd name="connsiteY3" fmla="*/ 2928076 h 3021442"/>
              <a:gd name="connsiteX4" fmla="*/ 17187 w 446954"/>
              <a:gd name="connsiteY4" fmla="*/ 2720630 h 3021442"/>
              <a:gd name="connsiteX5" fmla="*/ 15154 w 446954"/>
              <a:gd name="connsiteY5" fmla="*/ 2531533 h 3021442"/>
              <a:gd name="connsiteX6" fmla="*/ 39030 w 446954"/>
              <a:gd name="connsiteY6" fmla="*/ 2246446 h 3021442"/>
              <a:gd name="connsiteX7" fmla="*/ 99821 w 446954"/>
              <a:gd name="connsiteY7" fmla="*/ 1989666 h 3021442"/>
              <a:gd name="connsiteX8" fmla="*/ 164280 w 446954"/>
              <a:gd name="connsiteY8" fmla="*/ 1526342 h 3021442"/>
              <a:gd name="connsiteX9" fmla="*/ 258374 w 446954"/>
              <a:gd name="connsiteY9" fmla="*/ 922324 h 3021442"/>
              <a:gd name="connsiteX10" fmla="*/ 332654 w 446954"/>
              <a:gd name="connsiteY10" fmla="*/ 438104 h 3021442"/>
              <a:gd name="connsiteX11" fmla="*/ 398977 w 446954"/>
              <a:gd name="connsiteY11" fmla="*/ 0 h 3021442"/>
              <a:gd name="connsiteX0" fmla="*/ 446954 w 446954"/>
              <a:gd name="connsiteY0" fmla="*/ 2921000 h 3021442"/>
              <a:gd name="connsiteX1" fmla="*/ 404621 w 446954"/>
              <a:gd name="connsiteY1" fmla="*/ 2980266 h 3021442"/>
              <a:gd name="connsiteX2" fmla="*/ 252730 w 446954"/>
              <a:gd name="connsiteY2" fmla="*/ 3012744 h 3021442"/>
              <a:gd name="connsiteX3" fmla="*/ 118278 w 446954"/>
              <a:gd name="connsiteY3" fmla="*/ 2928076 h 3021442"/>
              <a:gd name="connsiteX4" fmla="*/ 17187 w 446954"/>
              <a:gd name="connsiteY4" fmla="*/ 2720630 h 3021442"/>
              <a:gd name="connsiteX5" fmla="*/ 15154 w 446954"/>
              <a:gd name="connsiteY5" fmla="*/ 2531533 h 3021442"/>
              <a:gd name="connsiteX6" fmla="*/ 39030 w 446954"/>
              <a:gd name="connsiteY6" fmla="*/ 2246446 h 3021442"/>
              <a:gd name="connsiteX7" fmla="*/ 164280 w 446954"/>
              <a:gd name="connsiteY7" fmla="*/ 1526342 h 3021442"/>
              <a:gd name="connsiteX8" fmla="*/ 258374 w 446954"/>
              <a:gd name="connsiteY8" fmla="*/ 922324 h 3021442"/>
              <a:gd name="connsiteX9" fmla="*/ 332654 w 446954"/>
              <a:gd name="connsiteY9" fmla="*/ 438104 h 3021442"/>
              <a:gd name="connsiteX10" fmla="*/ 398977 w 446954"/>
              <a:gd name="connsiteY10" fmla="*/ 0 h 3021442"/>
              <a:gd name="connsiteX0" fmla="*/ 446954 w 446954"/>
              <a:gd name="connsiteY0" fmla="*/ 2921000 h 3021442"/>
              <a:gd name="connsiteX1" fmla="*/ 404621 w 446954"/>
              <a:gd name="connsiteY1" fmla="*/ 2980266 h 3021442"/>
              <a:gd name="connsiteX2" fmla="*/ 252730 w 446954"/>
              <a:gd name="connsiteY2" fmla="*/ 3012744 h 3021442"/>
              <a:gd name="connsiteX3" fmla="*/ 118278 w 446954"/>
              <a:gd name="connsiteY3" fmla="*/ 2928076 h 3021442"/>
              <a:gd name="connsiteX4" fmla="*/ 17187 w 446954"/>
              <a:gd name="connsiteY4" fmla="*/ 2720630 h 3021442"/>
              <a:gd name="connsiteX5" fmla="*/ 15154 w 446954"/>
              <a:gd name="connsiteY5" fmla="*/ 2531533 h 3021442"/>
              <a:gd name="connsiteX6" fmla="*/ 94741 w 446954"/>
              <a:gd name="connsiteY6" fmla="*/ 1979631 h 3021442"/>
              <a:gd name="connsiteX7" fmla="*/ 164280 w 446954"/>
              <a:gd name="connsiteY7" fmla="*/ 1526342 h 3021442"/>
              <a:gd name="connsiteX8" fmla="*/ 258374 w 446954"/>
              <a:gd name="connsiteY8" fmla="*/ 922324 h 3021442"/>
              <a:gd name="connsiteX9" fmla="*/ 332654 w 446954"/>
              <a:gd name="connsiteY9" fmla="*/ 438104 h 3021442"/>
              <a:gd name="connsiteX10" fmla="*/ 398977 w 446954"/>
              <a:gd name="connsiteY10" fmla="*/ 0 h 3021442"/>
              <a:gd name="connsiteX0" fmla="*/ 446954 w 446954"/>
              <a:gd name="connsiteY0" fmla="*/ 2921000 h 3021442"/>
              <a:gd name="connsiteX1" fmla="*/ 404621 w 446954"/>
              <a:gd name="connsiteY1" fmla="*/ 2980266 h 3021442"/>
              <a:gd name="connsiteX2" fmla="*/ 252730 w 446954"/>
              <a:gd name="connsiteY2" fmla="*/ 3012744 h 3021442"/>
              <a:gd name="connsiteX3" fmla="*/ 118278 w 446954"/>
              <a:gd name="connsiteY3" fmla="*/ 2928076 h 3021442"/>
              <a:gd name="connsiteX4" fmla="*/ 17187 w 446954"/>
              <a:gd name="connsiteY4" fmla="*/ 2720630 h 3021442"/>
              <a:gd name="connsiteX5" fmla="*/ 15154 w 446954"/>
              <a:gd name="connsiteY5" fmla="*/ 2452477 h 3021442"/>
              <a:gd name="connsiteX6" fmla="*/ 94741 w 446954"/>
              <a:gd name="connsiteY6" fmla="*/ 1979631 h 3021442"/>
              <a:gd name="connsiteX7" fmla="*/ 164280 w 446954"/>
              <a:gd name="connsiteY7" fmla="*/ 1526342 h 3021442"/>
              <a:gd name="connsiteX8" fmla="*/ 258374 w 446954"/>
              <a:gd name="connsiteY8" fmla="*/ 922324 h 3021442"/>
              <a:gd name="connsiteX9" fmla="*/ 332654 w 446954"/>
              <a:gd name="connsiteY9" fmla="*/ 438104 h 3021442"/>
              <a:gd name="connsiteX10" fmla="*/ 398977 w 446954"/>
              <a:gd name="connsiteY10" fmla="*/ 0 h 302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6954" h="3021442">
                <a:moveTo>
                  <a:pt x="446954" y="2921000"/>
                </a:moveTo>
                <a:cubicBezTo>
                  <a:pt x="441309" y="2947105"/>
                  <a:pt x="436992" y="2964975"/>
                  <a:pt x="404621" y="2980266"/>
                </a:cubicBezTo>
                <a:cubicBezTo>
                  <a:pt x="372250" y="2995557"/>
                  <a:pt x="300454" y="3021442"/>
                  <a:pt x="252730" y="3012744"/>
                </a:cubicBezTo>
                <a:cubicBezTo>
                  <a:pt x="205006" y="3004046"/>
                  <a:pt x="157535" y="2976762"/>
                  <a:pt x="118278" y="2928076"/>
                </a:cubicBezTo>
                <a:cubicBezTo>
                  <a:pt x="79021" y="2879390"/>
                  <a:pt x="34374" y="2799896"/>
                  <a:pt x="17187" y="2720630"/>
                </a:cubicBezTo>
                <a:cubicBezTo>
                  <a:pt x="0" y="2641364"/>
                  <a:pt x="2228" y="2575977"/>
                  <a:pt x="15154" y="2452477"/>
                </a:cubicBezTo>
                <a:cubicBezTo>
                  <a:pt x="28080" y="2328977"/>
                  <a:pt x="69887" y="2133987"/>
                  <a:pt x="94741" y="1979631"/>
                </a:cubicBezTo>
                <a:cubicBezTo>
                  <a:pt x="119595" y="1825275"/>
                  <a:pt x="137008" y="1702560"/>
                  <a:pt x="164280" y="1526342"/>
                </a:cubicBezTo>
                <a:cubicBezTo>
                  <a:pt x="191552" y="1350124"/>
                  <a:pt x="230312" y="1103697"/>
                  <a:pt x="258374" y="922324"/>
                </a:cubicBezTo>
                <a:cubicBezTo>
                  <a:pt x="286436" y="740951"/>
                  <a:pt x="309220" y="591825"/>
                  <a:pt x="332654" y="438104"/>
                </a:cubicBezTo>
                <a:cubicBezTo>
                  <a:pt x="356088" y="284383"/>
                  <a:pt x="372871" y="96076"/>
                  <a:pt x="398977" y="0"/>
                </a:cubicBezTo>
              </a:path>
            </a:pathLst>
          </a:custGeom>
          <a:ln w="85725" cap="rnd" cmpd="tri">
            <a:gradFill>
              <a:gsLst>
                <a:gs pos="0">
                  <a:srgbClr val="FFC000"/>
                </a:gs>
                <a:gs pos="45000">
                  <a:srgbClr val="FF7A00"/>
                </a:gs>
                <a:gs pos="70000">
                  <a:srgbClr val="FF0300"/>
                </a:gs>
                <a:gs pos="100000">
                  <a:srgbClr val="4D0808"/>
                </a:gs>
              </a:gsLst>
              <a:lin ang="15000000" scaled="0"/>
            </a:gradFill>
            <a:prstDash val="sysDot"/>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prstClr val="black"/>
              </a:solidFill>
              <a:latin typeface="Century Gothic Pro" panose="020B0502020202020204" pitchFamily="34" charset="0"/>
            </a:endParaRPr>
          </a:p>
        </p:txBody>
      </p:sp>
      <p:sp>
        <p:nvSpPr>
          <p:cNvPr id="47" name="Oval 95"/>
          <p:cNvSpPr>
            <a:spLocks noChangeArrowheads="1"/>
          </p:cNvSpPr>
          <p:nvPr/>
        </p:nvSpPr>
        <p:spPr bwMode="auto">
          <a:xfrm>
            <a:off x="8192345" y="3748132"/>
            <a:ext cx="56071" cy="60715"/>
          </a:xfrm>
          <a:prstGeom prst="ellipse">
            <a:avLst/>
          </a:prstGeom>
          <a:solidFill>
            <a:srgbClr val="FFFF00"/>
          </a:solidFill>
          <a:ln w="9525">
            <a:noFill/>
            <a:prstDash val="dash"/>
            <a:round/>
            <a:headEnd/>
            <a:tailEnd/>
          </a:ln>
        </p:spPr>
        <p:txBody>
          <a:bodyPr anchor="ctr"/>
          <a:lstStyle/>
          <a:p>
            <a:pPr algn="ctr"/>
            <a:endParaRPr lang="en-US">
              <a:solidFill>
                <a:prstClr val="black"/>
              </a:solidFill>
              <a:latin typeface="Century Gothic Pro" panose="020B0502020202020204" pitchFamily="34" charset="0"/>
            </a:endParaRPr>
          </a:p>
        </p:txBody>
      </p:sp>
      <p:sp>
        <p:nvSpPr>
          <p:cNvPr id="48" name="Oval 82"/>
          <p:cNvSpPr>
            <a:spLocks noChangeArrowheads="1"/>
          </p:cNvSpPr>
          <p:nvPr/>
        </p:nvSpPr>
        <p:spPr bwMode="auto">
          <a:xfrm>
            <a:off x="8219332" y="3587794"/>
            <a:ext cx="57546" cy="60714"/>
          </a:xfrm>
          <a:prstGeom prst="ellipse">
            <a:avLst/>
          </a:prstGeom>
          <a:solidFill>
            <a:srgbClr val="FFFF00"/>
          </a:solidFill>
          <a:ln w="9525">
            <a:noFill/>
            <a:prstDash val="dash"/>
            <a:round/>
            <a:headEnd/>
            <a:tailEnd/>
          </a:ln>
        </p:spPr>
        <p:txBody>
          <a:bodyPr anchor="ctr"/>
          <a:lstStyle/>
          <a:p>
            <a:pPr algn="ctr"/>
            <a:endParaRPr lang="en-US">
              <a:solidFill>
                <a:prstClr val="black"/>
              </a:solidFill>
              <a:latin typeface="Century Gothic Pro" panose="020B0502020202020204" pitchFamily="34" charset="0"/>
            </a:endParaRPr>
          </a:p>
        </p:txBody>
      </p:sp>
      <p:sp>
        <p:nvSpPr>
          <p:cNvPr id="49" name="Oval 88"/>
          <p:cNvSpPr>
            <a:spLocks noChangeArrowheads="1"/>
          </p:cNvSpPr>
          <p:nvPr/>
        </p:nvSpPr>
        <p:spPr bwMode="auto">
          <a:xfrm>
            <a:off x="8244732" y="3435395"/>
            <a:ext cx="57546" cy="59158"/>
          </a:xfrm>
          <a:prstGeom prst="ellipse">
            <a:avLst/>
          </a:prstGeom>
          <a:solidFill>
            <a:srgbClr val="FFFF00"/>
          </a:solidFill>
          <a:ln w="9525">
            <a:noFill/>
            <a:prstDash val="dash"/>
            <a:round/>
            <a:headEnd/>
            <a:tailEnd/>
          </a:ln>
        </p:spPr>
        <p:txBody>
          <a:bodyPr anchor="ctr"/>
          <a:lstStyle/>
          <a:p>
            <a:pPr algn="ctr"/>
            <a:endParaRPr lang="en-US">
              <a:solidFill>
                <a:prstClr val="black"/>
              </a:solidFill>
              <a:latin typeface="Century Gothic Pro" panose="020B0502020202020204" pitchFamily="34" charset="0"/>
            </a:endParaRPr>
          </a:p>
        </p:txBody>
      </p:sp>
      <p:sp>
        <p:nvSpPr>
          <p:cNvPr id="50" name="Oval 101"/>
          <p:cNvSpPr>
            <a:spLocks noChangeArrowheads="1"/>
          </p:cNvSpPr>
          <p:nvPr/>
        </p:nvSpPr>
        <p:spPr bwMode="auto">
          <a:xfrm>
            <a:off x="8635505" y="3823497"/>
            <a:ext cx="56071" cy="60715"/>
          </a:xfrm>
          <a:prstGeom prst="ellipse">
            <a:avLst/>
          </a:prstGeom>
          <a:solidFill>
            <a:srgbClr val="FFFF00"/>
          </a:solidFill>
          <a:ln w="9525">
            <a:noFill/>
            <a:prstDash val="dash"/>
            <a:round/>
            <a:headEnd/>
            <a:tailEnd/>
          </a:ln>
        </p:spPr>
        <p:txBody>
          <a:bodyPr anchor="ctr"/>
          <a:lstStyle/>
          <a:p>
            <a:pPr algn="ctr"/>
            <a:endParaRPr lang="en-US">
              <a:solidFill>
                <a:prstClr val="black"/>
              </a:solidFill>
              <a:latin typeface="Century Gothic Pro" panose="020B0502020202020204" pitchFamily="34" charset="0"/>
            </a:endParaRPr>
          </a:p>
        </p:txBody>
      </p:sp>
      <p:sp>
        <p:nvSpPr>
          <p:cNvPr id="51" name="Oval 103"/>
          <p:cNvSpPr>
            <a:spLocks noChangeArrowheads="1"/>
          </p:cNvSpPr>
          <p:nvPr/>
        </p:nvSpPr>
        <p:spPr bwMode="auto">
          <a:xfrm>
            <a:off x="8624393" y="3658397"/>
            <a:ext cx="56071" cy="59158"/>
          </a:xfrm>
          <a:prstGeom prst="ellipse">
            <a:avLst/>
          </a:prstGeom>
          <a:solidFill>
            <a:srgbClr val="FFFF00"/>
          </a:solidFill>
          <a:ln w="9525">
            <a:noFill/>
            <a:prstDash val="dash"/>
            <a:round/>
            <a:headEnd/>
            <a:tailEnd/>
          </a:ln>
        </p:spPr>
        <p:txBody>
          <a:bodyPr anchor="ctr"/>
          <a:lstStyle/>
          <a:p>
            <a:pPr algn="ctr"/>
            <a:endParaRPr lang="en-US">
              <a:solidFill>
                <a:prstClr val="black"/>
              </a:solidFill>
              <a:latin typeface="Century Gothic Pro" panose="020B0502020202020204" pitchFamily="34" charset="0"/>
            </a:endParaRPr>
          </a:p>
        </p:txBody>
      </p:sp>
      <p:sp>
        <p:nvSpPr>
          <p:cNvPr id="52" name="Oval 104"/>
          <p:cNvSpPr>
            <a:spLocks noChangeArrowheads="1"/>
          </p:cNvSpPr>
          <p:nvPr/>
        </p:nvSpPr>
        <p:spPr bwMode="auto">
          <a:xfrm>
            <a:off x="8624393" y="3485806"/>
            <a:ext cx="57547" cy="59158"/>
          </a:xfrm>
          <a:prstGeom prst="ellipse">
            <a:avLst/>
          </a:prstGeom>
          <a:solidFill>
            <a:srgbClr val="FFFF00"/>
          </a:solidFill>
          <a:ln w="9525">
            <a:noFill/>
            <a:prstDash val="dash"/>
            <a:round/>
            <a:headEnd/>
            <a:tailEnd/>
          </a:ln>
        </p:spPr>
        <p:txBody>
          <a:bodyPr anchor="ctr"/>
          <a:lstStyle/>
          <a:p>
            <a:pPr algn="ctr"/>
            <a:endParaRPr lang="en-US">
              <a:solidFill>
                <a:prstClr val="black"/>
              </a:solidFill>
              <a:latin typeface="Century Gothic Pro" panose="020B0502020202020204" pitchFamily="34" charset="0"/>
            </a:endParaRPr>
          </a:p>
        </p:txBody>
      </p:sp>
      <p:sp>
        <p:nvSpPr>
          <p:cNvPr id="53" name="Freeform 52"/>
          <p:cNvSpPr/>
          <p:nvPr/>
        </p:nvSpPr>
        <p:spPr>
          <a:xfrm>
            <a:off x="8187664" y="4892248"/>
            <a:ext cx="286554" cy="544876"/>
          </a:xfrm>
          <a:custGeom>
            <a:avLst/>
            <a:gdLst>
              <a:gd name="connsiteX0" fmla="*/ 87489 w 316089"/>
              <a:gd name="connsiteY0" fmla="*/ 579967 h 605367"/>
              <a:gd name="connsiteX1" fmla="*/ 121355 w 316089"/>
              <a:gd name="connsiteY1" fmla="*/ 486833 h 605367"/>
              <a:gd name="connsiteX2" fmla="*/ 62089 w 316089"/>
              <a:gd name="connsiteY2" fmla="*/ 385233 h 605367"/>
              <a:gd name="connsiteX3" fmla="*/ 19755 w 316089"/>
              <a:gd name="connsiteY3" fmla="*/ 266700 h 605367"/>
              <a:gd name="connsiteX4" fmla="*/ 180622 w 316089"/>
              <a:gd name="connsiteY4" fmla="*/ 4233 h 605367"/>
              <a:gd name="connsiteX5" fmla="*/ 307622 w 316089"/>
              <a:gd name="connsiteY5" fmla="*/ 241300 h 605367"/>
              <a:gd name="connsiteX6" fmla="*/ 231422 w 316089"/>
              <a:gd name="connsiteY6" fmla="*/ 495300 h 605367"/>
              <a:gd name="connsiteX7" fmla="*/ 282222 w 316089"/>
              <a:gd name="connsiteY7" fmla="*/ 605367 h 605367"/>
              <a:gd name="connsiteX0" fmla="*/ 87489 w 316089"/>
              <a:gd name="connsiteY0" fmla="*/ 579967 h 605367"/>
              <a:gd name="connsiteX1" fmla="*/ 61166 w 316089"/>
              <a:gd name="connsiteY1" fmla="*/ 402035 h 605367"/>
              <a:gd name="connsiteX2" fmla="*/ 62089 w 316089"/>
              <a:gd name="connsiteY2" fmla="*/ 385233 h 605367"/>
              <a:gd name="connsiteX3" fmla="*/ 19755 w 316089"/>
              <a:gd name="connsiteY3" fmla="*/ 266700 h 605367"/>
              <a:gd name="connsiteX4" fmla="*/ 180622 w 316089"/>
              <a:gd name="connsiteY4" fmla="*/ 4233 h 605367"/>
              <a:gd name="connsiteX5" fmla="*/ 307622 w 316089"/>
              <a:gd name="connsiteY5" fmla="*/ 241300 h 605367"/>
              <a:gd name="connsiteX6" fmla="*/ 231422 w 316089"/>
              <a:gd name="connsiteY6" fmla="*/ 495300 h 605367"/>
              <a:gd name="connsiteX7" fmla="*/ 282222 w 316089"/>
              <a:gd name="connsiteY7" fmla="*/ 605367 h 605367"/>
              <a:gd name="connsiteX0" fmla="*/ 76815 w 305415"/>
              <a:gd name="connsiteY0" fmla="*/ 578024 h 603424"/>
              <a:gd name="connsiteX1" fmla="*/ 50492 w 305415"/>
              <a:gd name="connsiteY1" fmla="*/ 400092 h 603424"/>
              <a:gd name="connsiteX2" fmla="*/ 51415 w 305415"/>
              <a:gd name="connsiteY2" fmla="*/ 383290 h 603424"/>
              <a:gd name="connsiteX3" fmla="*/ 19755 w 305415"/>
              <a:gd name="connsiteY3" fmla="*/ 225619 h 603424"/>
              <a:gd name="connsiteX4" fmla="*/ 169948 w 305415"/>
              <a:gd name="connsiteY4" fmla="*/ 2290 h 603424"/>
              <a:gd name="connsiteX5" fmla="*/ 296948 w 305415"/>
              <a:gd name="connsiteY5" fmla="*/ 239357 h 603424"/>
              <a:gd name="connsiteX6" fmla="*/ 220748 w 305415"/>
              <a:gd name="connsiteY6" fmla="*/ 493357 h 603424"/>
              <a:gd name="connsiteX7" fmla="*/ 271548 w 305415"/>
              <a:gd name="connsiteY7" fmla="*/ 603424 h 603424"/>
              <a:gd name="connsiteX0" fmla="*/ 73257 w 305415"/>
              <a:gd name="connsiteY0" fmla="*/ 521096 h 603424"/>
              <a:gd name="connsiteX1" fmla="*/ 50492 w 305415"/>
              <a:gd name="connsiteY1" fmla="*/ 400092 h 603424"/>
              <a:gd name="connsiteX2" fmla="*/ 51415 w 305415"/>
              <a:gd name="connsiteY2" fmla="*/ 383290 h 603424"/>
              <a:gd name="connsiteX3" fmla="*/ 19755 w 305415"/>
              <a:gd name="connsiteY3" fmla="*/ 225619 h 603424"/>
              <a:gd name="connsiteX4" fmla="*/ 169948 w 305415"/>
              <a:gd name="connsiteY4" fmla="*/ 2290 h 603424"/>
              <a:gd name="connsiteX5" fmla="*/ 296948 w 305415"/>
              <a:gd name="connsiteY5" fmla="*/ 239357 h 603424"/>
              <a:gd name="connsiteX6" fmla="*/ 220748 w 305415"/>
              <a:gd name="connsiteY6" fmla="*/ 493357 h 603424"/>
              <a:gd name="connsiteX7" fmla="*/ 271548 w 305415"/>
              <a:gd name="connsiteY7" fmla="*/ 603424 h 603424"/>
              <a:gd name="connsiteX0" fmla="*/ 56456 w 288614"/>
              <a:gd name="connsiteY0" fmla="*/ 540335 h 622663"/>
              <a:gd name="connsiteX1" fmla="*/ 33691 w 288614"/>
              <a:gd name="connsiteY1" fmla="*/ 419331 h 622663"/>
              <a:gd name="connsiteX2" fmla="*/ 34614 w 288614"/>
              <a:gd name="connsiteY2" fmla="*/ 402529 h 622663"/>
              <a:gd name="connsiteX3" fmla="*/ 2954 w 288614"/>
              <a:gd name="connsiteY3" fmla="*/ 244858 h 622663"/>
              <a:gd name="connsiteX4" fmla="*/ 52338 w 288614"/>
              <a:gd name="connsiteY4" fmla="*/ 129421 h 622663"/>
              <a:gd name="connsiteX5" fmla="*/ 153147 w 288614"/>
              <a:gd name="connsiteY5" fmla="*/ 21529 h 622663"/>
              <a:gd name="connsiteX6" fmla="*/ 280147 w 288614"/>
              <a:gd name="connsiteY6" fmla="*/ 258596 h 622663"/>
              <a:gd name="connsiteX7" fmla="*/ 203947 w 288614"/>
              <a:gd name="connsiteY7" fmla="*/ 512596 h 622663"/>
              <a:gd name="connsiteX8" fmla="*/ 254747 w 288614"/>
              <a:gd name="connsiteY8" fmla="*/ 622663 h 622663"/>
              <a:gd name="connsiteX0" fmla="*/ 56456 w 281547"/>
              <a:gd name="connsiteY0" fmla="*/ 554792 h 637120"/>
              <a:gd name="connsiteX1" fmla="*/ 33691 w 281547"/>
              <a:gd name="connsiteY1" fmla="*/ 433788 h 637120"/>
              <a:gd name="connsiteX2" fmla="*/ 34614 w 281547"/>
              <a:gd name="connsiteY2" fmla="*/ 416986 h 637120"/>
              <a:gd name="connsiteX3" fmla="*/ 2954 w 281547"/>
              <a:gd name="connsiteY3" fmla="*/ 259315 h 637120"/>
              <a:gd name="connsiteX4" fmla="*/ 52338 w 281547"/>
              <a:gd name="connsiteY4" fmla="*/ 143878 h 637120"/>
              <a:gd name="connsiteX5" fmla="*/ 153147 w 281547"/>
              <a:gd name="connsiteY5" fmla="*/ 35986 h 637120"/>
              <a:gd name="connsiteX6" fmla="*/ 195546 w 281547"/>
              <a:gd name="connsiteY6" fmla="*/ 39511 h 637120"/>
              <a:gd name="connsiteX7" fmla="*/ 280147 w 281547"/>
              <a:gd name="connsiteY7" fmla="*/ 273053 h 637120"/>
              <a:gd name="connsiteX8" fmla="*/ 203947 w 281547"/>
              <a:gd name="connsiteY8" fmla="*/ 527053 h 637120"/>
              <a:gd name="connsiteX9" fmla="*/ 254747 w 281547"/>
              <a:gd name="connsiteY9" fmla="*/ 637120 h 637120"/>
              <a:gd name="connsiteX0" fmla="*/ 56456 w 281547"/>
              <a:gd name="connsiteY0" fmla="*/ 554792 h 554792"/>
              <a:gd name="connsiteX1" fmla="*/ 33691 w 281547"/>
              <a:gd name="connsiteY1" fmla="*/ 433788 h 554792"/>
              <a:gd name="connsiteX2" fmla="*/ 34614 w 281547"/>
              <a:gd name="connsiteY2" fmla="*/ 416986 h 554792"/>
              <a:gd name="connsiteX3" fmla="*/ 2954 w 281547"/>
              <a:gd name="connsiteY3" fmla="*/ 259315 h 554792"/>
              <a:gd name="connsiteX4" fmla="*/ 52338 w 281547"/>
              <a:gd name="connsiteY4" fmla="*/ 143878 h 554792"/>
              <a:gd name="connsiteX5" fmla="*/ 153147 w 281547"/>
              <a:gd name="connsiteY5" fmla="*/ 35986 h 554792"/>
              <a:gd name="connsiteX6" fmla="*/ 195546 w 281547"/>
              <a:gd name="connsiteY6" fmla="*/ 39511 h 554792"/>
              <a:gd name="connsiteX7" fmla="*/ 280147 w 281547"/>
              <a:gd name="connsiteY7" fmla="*/ 273053 h 554792"/>
              <a:gd name="connsiteX8" fmla="*/ 203947 w 281547"/>
              <a:gd name="connsiteY8" fmla="*/ 527053 h 554792"/>
              <a:gd name="connsiteX0" fmla="*/ 56456 w 286291"/>
              <a:gd name="connsiteY0" fmla="*/ 554792 h 583981"/>
              <a:gd name="connsiteX1" fmla="*/ 33691 w 286291"/>
              <a:gd name="connsiteY1" fmla="*/ 433788 h 583981"/>
              <a:gd name="connsiteX2" fmla="*/ 34614 w 286291"/>
              <a:gd name="connsiteY2" fmla="*/ 416986 h 583981"/>
              <a:gd name="connsiteX3" fmla="*/ 2954 w 286291"/>
              <a:gd name="connsiteY3" fmla="*/ 259315 h 583981"/>
              <a:gd name="connsiteX4" fmla="*/ 52338 w 286291"/>
              <a:gd name="connsiteY4" fmla="*/ 143878 h 583981"/>
              <a:gd name="connsiteX5" fmla="*/ 153147 w 286291"/>
              <a:gd name="connsiteY5" fmla="*/ 35986 h 583981"/>
              <a:gd name="connsiteX6" fmla="*/ 195546 w 286291"/>
              <a:gd name="connsiteY6" fmla="*/ 39511 h 583981"/>
              <a:gd name="connsiteX7" fmla="*/ 280147 w 286291"/>
              <a:gd name="connsiteY7" fmla="*/ 273053 h 583981"/>
              <a:gd name="connsiteX8" fmla="*/ 232410 w 286291"/>
              <a:gd name="connsiteY8" fmla="*/ 583981 h 583981"/>
              <a:gd name="connsiteX0" fmla="*/ 56456 w 286439"/>
              <a:gd name="connsiteY0" fmla="*/ 554792 h 554792"/>
              <a:gd name="connsiteX1" fmla="*/ 33691 w 286439"/>
              <a:gd name="connsiteY1" fmla="*/ 433788 h 554792"/>
              <a:gd name="connsiteX2" fmla="*/ 34614 w 286439"/>
              <a:gd name="connsiteY2" fmla="*/ 416986 h 554792"/>
              <a:gd name="connsiteX3" fmla="*/ 2954 w 286439"/>
              <a:gd name="connsiteY3" fmla="*/ 259315 h 554792"/>
              <a:gd name="connsiteX4" fmla="*/ 52338 w 286439"/>
              <a:gd name="connsiteY4" fmla="*/ 143878 h 554792"/>
              <a:gd name="connsiteX5" fmla="*/ 153147 w 286439"/>
              <a:gd name="connsiteY5" fmla="*/ 35986 h 554792"/>
              <a:gd name="connsiteX6" fmla="*/ 195546 w 286439"/>
              <a:gd name="connsiteY6" fmla="*/ 39511 h 554792"/>
              <a:gd name="connsiteX7" fmla="*/ 280147 w 286439"/>
              <a:gd name="connsiteY7" fmla="*/ 273053 h 554792"/>
              <a:gd name="connsiteX8" fmla="*/ 233299 w 286439"/>
              <a:gd name="connsiteY8" fmla="*/ 524088 h 554792"/>
              <a:gd name="connsiteX0" fmla="*/ 56456 w 285780"/>
              <a:gd name="connsiteY0" fmla="*/ 554792 h 554792"/>
              <a:gd name="connsiteX1" fmla="*/ 33691 w 285780"/>
              <a:gd name="connsiteY1" fmla="*/ 433788 h 554792"/>
              <a:gd name="connsiteX2" fmla="*/ 34614 w 285780"/>
              <a:gd name="connsiteY2" fmla="*/ 416986 h 554792"/>
              <a:gd name="connsiteX3" fmla="*/ 2954 w 285780"/>
              <a:gd name="connsiteY3" fmla="*/ 259315 h 554792"/>
              <a:gd name="connsiteX4" fmla="*/ 52338 w 285780"/>
              <a:gd name="connsiteY4" fmla="*/ 143878 h 554792"/>
              <a:gd name="connsiteX5" fmla="*/ 153147 w 285780"/>
              <a:gd name="connsiteY5" fmla="*/ 35986 h 554792"/>
              <a:gd name="connsiteX6" fmla="*/ 195546 w 285780"/>
              <a:gd name="connsiteY6" fmla="*/ 39511 h 554792"/>
              <a:gd name="connsiteX7" fmla="*/ 280147 w 285780"/>
              <a:gd name="connsiteY7" fmla="*/ 273053 h 554792"/>
              <a:gd name="connsiteX8" fmla="*/ 229347 w 285780"/>
              <a:gd name="connsiteY8" fmla="*/ 552453 h 554792"/>
              <a:gd name="connsiteX0" fmla="*/ 56752 w 285780"/>
              <a:gd name="connsiteY0" fmla="*/ 534037 h 552453"/>
              <a:gd name="connsiteX1" fmla="*/ 33691 w 285780"/>
              <a:gd name="connsiteY1" fmla="*/ 433788 h 552453"/>
              <a:gd name="connsiteX2" fmla="*/ 34614 w 285780"/>
              <a:gd name="connsiteY2" fmla="*/ 416986 h 552453"/>
              <a:gd name="connsiteX3" fmla="*/ 2954 w 285780"/>
              <a:gd name="connsiteY3" fmla="*/ 259315 h 552453"/>
              <a:gd name="connsiteX4" fmla="*/ 52338 w 285780"/>
              <a:gd name="connsiteY4" fmla="*/ 143878 h 552453"/>
              <a:gd name="connsiteX5" fmla="*/ 153147 w 285780"/>
              <a:gd name="connsiteY5" fmla="*/ 35986 h 552453"/>
              <a:gd name="connsiteX6" fmla="*/ 195546 w 285780"/>
              <a:gd name="connsiteY6" fmla="*/ 39511 h 552453"/>
              <a:gd name="connsiteX7" fmla="*/ 280147 w 285780"/>
              <a:gd name="connsiteY7" fmla="*/ 273053 h 552453"/>
              <a:gd name="connsiteX8" fmla="*/ 229347 w 285780"/>
              <a:gd name="connsiteY8" fmla="*/ 552453 h 552453"/>
              <a:gd name="connsiteX0" fmla="*/ 56752 w 285780"/>
              <a:gd name="connsiteY0" fmla="*/ 534037 h 552453"/>
              <a:gd name="connsiteX1" fmla="*/ 44772 w 285780"/>
              <a:gd name="connsiteY1" fmla="*/ 495449 h 552453"/>
              <a:gd name="connsiteX2" fmla="*/ 33691 w 285780"/>
              <a:gd name="connsiteY2" fmla="*/ 433788 h 552453"/>
              <a:gd name="connsiteX3" fmla="*/ 34614 w 285780"/>
              <a:gd name="connsiteY3" fmla="*/ 416986 h 552453"/>
              <a:gd name="connsiteX4" fmla="*/ 2954 w 285780"/>
              <a:gd name="connsiteY4" fmla="*/ 259315 h 552453"/>
              <a:gd name="connsiteX5" fmla="*/ 52338 w 285780"/>
              <a:gd name="connsiteY5" fmla="*/ 143878 h 552453"/>
              <a:gd name="connsiteX6" fmla="*/ 153147 w 285780"/>
              <a:gd name="connsiteY6" fmla="*/ 35986 h 552453"/>
              <a:gd name="connsiteX7" fmla="*/ 195546 w 285780"/>
              <a:gd name="connsiteY7" fmla="*/ 39511 h 552453"/>
              <a:gd name="connsiteX8" fmla="*/ 280147 w 285780"/>
              <a:gd name="connsiteY8" fmla="*/ 273053 h 552453"/>
              <a:gd name="connsiteX9" fmla="*/ 229347 w 285780"/>
              <a:gd name="connsiteY9" fmla="*/ 552453 h 552453"/>
              <a:gd name="connsiteX0" fmla="*/ 56752 w 285780"/>
              <a:gd name="connsiteY0" fmla="*/ 534037 h 552453"/>
              <a:gd name="connsiteX1" fmla="*/ 44772 w 285780"/>
              <a:gd name="connsiteY1" fmla="*/ 495449 h 552453"/>
              <a:gd name="connsiteX2" fmla="*/ 33691 w 285780"/>
              <a:gd name="connsiteY2" fmla="*/ 433788 h 552453"/>
              <a:gd name="connsiteX3" fmla="*/ 34614 w 285780"/>
              <a:gd name="connsiteY3" fmla="*/ 416986 h 552453"/>
              <a:gd name="connsiteX4" fmla="*/ 2954 w 285780"/>
              <a:gd name="connsiteY4" fmla="*/ 259315 h 552453"/>
              <a:gd name="connsiteX5" fmla="*/ 52338 w 285780"/>
              <a:gd name="connsiteY5" fmla="*/ 143878 h 552453"/>
              <a:gd name="connsiteX6" fmla="*/ 153147 w 285780"/>
              <a:gd name="connsiteY6" fmla="*/ 35986 h 552453"/>
              <a:gd name="connsiteX7" fmla="*/ 195546 w 285780"/>
              <a:gd name="connsiteY7" fmla="*/ 39511 h 552453"/>
              <a:gd name="connsiteX8" fmla="*/ 280147 w 285780"/>
              <a:gd name="connsiteY8" fmla="*/ 273053 h 552453"/>
              <a:gd name="connsiteX9" fmla="*/ 229347 w 285780"/>
              <a:gd name="connsiteY9" fmla="*/ 552453 h 552453"/>
              <a:gd name="connsiteX0" fmla="*/ 44772 w 285780"/>
              <a:gd name="connsiteY0" fmla="*/ 495449 h 552453"/>
              <a:gd name="connsiteX1" fmla="*/ 33691 w 285780"/>
              <a:gd name="connsiteY1" fmla="*/ 433788 h 552453"/>
              <a:gd name="connsiteX2" fmla="*/ 34614 w 285780"/>
              <a:gd name="connsiteY2" fmla="*/ 416986 h 552453"/>
              <a:gd name="connsiteX3" fmla="*/ 2954 w 285780"/>
              <a:gd name="connsiteY3" fmla="*/ 259315 h 552453"/>
              <a:gd name="connsiteX4" fmla="*/ 52338 w 285780"/>
              <a:gd name="connsiteY4" fmla="*/ 143878 h 552453"/>
              <a:gd name="connsiteX5" fmla="*/ 153147 w 285780"/>
              <a:gd name="connsiteY5" fmla="*/ 35986 h 552453"/>
              <a:gd name="connsiteX6" fmla="*/ 195546 w 285780"/>
              <a:gd name="connsiteY6" fmla="*/ 39511 h 552453"/>
              <a:gd name="connsiteX7" fmla="*/ 280147 w 285780"/>
              <a:gd name="connsiteY7" fmla="*/ 273053 h 552453"/>
              <a:gd name="connsiteX8" fmla="*/ 229347 w 285780"/>
              <a:gd name="connsiteY8" fmla="*/ 552453 h 552453"/>
              <a:gd name="connsiteX0" fmla="*/ 44772 w 310686"/>
              <a:gd name="connsiteY0" fmla="*/ 495449 h 552453"/>
              <a:gd name="connsiteX1" fmla="*/ 33691 w 310686"/>
              <a:gd name="connsiteY1" fmla="*/ 433788 h 552453"/>
              <a:gd name="connsiteX2" fmla="*/ 34614 w 310686"/>
              <a:gd name="connsiteY2" fmla="*/ 416986 h 552453"/>
              <a:gd name="connsiteX3" fmla="*/ 2954 w 310686"/>
              <a:gd name="connsiteY3" fmla="*/ 259315 h 552453"/>
              <a:gd name="connsiteX4" fmla="*/ 52338 w 310686"/>
              <a:gd name="connsiteY4" fmla="*/ 143878 h 552453"/>
              <a:gd name="connsiteX5" fmla="*/ 153147 w 310686"/>
              <a:gd name="connsiteY5" fmla="*/ 35986 h 552453"/>
              <a:gd name="connsiteX6" fmla="*/ 195546 w 310686"/>
              <a:gd name="connsiteY6" fmla="*/ 39511 h 552453"/>
              <a:gd name="connsiteX7" fmla="*/ 305053 w 310686"/>
              <a:gd name="connsiteY7" fmla="*/ 273053 h 552453"/>
              <a:gd name="connsiteX8" fmla="*/ 229347 w 310686"/>
              <a:gd name="connsiteY8" fmla="*/ 552453 h 552453"/>
              <a:gd name="connsiteX0" fmla="*/ 44772 w 314837"/>
              <a:gd name="connsiteY0" fmla="*/ 495449 h 556011"/>
              <a:gd name="connsiteX1" fmla="*/ 33691 w 314837"/>
              <a:gd name="connsiteY1" fmla="*/ 433788 h 556011"/>
              <a:gd name="connsiteX2" fmla="*/ 34614 w 314837"/>
              <a:gd name="connsiteY2" fmla="*/ 416986 h 556011"/>
              <a:gd name="connsiteX3" fmla="*/ 2954 w 314837"/>
              <a:gd name="connsiteY3" fmla="*/ 259315 h 556011"/>
              <a:gd name="connsiteX4" fmla="*/ 52338 w 314837"/>
              <a:gd name="connsiteY4" fmla="*/ 143878 h 556011"/>
              <a:gd name="connsiteX5" fmla="*/ 153147 w 314837"/>
              <a:gd name="connsiteY5" fmla="*/ 35986 h 556011"/>
              <a:gd name="connsiteX6" fmla="*/ 195546 w 314837"/>
              <a:gd name="connsiteY6" fmla="*/ 39511 h 556011"/>
              <a:gd name="connsiteX7" fmla="*/ 305053 w 314837"/>
              <a:gd name="connsiteY7" fmla="*/ 273053 h 556011"/>
              <a:gd name="connsiteX8" fmla="*/ 254253 w 314837"/>
              <a:gd name="connsiteY8" fmla="*/ 556011 h 556011"/>
              <a:gd name="connsiteX0" fmla="*/ 44926 w 314991"/>
              <a:gd name="connsiteY0" fmla="*/ 495449 h 556011"/>
              <a:gd name="connsiteX1" fmla="*/ 33845 w 314991"/>
              <a:gd name="connsiteY1" fmla="*/ 433788 h 556011"/>
              <a:gd name="connsiteX2" fmla="*/ 3108 w 314991"/>
              <a:gd name="connsiteY2" fmla="*/ 259315 h 556011"/>
              <a:gd name="connsiteX3" fmla="*/ 52492 w 314991"/>
              <a:gd name="connsiteY3" fmla="*/ 143878 h 556011"/>
              <a:gd name="connsiteX4" fmla="*/ 153301 w 314991"/>
              <a:gd name="connsiteY4" fmla="*/ 35986 h 556011"/>
              <a:gd name="connsiteX5" fmla="*/ 195700 w 314991"/>
              <a:gd name="connsiteY5" fmla="*/ 39511 h 556011"/>
              <a:gd name="connsiteX6" fmla="*/ 305207 w 314991"/>
              <a:gd name="connsiteY6" fmla="*/ 273053 h 556011"/>
              <a:gd name="connsiteX7" fmla="*/ 254407 w 314991"/>
              <a:gd name="connsiteY7" fmla="*/ 556011 h 556011"/>
              <a:gd name="connsiteX0" fmla="*/ 44926 w 315544"/>
              <a:gd name="connsiteY0" fmla="*/ 495449 h 632211"/>
              <a:gd name="connsiteX1" fmla="*/ 33845 w 315544"/>
              <a:gd name="connsiteY1" fmla="*/ 433788 h 632211"/>
              <a:gd name="connsiteX2" fmla="*/ 3108 w 315544"/>
              <a:gd name="connsiteY2" fmla="*/ 259315 h 632211"/>
              <a:gd name="connsiteX3" fmla="*/ 52492 w 315544"/>
              <a:gd name="connsiteY3" fmla="*/ 143878 h 632211"/>
              <a:gd name="connsiteX4" fmla="*/ 153301 w 315544"/>
              <a:gd name="connsiteY4" fmla="*/ 35986 h 632211"/>
              <a:gd name="connsiteX5" fmla="*/ 195700 w 315544"/>
              <a:gd name="connsiteY5" fmla="*/ 39511 h 632211"/>
              <a:gd name="connsiteX6" fmla="*/ 305207 w 315544"/>
              <a:gd name="connsiteY6" fmla="*/ 273053 h 632211"/>
              <a:gd name="connsiteX7" fmla="*/ 257720 w 315544"/>
              <a:gd name="connsiteY7" fmla="*/ 632211 h 632211"/>
              <a:gd name="connsiteX0" fmla="*/ 44926 w 315544"/>
              <a:gd name="connsiteY0" fmla="*/ 495449 h 632211"/>
              <a:gd name="connsiteX1" fmla="*/ 64430 w 315544"/>
              <a:gd name="connsiteY1" fmla="*/ 556011 h 632211"/>
              <a:gd name="connsiteX2" fmla="*/ 33845 w 315544"/>
              <a:gd name="connsiteY2" fmla="*/ 433788 h 632211"/>
              <a:gd name="connsiteX3" fmla="*/ 3108 w 315544"/>
              <a:gd name="connsiteY3" fmla="*/ 259315 h 632211"/>
              <a:gd name="connsiteX4" fmla="*/ 52492 w 315544"/>
              <a:gd name="connsiteY4" fmla="*/ 143878 h 632211"/>
              <a:gd name="connsiteX5" fmla="*/ 153301 w 315544"/>
              <a:gd name="connsiteY5" fmla="*/ 35986 h 632211"/>
              <a:gd name="connsiteX6" fmla="*/ 195700 w 315544"/>
              <a:gd name="connsiteY6" fmla="*/ 39511 h 632211"/>
              <a:gd name="connsiteX7" fmla="*/ 305207 w 315544"/>
              <a:gd name="connsiteY7" fmla="*/ 273053 h 632211"/>
              <a:gd name="connsiteX8" fmla="*/ 257720 w 315544"/>
              <a:gd name="connsiteY8" fmla="*/ 632211 h 632211"/>
              <a:gd name="connsiteX0" fmla="*/ 44926 w 315544"/>
              <a:gd name="connsiteY0" fmla="*/ 495449 h 566288"/>
              <a:gd name="connsiteX1" fmla="*/ 64430 w 315544"/>
              <a:gd name="connsiteY1" fmla="*/ 556011 h 566288"/>
              <a:gd name="connsiteX2" fmla="*/ 33845 w 315544"/>
              <a:gd name="connsiteY2" fmla="*/ 433788 h 566288"/>
              <a:gd name="connsiteX3" fmla="*/ 3108 w 315544"/>
              <a:gd name="connsiteY3" fmla="*/ 259315 h 566288"/>
              <a:gd name="connsiteX4" fmla="*/ 52492 w 315544"/>
              <a:gd name="connsiteY4" fmla="*/ 143878 h 566288"/>
              <a:gd name="connsiteX5" fmla="*/ 153301 w 315544"/>
              <a:gd name="connsiteY5" fmla="*/ 35986 h 566288"/>
              <a:gd name="connsiteX6" fmla="*/ 195700 w 315544"/>
              <a:gd name="connsiteY6" fmla="*/ 39511 h 566288"/>
              <a:gd name="connsiteX7" fmla="*/ 305207 w 315544"/>
              <a:gd name="connsiteY7" fmla="*/ 273053 h 566288"/>
              <a:gd name="connsiteX8" fmla="*/ 257720 w 315544"/>
              <a:gd name="connsiteY8" fmla="*/ 556011 h 566288"/>
              <a:gd name="connsiteX0" fmla="*/ 50023 w 320641"/>
              <a:gd name="connsiteY0" fmla="*/ 495449 h 566288"/>
              <a:gd name="connsiteX1" fmla="*/ 69527 w 320641"/>
              <a:gd name="connsiteY1" fmla="*/ 556011 h 566288"/>
              <a:gd name="connsiteX2" fmla="*/ 5097 w 320641"/>
              <a:gd name="connsiteY2" fmla="*/ 403611 h 566288"/>
              <a:gd name="connsiteX3" fmla="*/ 38942 w 320641"/>
              <a:gd name="connsiteY3" fmla="*/ 433788 h 566288"/>
              <a:gd name="connsiteX4" fmla="*/ 8205 w 320641"/>
              <a:gd name="connsiteY4" fmla="*/ 259315 h 566288"/>
              <a:gd name="connsiteX5" fmla="*/ 57589 w 320641"/>
              <a:gd name="connsiteY5" fmla="*/ 143878 h 566288"/>
              <a:gd name="connsiteX6" fmla="*/ 158398 w 320641"/>
              <a:gd name="connsiteY6" fmla="*/ 35986 h 566288"/>
              <a:gd name="connsiteX7" fmla="*/ 200797 w 320641"/>
              <a:gd name="connsiteY7" fmla="*/ 39511 h 566288"/>
              <a:gd name="connsiteX8" fmla="*/ 310304 w 320641"/>
              <a:gd name="connsiteY8" fmla="*/ 273053 h 566288"/>
              <a:gd name="connsiteX9" fmla="*/ 262817 w 320641"/>
              <a:gd name="connsiteY9" fmla="*/ 556011 h 566288"/>
              <a:gd name="connsiteX0" fmla="*/ 50023 w 320641"/>
              <a:gd name="connsiteY0" fmla="*/ 495449 h 566288"/>
              <a:gd name="connsiteX1" fmla="*/ 69527 w 320641"/>
              <a:gd name="connsiteY1" fmla="*/ 556011 h 566288"/>
              <a:gd name="connsiteX2" fmla="*/ 5097 w 320641"/>
              <a:gd name="connsiteY2" fmla="*/ 403611 h 566288"/>
              <a:gd name="connsiteX3" fmla="*/ 38942 w 320641"/>
              <a:gd name="connsiteY3" fmla="*/ 433788 h 566288"/>
              <a:gd name="connsiteX4" fmla="*/ 8205 w 320641"/>
              <a:gd name="connsiteY4" fmla="*/ 259315 h 566288"/>
              <a:gd name="connsiteX5" fmla="*/ 57589 w 320641"/>
              <a:gd name="connsiteY5" fmla="*/ 143878 h 566288"/>
              <a:gd name="connsiteX6" fmla="*/ 158398 w 320641"/>
              <a:gd name="connsiteY6" fmla="*/ 35986 h 566288"/>
              <a:gd name="connsiteX7" fmla="*/ 200797 w 320641"/>
              <a:gd name="connsiteY7" fmla="*/ 39511 h 566288"/>
              <a:gd name="connsiteX8" fmla="*/ 310304 w 320641"/>
              <a:gd name="connsiteY8" fmla="*/ 273053 h 566288"/>
              <a:gd name="connsiteX9" fmla="*/ 262817 w 320641"/>
              <a:gd name="connsiteY9" fmla="*/ 556011 h 566288"/>
              <a:gd name="connsiteX0" fmla="*/ 46773 w 317391"/>
              <a:gd name="connsiteY0" fmla="*/ 495449 h 556011"/>
              <a:gd name="connsiteX1" fmla="*/ 1847 w 317391"/>
              <a:gd name="connsiteY1" fmla="*/ 403611 h 556011"/>
              <a:gd name="connsiteX2" fmla="*/ 35692 w 317391"/>
              <a:gd name="connsiteY2" fmla="*/ 433788 h 556011"/>
              <a:gd name="connsiteX3" fmla="*/ 4955 w 317391"/>
              <a:gd name="connsiteY3" fmla="*/ 259315 h 556011"/>
              <a:gd name="connsiteX4" fmla="*/ 54339 w 317391"/>
              <a:gd name="connsiteY4" fmla="*/ 143878 h 556011"/>
              <a:gd name="connsiteX5" fmla="*/ 155148 w 317391"/>
              <a:gd name="connsiteY5" fmla="*/ 35986 h 556011"/>
              <a:gd name="connsiteX6" fmla="*/ 197547 w 317391"/>
              <a:gd name="connsiteY6" fmla="*/ 39511 h 556011"/>
              <a:gd name="connsiteX7" fmla="*/ 307054 w 317391"/>
              <a:gd name="connsiteY7" fmla="*/ 273053 h 556011"/>
              <a:gd name="connsiteX8" fmla="*/ 259567 w 317391"/>
              <a:gd name="connsiteY8" fmla="*/ 556011 h 556011"/>
              <a:gd name="connsiteX0" fmla="*/ 69527 w 320641"/>
              <a:gd name="connsiteY0" fmla="*/ 556012 h 556012"/>
              <a:gd name="connsiteX1" fmla="*/ 5097 w 320641"/>
              <a:gd name="connsiteY1" fmla="*/ 403611 h 556012"/>
              <a:gd name="connsiteX2" fmla="*/ 38942 w 320641"/>
              <a:gd name="connsiteY2" fmla="*/ 433788 h 556012"/>
              <a:gd name="connsiteX3" fmla="*/ 8205 w 320641"/>
              <a:gd name="connsiteY3" fmla="*/ 259315 h 556012"/>
              <a:gd name="connsiteX4" fmla="*/ 57589 w 320641"/>
              <a:gd name="connsiteY4" fmla="*/ 143878 h 556012"/>
              <a:gd name="connsiteX5" fmla="*/ 158398 w 320641"/>
              <a:gd name="connsiteY5" fmla="*/ 35986 h 556012"/>
              <a:gd name="connsiteX6" fmla="*/ 200797 w 320641"/>
              <a:gd name="connsiteY6" fmla="*/ 39511 h 556012"/>
              <a:gd name="connsiteX7" fmla="*/ 310304 w 320641"/>
              <a:gd name="connsiteY7" fmla="*/ 273053 h 556012"/>
              <a:gd name="connsiteX8" fmla="*/ 262817 w 320641"/>
              <a:gd name="connsiteY8" fmla="*/ 556011 h 556012"/>
              <a:gd name="connsiteX0" fmla="*/ 74650 w 325764"/>
              <a:gd name="connsiteY0" fmla="*/ 556012 h 556012"/>
              <a:gd name="connsiteX1" fmla="*/ 10220 w 325764"/>
              <a:gd name="connsiteY1" fmla="*/ 403611 h 556012"/>
              <a:gd name="connsiteX2" fmla="*/ 13328 w 325764"/>
              <a:gd name="connsiteY2" fmla="*/ 259315 h 556012"/>
              <a:gd name="connsiteX3" fmla="*/ 62712 w 325764"/>
              <a:gd name="connsiteY3" fmla="*/ 143878 h 556012"/>
              <a:gd name="connsiteX4" fmla="*/ 163521 w 325764"/>
              <a:gd name="connsiteY4" fmla="*/ 35986 h 556012"/>
              <a:gd name="connsiteX5" fmla="*/ 205920 w 325764"/>
              <a:gd name="connsiteY5" fmla="*/ 39511 h 556012"/>
              <a:gd name="connsiteX6" fmla="*/ 315427 w 325764"/>
              <a:gd name="connsiteY6" fmla="*/ 273053 h 556012"/>
              <a:gd name="connsiteX7" fmla="*/ 267940 w 325764"/>
              <a:gd name="connsiteY7" fmla="*/ 556011 h 55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764" h="556012">
                <a:moveTo>
                  <a:pt x="74650" y="556012"/>
                </a:moveTo>
                <a:cubicBezTo>
                  <a:pt x="65291" y="536879"/>
                  <a:pt x="20440" y="453060"/>
                  <a:pt x="10220" y="403611"/>
                </a:cubicBezTo>
                <a:cubicBezTo>
                  <a:pt x="0" y="354162"/>
                  <a:pt x="4579" y="302604"/>
                  <a:pt x="13328" y="259315"/>
                </a:cubicBezTo>
                <a:cubicBezTo>
                  <a:pt x="22077" y="216026"/>
                  <a:pt x="37680" y="181100"/>
                  <a:pt x="62712" y="143878"/>
                </a:cubicBezTo>
                <a:cubicBezTo>
                  <a:pt x="87744" y="106657"/>
                  <a:pt x="139653" y="53381"/>
                  <a:pt x="163521" y="35986"/>
                </a:cubicBezTo>
                <a:cubicBezTo>
                  <a:pt x="187389" y="18592"/>
                  <a:pt x="180602" y="0"/>
                  <a:pt x="205920" y="39511"/>
                </a:cubicBezTo>
                <a:cubicBezTo>
                  <a:pt x="231238" y="79022"/>
                  <a:pt x="305090" y="186970"/>
                  <a:pt x="315427" y="273053"/>
                </a:cubicBezTo>
                <a:cubicBezTo>
                  <a:pt x="325764" y="359136"/>
                  <a:pt x="272173" y="495333"/>
                  <a:pt x="267940" y="556011"/>
                </a:cubicBezTo>
              </a:path>
            </a:pathLst>
          </a:custGeom>
          <a:ln w="85725" cap="rnd" cmpd="tri">
            <a:solidFill>
              <a:srgbClr val="FFC000"/>
            </a:solidFill>
            <a:prstDash val="sysDot"/>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prstClr val="black"/>
              </a:solidFill>
              <a:latin typeface="Century Gothic Pro" panose="020B0502020202020204" pitchFamily="34" charset="0"/>
            </a:endParaRPr>
          </a:p>
        </p:txBody>
      </p:sp>
      <p:sp>
        <p:nvSpPr>
          <p:cNvPr id="55" name="Freeform 113"/>
          <p:cNvSpPr>
            <a:spLocks/>
          </p:cNvSpPr>
          <p:nvPr/>
        </p:nvSpPr>
        <p:spPr bwMode="auto">
          <a:xfrm>
            <a:off x="716556" y="2751349"/>
            <a:ext cx="1647732" cy="2761307"/>
          </a:xfrm>
          <a:custGeom>
            <a:avLst/>
            <a:gdLst>
              <a:gd name="T0" fmla="*/ 0 w 2642223"/>
              <a:gd name="T1" fmla="*/ 142885 h 3794106"/>
              <a:gd name="T2" fmla="*/ 56919 w 2642223"/>
              <a:gd name="T3" fmla="*/ 161519 h 3794106"/>
              <a:gd name="T4" fmla="*/ 145855 w 2642223"/>
              <a:gd name="T5" fmla="*/ 128907 h 3794106"/>
              <a:gd name="T6" fmla="*/ 199218 w 2642223"/>
              <a:gd name="T7" fmla="*/ 114929 h 3794106"/>
              <a:gd name="T8" fmla="*/ 313056 w 2642223"/>
              <a:gd name="T9" fmla="*/ 161519 h 3794106"/>
              <a:gd name="T10" fmla="*/ 426895 w 2642223"/>
              <a:gd name="T11" fmla="*/ 166181 h 3794106"/>
              <a:gd name="T12" fmla="*/ 483816 w 2642223"/>
              <a:gd name="T13" fmla="*/ 128907 h 3794106"/>
              <a:gd name="T14" fmla="*/ 519389 w 2642223"/>
              <a:gd name="T15" fmla="*/ 156861 h 3794106"/>
              <a:gd name="T16" fmla="*/ 505157 w 2642223"/>
              <a:gd name="T17" fmla="*/ 366529 h 3794106"/>
              <a:gd name="T18" fmla="*/ 330843 w 2642223"/>
              <a:gd name="T19" fmla="*/ 1736351 h 3794106"/>
              <a:gd name="T20" fmla="*/ 181429 w 2642223"/>
              <a:gd name="T21" fmla="*/ 2626265 h 3794106"/>
              <a:gd name="T22" fmla="*/ 231236 w 2642223"/>
              <a:gd name="T23" fmla="*/ 3031621 h 3794106"/>
              <a:gd name="T24" fmla="*/ 405550 w 2642223"/>
              <a:gd name="T25" fmla="*/ 3148104 h 3794106"/>
              <a:gd name="T26" fmla="*/ 494486 w 2642223"/>
              <a:gd name="T27" fmla="*/ 3050258 h 3794106"/>
              <a:gd name="T28" fmla="*/ 458912 w 2642223"/>
              <a:gd name="T29" fmla="*/ 2905820 h 3794106"/>
              <a:gd name="T30" fmla="*/ 448239 w 2642223"/>
              <a:gd name="T31" fmla="*/ 2756723 h 3794106"/>
              <a:gd name="T32" fmla="*/ 544289 w 2642223"/>
              <a:gd name="T33" fmla="*/ 2579669 h 3794106"/>
              <a:gd name="T34" fmla="*/ 629668 w 2642223"/>
              <a:gd name="T35" fmla="*/ 2710131 h 3794106"/>
              <a:gd name="T36" fmla="*/ 643898 w 2642223"/>
              <a:gd name="T37" fmla="*/ 2873207 h 3794106"/>
              <a:gd name="T38" fmla="*/ 601209 w 2642223"/>
              <a:gd name="T39" fmla="*/ 3012982 h 3794106"/>
              <a:gd name="T40" fmla="*/ 597651 w 2642223"/>
              <a:gd name="T41" fmla="*/ 3096850 h 3794106"/>
              <a:gd name="T42" fmla="*/ 707934 w 2642223"/>
              <a:gd name="T43" fmla="*/ 3129465 h 3794106"/>
              <a:gd name="T44" fmla="*/ 843117 w 2642223"/>
              <a:gd name="T45" fmla="*/ 3040937 h 3794106"/>
              <a:gd name="T46" fmla="*/ 907150 w 2642223"/>
              <a:gd name="T47" fmla="*/ 2835929 h 3794106"/>
              <a:gd name="T48" fmla="*/ 910709 w 2642223"/>
              <a:gd name="T49" fmla="*/ 2481828 h 3794106"/>
              <a:gd name="T50" fmla="*/ 914266 w 2642223"/>
              <a:gd name="T51" fmla="*/ 1209857 h 3794106"/>
              <a:gd name="T52" fmla="*/ 892921 w 2642223"/>
              <a:gd name="T53" fmla="*/ 613471 h 3794106"/>
              <a:gd name="T54" fmla="*/ 921382 w 2642223"/>
              <a:gd name="T55" fmla="*/ 399143 h 3794106"/>
              <a:gd name="T56" fmla="*/ 985415 w 2642223"/>
              <a:gd name="T57" fmla="*/ 487670 h 3794106"/>
              <a:gd name="T58" fmla="*/ 974743 w 2642223"/>
              <a:gd name="T59" fmla="*/ 660063 h 3794106"/>
              <a:gd name="T60" fmla="*/ 956954 w 2642223"/>
              <a:gd name="T61" fmla="*/ 846434 h 3794106"/>
              <a:gd name="T62" fmla="*/ 1024547 w 2642223"/>
              <a:gd name="T63" fmla="*/ 944278 h 3794106"/>
              <a:gd name="T64" fmla="*/ 1117040 w 2642223"/>
              <a:gd name="T65" fmla="*/ 865070 h 3794106"/>
              <a:gd name="T66" fmla="*/ 1131269 w 2642223"/>
              <a:gd name="T67" fmla="*/ 767226 h 3794106"/>
              <a:gd name="T68" fmla="*/ 1166843 w 2642223"/>
              <a:gd name="T69" fmla="*/ 771884 h 3794106"/>
              <a:gd name="T70" fmla="*/ 1181075 w 2642223"/>
              <a:gd name="T71" fmla="*/ 930302 h 3794106"/>
              <a:gd name="T72" fmla="*/ 1227320 w 2642223"/>
              <a:gd name="T73" fmla="*/ 1042123 h 3794106"/>
              <a:gd name="T74" fmla="*/ 1334045 w 2642223"/>
              <a:gd name="T75" fmla="*/ 1079398 h 3794106"/>
              <a:gd name="T76" fmla="*/ 1401634 w 2642223"/>
              <a:gd name="T77" fmla="*/ 995530 h 3794106"/>
              <a:gd name="T78" fmla="*/ 1355388 w 2642223"/>
              <a:gd name="T79" fmla="*/ 837112 h 3794106"/>
              <a:gd name="T80" fmla="*/ 1351831 w 2642223"/>
              <a:gd name="T81" fmla="*/ 799839 h 3794106"/>
              <a:gd name="T82" fmla="*/ 1433653 w 2642223"/>
              <a:gd name="T83" fmla="*/ 911665 h 3794106"/>
              <a:gd name="T84" fmla="*/ 1543931 w 2642223"/>
              <a:gd name="T85" fmla="*/ 930302 h 3794106"/>
              <a:gd name="T86" fmla="*/ 1586621 w 2642223"/>
              <a:gd name="T87" fmla="*/ 837112 h 3794106"/>
              <a:gd name="T88" fmla="*/ 1572391 w 2642223"/>
              <a:gd name="T89" fmla="*/ 743930 h 3794106"/>
              <a:gd name="T90" fmla="*/ 1422979 w 2642223"/>
              <a:gd name="T91" fmla="*/ 636766 h 3794106"/>
              <a:gd name="T92" fmla="*/ 1248665 w 2642223"/>
              <a:gd name="T93" fmla="*/ 510968 h 3794106"/>
              <a:gd name="T94" fmla="*/ 1277124 w 2642223"/>
              <a:gd name="T95" fmla="*/ 478351 h 3794106"/>
              <a:gd name="T96" fmla="*/ 1380290 w 2642223"/>
              <a:gd name="T97" fmla="*/ 464373 h 3794106"/>
              <a:gd name="T98" fmla="*/ 1390961 w 2642223"/>
              <a:gd name="T99" fmla="*/ 385165 h 3794106"/>
              <a:gd name="T100" fmla="*/ 1262895 w 2642223"/>
              <a:gd name="T101" fmla="*/ 319935 h 3794106"/>
              <a:gd name="T102" fmla="*/ 1095695 w 2642223"/>
              <a:gd name="T103" fmla="*/ 278002 h 3794106"/>
              <a:gd name="T104" fmla="*/ 928497 w 2642223"/>
              <a:gd name="T105" fmla="*/ 138225 h 3794106"/>
              <a:gd name="T106" fmla="*/ 946283 w 2642223"/>
              <a:gd name="T107" fmla="*/ 26403 h 3794106"/>
              <a:gd name="T108" fmla="*/ 1053006 w 2642223"/>
              <a:gd name="T109" fmla="*/ 26403 h 3794106"/>
              <a:gd name="T110" fmla="*/ 1188189 w 2642223"/>
              <a:gd name="T111" fmla="*/ 184817 h 3794106"/>
              <a:gd name="T112" fmla="*/ 1358946 w 2642223"/>
              <a:gd name="T113" fmla="*/ 217432 h 3794106"/>
              <a:gd name="T114" fmla="*/ 1522586 w 2642223"/>
              <a:gd name="T115" fmla="*/ 114929 h 3794106"/>
              <a:gd name="T116" fmla="*/ 1675560 w 2642223"/>
              <a:gd name="T117" fmla="*/ 45040 h 37941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42223"/>
              <a:gd name="T178" fmla="*/ 0 h 3794106"/>
              <a:gd name="T179" fmla="*/ 2642223 w 2642223"/>
              <a:gd name="T180" fmla="*/ 3794106 h 379410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42223" h="3794106">
                <a:moveTo>
                  <a:pt x="0" y="172035"/>
                </a:moveTo>
                <a:cubicBezTo>
                  <a:pt x="25711" y="184657"/>
                  <a:pt x="51423" y="197279"/>
                  <a:pt x="89757" y="194474"/>
                </a:cubicBezTo>
                <a:cubicBezTo>
                  <a:pt x="128091" y="191669"/>
                  <a:pt x="192603" y="164555"/>
                  <a:pt x="230002" y="155205"/>
                </a:cubicBezTo>
                <a:cubicBezTo>
                  <a:pt x="267401" y="145855"/>
                  <a:pt x="270206" y="131831"/>
                  <a:pt x="314150" y="138376"/>
                </a:cubicBezTo>
                <a:cubicBezTo>
                  <a:pt x="358094" y="144921"/>
                  <a:pt x="433826" y="184189"/>
                  <a:pt x="493664" y="194474"/>
                </a:cubicBezTo>
                <a:cubicBezTo>
                  <a:pt x="553502" y="204759"/>
                  <a:pt x="628300" y="206629"/>
                  <a:pt x="673178" y="200084"/>
                </a:cubicBezTo>
                <a:cubicBezTo>
                  <a:pt x="718056" y="193539"/>
                  <a:pt x="738626" y="157075"/>
                  <a:pt x="762935" y="155205"/>
                </a:cubicBezTo>
                <a:cubicBezTo>
                  <a:pt x="787244" y="153335"/>
                  <a:pt x="813423" y="141180"/>
                  <a:pt x="819033" y="188864"/>
                </a:cubicBezTo>
                <a:cubicBezTo>
                  <a:pt x="824643" y="236548"/>
                  <a:pt x="846147" y="124351"/>
                  <a:pt x="796594" y="441306"/>
                </a:cubicBezTo>
                <a:cubicBezTo>
                  <a:pt x="747041" y="758261"/>
                  <a:pt x="606795" y="1637132"/>
                  <a:pt x="521713" y="2090592"/>
                </a:cubicBezTo>
                <a:cubicBezTo>
                  <a:pt x="436631" y="2544052"/>
                  <a:pt x="312279" y="2902146"/>
                  <a:pt x="286100" y="3162067"/>
                </a:cubicBezTo>
                <a:cubicBezTo>
                  <a:pt x="259921" y="3421989"/>
                  <a:pt x="305735" y="3545405"/>
                  <a:pt x="364638" y="3650121"/>
                </a:cubicBezTo>
                <a:cubicBezTo>
                  <a:pt x="423541" y="3754837"/>
                  <a:pt x="570331" y="3786626"/>
                  <a:pt x="639519" y="3790366"/>
                </a:cubicBezTo>
                <a:cubicBezTo>
                  <a:pt x="708707" y="3794106"/>
                  <a:pt x="765739" y="3721178"/>
                  <a:pt x="779764" y="3672560"/>
                </a:cubicBezTo>
                <a:cubicBezTo>
                  <a:pt x="793789" y="3623942"/>
                  <a:pt x="735820" y="3557559"/>
                  <a:pt x="723666" y="3498656"/>
                </a:cubicBezTo>
                <a:cubicBezTo>
                  <a:pt x="711512" y="3439753"/>
                  <a:pt x="684398" y="3384589"/>
                  <a:pt x="706837" y="3319141"/>
                </a:cubicBezTo>
                <a:cubicBezTo>
                  <a:pt x="729276" y="3253693"/>
                  <a:pt x="810619" y="3115318"/>
                  <a:pt x="858302" y="3105968"/>
                </a:cubicBezTo>
                <a:cubicBezTo>
                  <a:pt x="905985" y="3096618"/>
                  <a:pt x="966758" y="3204140"/>
                  <a:pt x="992937" y="3263043"/>
                </a:cubicBezTo>
                <a:cubicBezTo>
                  <a:pt x="1019116" y="3321946"/>
                  <a:pt x="1022856" y="3398614"/>
                  <a:pt x="1015376" y="3459387"/>
                </a:cubicBezTo>
                <a:cubicBezTo>
                  <a:pt x="1007896" y="3520160"/>
                  <a:pt x="960213" y="3582803"/>
                  <a:pt x="948059" y="3627681"/>
                </a:cubicBezTo>
                <a:cubicBezTo>
                  <a:pt x="935905" y="3672559"/>
                  <a:pt x="914400" y="3705284"/>
                  <a:pt x="942449" y="3728658"/>
                </a:cubicBezTo>
                <a:cubicBezTo>
                  <a:pt x="970498" y="3752032"/>
                  <a:pt x="1051840" y="3779147"/>
                  <a:pt x="1116353" y="3767927"/>
                </a:cubicBezTo>
                <a:cubicBezTo>
                  <a:pt x="1180866" y="3756707"/>
                  <a:pt x="1277168" y="3720243"/>
                  <a:pt x="1329526" y="3661340"/>
                </a:cubicBezTo>
                <a:cubicBezTo>
                  <a:pt x="1381884" y="3602437"/>
                  <a:pt x="1412739" y="3526704"/>
                  <a:pt x="1430503" y="3414508"/>
                </a:cubicBezTo>
                <a:cubicBezTo>
                  <a:pt x="1448267" y="3302312"/>
                  <a:pt x="1434243" y="3314466"/>
                  <a:pt x="1436113" y="2988162"/>
                </a:cubicBezTo>
                <a:cubicBezTo>
                  <a:pt x="1437983" y="2661858"/>
                  <a:pt x="1446398" y="1831606"/>
                  <a:pt x="1441723" y="1456683"/>
                </a:cubicBezTo>
                <a:cubicBezTo>
                  <a:pt x="1437048" y="1081760"/>
                  <a:pt x="1406194" y="901311"/>
                  <a:pt x="1408064" y="738626"/>
                </a:cubicBezTo>
                <a:cubicBezTo>
                  <a:pt x="1409934" y="575941"/>
                  <a:pt x="1428633" y="505819"/>
                  <a:pt x="1452942" y="480575"/>
                </a:cubicBezTo>
                <a:cubicBezTo>
                  <a:pt x="1477251" y="455331"/>
                  <a:pt x="1539895" y="534803"/>
                  <a:pt x="1553919" y="587161"/>
                </a:cubicBezTo>
                <a:cubicBezTo>
                  <a:pt x="1567943" y="639519"/>
                  <a:pt x="1544569" y="722731"/>
                  <a:pt x="1537089" y="794724"/>
                </a:cubicBezTo>
                <a:cubicBezTo>
                  <a:pt x="1529609" y="866717"/>
                  <a:pt x="1495950" y="962084"/>
                  <a:pt x="1509040" y="1019117"/>
                </a:cubicBezTo>
                <a:cubicBezTo>
                  <a:pt x="1522130" y="1076150"/>
                  <a:pt x="1573553" y="1133183"/>
                  <a:pt x="1615627" y="1136923"/>
                </a:cubicBezTo>
                <a:cubicBezTo>
                  <a:pt x="1657701" y="1140663"/>
                  <a:pt x="1733433" y="1077085"/>
                  <a:pt x="1761482" y="1041556"/>
                </a:cubicBezTo>
                <a:cubicBezTo>
                  <a:pt x="1789531" y="1006027"/>
                  <a:pt x="1770832" y="942449"/>
                  <a:pt x="1783921" y="923750"/>
                </a:cubicBezTo>
                <a:cubicBezTo>
                  <a:pt x="1797010" y="905051"/>
                  <a:pt x="1826929" y="896636"/>
                  <a:pt x="1840019" y="929360"/>
                </a:cubicBezTo>
                <a:cubicBezTo>
                  <a:pt x="1853109" y="962084"/>
                  <a:pt x="1846565" y="1065866"/>
                  <a:pt x="1862459" y="1120094"/>
                </a:cubicBezTo>
                <a:cubicBezTo>
                  <a:pt x="1878354" y="1174322"/>
                  <a:pt x="1895182" y="1224810"/>
                  <a:pt x="1935386" y="1254729"/>
                </a:cubicBezTo>
                <a:cubicBezTo>
                  <a:pt x="1975590" y="1284648"/>
                  <a:pt x="2057868" y="1308958"/>
                  <a:pt x="2103681" y="1299608"/>
                </a:cubicBezTo>
                <a:cubicBezTo>
                  <a:pt x="2149494" y="1290258"/>
                  <a:pt x="2204657" y="1247250"/>
                  <a:pt x="2210267" y="1198631"/>
                </a:cubicBezTo>
                <a:cubicBezTo>
                  <a:pt x="2215877" y="1150013"/>
                  <a:pt x="2150429" y="1047166"/>
                  <a:pt x="2137340" y="1007897"/>
                </a:cubicBezTo>
                <a:cubicBezTo>
                  <a:pt x="2124251" y="968628"/>
                  <a:pt x="2111161" y="948060"/>
                  <a:pt x="2131730" y="963019"/>
                </a:cubicBezTo>
                <a:cubicBezTo>
                  <a:pt x="2152299" y="977978"/>
                  <a:pt x="2210268" y="1071475"/>
                  <a:pt x="2260756" y="1097654"/>
                </a:cubicBezTo>
                <a:cubicBezTo>
                  <a:pt x="2311244" y="1123833"/>
                  <a:pt x="2394456" y="1135054"/>
                  <a:pt x="2434660" y="1120094"/>
                </a:cubicBezTo>
                <a:cubicBezTo>
                  <a:pt x="2474864" y="1105135"/>
                  <a:pt x="2494498" y="1045296"/>
                  <a:pt x="2501978" y="1007897"/>
                </a:cubicBezTo>
                <a:cubicBezTo>
                  <a:pt x="2509458" y="970498"/>
                  <a:pt x="2522547" y="935905"/>
                  <a:pt x="2479538" y="895701"/>
                </a:cubicBezTo>
                <a:cubicBezTo>
                  <a:pt x="2436529" y="855497"/>
                  <a:pt x="2243926" y="766675"/>
                  <a:pt x="2243926" y="766675"/>
                </a:cubicBezTo>
                <a:cubicBezTo>
                  <a:pt x="2158844" y="719926"/>
                  <a:pt x="2007379" y="646999"/>
                  <a:pt x="1969045" y="615210"/>
                </a:cubicBezTo>
                <a:cubicBezTo>
                  <a:pt x="1930711" y="583421"/>
                  <a:pt x="1979330" y="585291"/>
                  <a:pt x="2013924" y="575941"/>
                </a:cubicBezTo>
                <a:cubicBezTo>
                  <a:pt x="2048518" y="566591"/>
                  <a:pt x="2146689" y="577811"/>
                  <a:pt x="2176608" y="559112"/>
                </a:cubicBezTo>
                <a:cubicBezTo>
                  <a:pt x="2206527" y="540413"/>
                  <a:pt x="2224292" y="492729"/>
                  <a:pt x="2193438" y="463745"/>
                </a:cubicBezTo>
                <a:cubicBezTo>
                  <a:pt x="2162584" y="434761"/>
                  <a:pt x="2069086" y="406712"/>
                  <a:pt x="1991484" y="385208"/>
                </a:cubicBezTo>
                <a:cubicBezTo>
                  <a:pt x="1913882" y="363704"/>
                  <a:pt x="1815710" y="371183"/>
                  <a:pt x="1727823" y="334719"/>
                </a:cubicBezTo>
                <a:cubicBezTo>
                  <a:pt x="1639936" y="298255"/>
                  <a:pt x="1503431" y="216913"/>
                  <a:pt x="1464162" y="166425"/>
                </a:cubicBezTo>
                <a:cubicBezTo>
                  <a:pt x="1424893" y="115937"/>
                  <a:pt x="1459487" y="54228"/>
                  <a:pt x="1492211" y="31789"/>
                </a:cubicBezTo>
                <a:cubicBezTo>
                  <a:pt x="1524935" y="9350"/>
                  <a:pt x="1596927" y="0"/>
                  <a:pt x="1660505" y="31789"/>
                </a:cubicBezTo>
                <a:cubicBezTo>
                  <a:pt x="1724083" y="63578"/>
                  <a:pt x="1793271" y="184189"/>
                  <a:pt x="1873678" y="222523"/>
                </a:cubicBezTo>
                <a:cubicBezTo>
                  <a:pt x="1954085" y="260857"/>
                  <a:pt x="2055063" y="275816"/>
                  <a:pt x="2142950" y="261792"/>
                </a:cubicBezTo>
                <a:cubicBezTo>
                  <a:pt x="2230837" y="247768"/>
                  <a:pt x="2317789" y="172970"/>
                  <a:pt x="2401001" y="138376"/>
                </a:cubicBezTo>
                <a:cubicBezTo>
                  <a:pt x="2484213" y="103782"/>
                  <a:pt x="2563218" y="79005"/>
                  <a:pt x="2642223" y="54229"/>
                </a:cubicBezTo>
              </a:path>
            </a:pathLst>
          </a:custGeom>
          <a:noFill/>
          <a:ln w="38100" cap="rnd" cmpd="dbl" algn="ctr">
            <a:solidFill>
              <a:schemeClr val="accent3"/>
            </a:solidFill>
            <a:prstDash val="solid"/>
            <a:round/>
            <a:headEnd type="none" w="med" len="med"/>
            <a:tailEnd type="none" w="med" len="med"/>
          </a:ln>
        </p:spPr>
        <p:txBody>
          <a:bodyPr/>
          <a:lstStyle/>
          <a:p>
            <a:endParaRPr lang="en-US">
              <a:solidFill>
                <a:prstClr val="black"/>
              </a:solidFill>
              <a:latin typeface="Century Gothic Pro" panose="020B0502020202020204" pitchFamily="34" charset="0"/>
            </a:endParaRPr>
          </a:p>
        </p:txBody>
      </p:sp>
      <p:sp>
        <p:nvSpPr>
          <p:cNvPr id="65" name="TextBox 64"/>
          <p:cNvSpPr txBox="1"/>
          <p:nvPr/>
        </p:nvSpPr>
        <p:spPr>
          <a:xfrm>
            <a:off x="7652792" y="2766557"/>
            <a:ext cx="1872208" cy="230832"/>
          </a:xfrm>
          <a:prstGeom prst="rect">
            <a:avLst/>
          </a:prstGeom>
        </p:spPr>
        <p:txBody>
          <a:bodyPr wrap="square" lIns="36000" rIns="36000">
            <a:spAutoFit/>
          </a:bodyPr>
          <a:lstStyle/>
          <a:p>
            <a:pPr algn="ctr">
              <a:spcBef>
                <a:spcPct val="20000"/>
              </a:spcBef>
              <a:defRPr/>
            </a:pPr>
            <a:r>
              <a:rPr lang="en-US" sz="900" b="1" dirty="0">
                <a:solidFill>
                  <a:prstClr val="black"/>
                </a:solidFill>
                <a:effectLst>
                  <a:outerShdw blurRad="38100" dist="38100" dir="2700000" algn="tl">
                    <a:srgbClr val="000000">
                      <a:alpha val="43137"/>
                    </a:srgbClr>
                  </a:outerShdw>
                </a:effectLst>
                <a:latin typeface="Century Gothic Pro" panose="020B0502020202020204" pitchFamily="34" charset="0"/>
                <a:cs typeface="Arial" pitchFamily="34" charset="0"/>
              </a:rPr>
              <a:t>Stem cells &amp; progenitor cells</a:t>
            </a:r>
          </a:p>
        </p:txBody>
      </p:sp>
      <p:pic>
        <p:nvPicPr>
          <p:cNvPr id="66" name="Picture 112" descr="Picture1.png"/>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8588897" y="3054825"/>
            <a:ext cx="663195" cy="94965"/>
          </a:xfrm>
          <a:prstGeom prst="rect">
            <a:avLst/>
          </a:prstGeom>
          <a:noFill/>
          <a:ln w="9525">
            <a:noFill/>
            <a:miter lim="800000"/>
            <a:headEnd/>
            <a:tailEnd/>
          </a:ln>
        </p:spPr>
      </p:pic>
      <p:sp>
        <p:nvSpPr>
          <p:cNvPr id="67" name="Oval 90"/>
          <p:cNvSpPr>
            <a:spLocks noChangeArrowheads="1"/>
          </p:cNvSpPr>
          <p:nvPr/>
        </p:nvSpPr>
        <p:spPr bwMode="auto">
          <a:xfrm>
            <a:off x="8084841" y="3054824"/>
            <a:ext cx="57547" cy="60714"/>
          </a:xfrm>
          <a:prstGeom prst="ellipse">
            <a:avLst/>
          </a:prstGeom>
          <a:solidFill>
            <a:srgbClr val="FFFF00"/>
          </a:solidFill>
          <a:ln w="9525">
            <a:noFill/>
            <a:prstDash val="dash"/>
            <a:round/>
            <a:headEnd/>
            <a:tailEnd/>
          </a:ln>
        </p:spPr>
        <p:txBody>
          <a:bodyPr anchor="ctr"/>
          <a:lstStyle/>
          <a:p>
            <a:pPr algn="ctr"/>
            <a:endParaRPr lang="en-US">
              <a:solidFill>
                <a:prstClr val="black"/>
              </a:solidFill>
              <a:latin typeface="Century Gothic Pro" panose="020B0502020202020204" pitchFamily="34" charset="0"/>
            </a:endParaRPr>
          </a:p>
        </p:txBody>
      </p:sp>
      <p:sp>
        <p:nvSpPr>
          <p:cNvPr id="72" name="Rectangle 16"/>
          <p:cNvSpPr>
            <a:spLocks noChangeArrowheads="1"/>
          </p:cNvSpPr>
          <p:nvPr/>
        </p:nvSpPr>
        <p:spPr bwMode="auto">
          <a:xfrm>
            <a:off x="4272120" y="2944665"/>
            <a:ext cx="1138276" cy="2612133"/>
          </a:xfrm>
          <a:prstGeom prst="rect">
            <a:avLst/>
          </a:prstGeom>
          <a:noFill/>
          <a:ln w="9525">
            <a:solidFill>
              <a:schemeClr val="accent5"/>
            </a:solidFill>
            <a:prstDash val="dash"/>
            <a:round/>
            <a:headEnd/>
            <a:tailEnd/>
          </a:ln>
        </p:spPr>
        <p:txBody>
          <a:bodyPr anchor="ctr"/>
          <a:lstStyle/>
          <a:p>
            <a:pPr algn="ctr"/>
            <a:endParaRPr lang="en-US">
              <a:solidFill>
                <a:prstClr val="black"/>
              </a:solidFill>
              <a:latin typeface="Century Gothic Pro" panose="020B0502020202020204" pitchFamily="34" charset="0"/>
            </a:endParaRPr>
          </a:p>
        </p:txBody>
      </p:sp>
      <p:sp>
        <p:nvSpPr>
          <p:cNvPr id="73" name="Oval 25"/>
          <p:cNvSpPr>
            <a:spLocks noChangeArrowheads="1"/>
          </p:cNvSpPr>
          <p:nvPr/>
        </p:nvSpPr>
        <p:spPr bwMode="auto">
          <a:xfrm rot="249403">
            <a:off x="4524196" y="3372782"/>
            <a:ext cx="600995" cy="1519416"/>
          </a:xfrm>
          <a:prstGeom prst="flowChartMagneticDisk">
            <a:avLst/>
          </a:prstGeom>
          <a:noFill/>
          <a:ln w="57150">
            <a:solidFill>
              <a:schemeClr val="accent4">
                <a:lumMod val="75000"/>
              </a:schemeClr>
            </a:solidFill>
            <a:prstDash val="solid"/>
            <a:round/>
            <a:headEnd/>
            <a:tailEnd/>
          </a:ln>
        </p:spPr>
        <p:txBody>
          <a:bodyPr anchor="ctr"/>
          <a:lstStyle/>
          <a:p>
            <a:pPr algn="ctr">
              <a:defRPr/>
            </a:pPr>
            <a:endParaRPr lang="en-US">
              <a:latin typeface="Century Gothic Pro" panose="020B0502020202020204" pitchFamily="34" charset="0"/>
            </a:endParaRPr>
          </a:p>
        </p:txBody>
      </p:sp>
      <p:sp>
        <p:nvSpPr>
          <p:cNvPr id="75" name="Oval 25"/>
          <p:cNvSpPr>
            <a:spLocks noChangeArrowheads="1"/>
          </p:cNvSpPr>
          <p:nvPr/>
        </p:nvSpPr>
        <p:spPr bwMode="auto">
          <a:xfrm rot="249403">
            <a:off x="4414827" y="3226821"/>
            <a:ext cx="829053" cy="2092491"/>
          </a:xfrm>
          <a:prstGeom prst="flowChartMagneticDisk">
            <a:avLst/>
          </a:prstGeom>
          <a:noFill/>
          <a:ln w="57150">
            <a:solidFill>
              <a:schemeClr val="accent2"/>
            </a:solidFill>
            <a:prstDash val="solid"/>
            <a:round/>
            <a:headEnd/>
            <a:tailEnd/>
          </a:ln>
        </p:spPr>
        <p:txBody>
          <a:bodyPr anchor="ctr"/>
          <a:lstStyle/>
          <a:p>
            <a:pPr algn="ctr"/>
            <a:endParaRPr lang="en-US">
              <a:latin typeface="Century Gothic Pro" panose="020B0502020202020204" pitchFamily="34" charset="0"/>
            </a:endParaRPr>
          </a:p>
        </p:txBody>
      </p:sp>
      <p:pic>
        <p:nvPicPr>
          <p:cNvPr id="76" name="Picture 75" descr="Dessin cheveu.jpg"/>
          <p:cNvPicPr preferRelativeResize="0">
            <a:picLocks/>
          </p:cNvPicPr>
          <p:nvPr/>
        </p:nvPicPr>
        <p:blipFill>
          <a:blip r:embed="rId5" cstate="print">
            <a:grayscl/>
            <a:extLst>
              <a:ext uri="{28A0092B-C50C-407E-A947-70E740481C1C}">
                <a14:useLocalDpi xmlns:a14="http://schemas.microsoft.com/office/drawing/2010/main" val="0"/>
              </a:ext>
            </a:extLst>
          </a:blip>
          <a:stretch>
            <a:fillRect/>
          </a:stretch>
        </p:blipFill>
        <p:spPr>
          <a:xfrm>
            <a:off x="5981119" y="2030291"/>
            <a:ext cx="1692000" cy="3600000"/>
          </a:xfrm>
          <a:prstGeom prst="roundRect">
            <a:avLst>
              <a:gd name="adj" fmla="val 0"/>
            </a:avLst>
          </a:prstGeom>
          <a:ln>
            <a:noFill/>
          </a:ln>
          <a:effectLst/>
          <a:scene3d>
            <a:camera prst="orthographicFront"/>
            <a:lightRig rig="contrasting" dir="t">
              <a:rot lat="0" lon="0" rev="4200000"/>
            </a:lightRig>
          </a:scene3d>
          <a:sp3d prstMaterial="plastic">
            <a:contourClr>
              <a:srgbClr val="969696"/>
            </a:contourClr>
          </a:sp3d>
        </p:spPr>
      </p:pic>
      <p:sp>
        <p:nvSpPr>
          <p:cNvPr id="77" name="Freeform 76"/>
          <p:cNvSpPr/>
          <p:nvPr/>
        </p:nvSpPr>
        <p:spPr bwMode="auto">
          <a:xfrm>
            <a:off x="6194255" y="2036203"/>
            <a:ext cx="721452" cy="3397600"/>
          </a:xfrm>
          <a:custGeom>
            <a:avLst/>
            <a:gdLst>
              <a:gd name="connsiteX0" fmla="*/ 287740 w 1042916"/>
              <a:gd name="connsiteY0" fmla="*/ 4277436 h 4705065"/>
              <a:gd name="connsiteX1" fmla="*/ 219501 w 1042916"/>
              <a:gd name="connsiteY1" fmla="*/ 4372970 h 4705065"/>
              <a:gd name="connsiteX2" fmla="*/ 199029 w 1042916"/>
              <a:gd name="connsiteY2" fmla="*/ 4482152 h 4705065"/>
              <a:gd name="connsiteX3" fmla="*/ 246797 w 1042916"/>
              <a:gd name="connsiteY3" fmla="*/ 4604982 h 4705065"/>
              <a:gd name="connsiteX4" fmla="*/ 212677 w 1042916"/>
              <a:gd name="connsiteY4" fmla="*/ 4680045 h 4705065"/>
              <a:gd name="connsiteX5" fmla="*/ 103495 w 1042916"/>
              <a:gd name="connsiteY5" fmla="*/ 4666397 h 4705065"/>
              <a:gd name="connsiteX6" fmla="*/ 28432 w 1042916"/>
              <a:gd name="connsiteY6" fmla="*/ 4516271 h 4705065"/>
              <a:gd name="connsiteX7" fmla="*/ 14785 w 1042916"/>
              <a:gd name="connsiteY7" fmla="*/ 4407089 h 4705065"/>
              <a:gd name="connsiteX8" fmla="*/ 117143 w 1042916"/>
              <a:gd name="connsiteY8" fmla="*/ 4256964 h 4705065"/>
              <a:gd name="connsiteX9" fmla="*/ 246797 w 1042916"/>
              <a:gd name="connsiteY9" fmla="*/ 3820236 h 4705065"/>
              <a:gd name="connsiteX10" fmla="*/ 315035 w 1042916"/>
              <a:gd name="connsiteY10" fmla="*/ 3287973 h 4705065"/>
              <a:gd name="connsiteX11" fmla="*/ 410570 w 1042916"/>
              <a:gd name="connsiteY11" fmla="*/ 2339453 h 4705065"/>
              <a:gd name="connsiteX12" fmla="*/ 499280 w 1042916"/>
              <a:gd name="connsiteY12" fmla="*/ 1636594 h 4705065"/>
              <a:gd name="connsiteX13" fmla="*/ 663053 w 1042916"/>
              <a:gd name="connsiteY13" fmla="*/ 974677 h 4705065"/>
              <a:gd name="connsiteX14" fmla="*/ 854122 w 1042916"/>
              <a:gd name="connsiteY14" fmla="*/ 456062 h 4705065"/>
              <a:gd name="connsiteX15" fmla="*/ 1024719 w 1042916"/>
              <a:gd name="connsiteY15" fmla="*/ 39806 h 4705065"/>
              <a:gd name="connsiteX16" fmla="*/ 963304 w 1042916"/>
              <a:gd name="connsiteY16" fmla="*/ 217227 h 4705065"/>
              <a:gd name="connsiteX17" fmla="*/ 820003 w 1042916"/>
              <a:gd name="connsiteY17" fmla="*/ 708546 h 4705065"/>
              <a:gd name="connsiteX18" fmla="*/ 717644 w 1042916"/>
              <a:gd name="connsiteY18" fmla="*/ 1131627 h 4705065"/>
              <a:gd name="connsiteX19" fmla="*/ 642582 w 1042916"/>
              <a:gd name="connsiteY19" fmla="*/ 1568355 h 4705065"/>
              <a:gd name="connsiteX20" fmla="*/ 519752 w 1042916"/>
              <a:gd name="connsiteY20" fmla="*/ 2701119 h 4705065"/>
              <a:gd name="connsiteX21" fmla="*/ 471985 w 1042916"/>
              <a:gd name="connsiteY21" fmla="*/ 3731525 h 4705065"/>
              <a:gd name="connsiteX22" fmla="*/ 471985 w 1042916"/>
              <a:gd name="connsiteY22" fmla="*/ 4134134 h 4705065"/>
              <a:gd name="connsiteX23" fmla="*/ 547047 w 1042916"/>
              <a:gd name="connsiteY23" fmla="*/ 4366146 h 4705065"/>
              <a:gd name="connsiteX24" fmla="*/ 567519 w 1042916"/>
              <a:gd name="connsiteY24" fmla="*/ 4570862 h 4705065"/>
              <a:gd name="connsiteX25" fmla="*/ 444689 w 1042916"/>
              <a:gd name="connsiteY25" fmla="*/ 4693692 h 4705065"/>
              <a:gd name="connsiteX26" fmla="*/ 342331 w 1042916"/>
              <a:gd name="connsiteY26" fmla="*/ 4639101 h 4705065"/>
              <a:gd name="connsiteX27" fmla="*/ 396922 w 1042916"/>
              <a:gd name="connsiteY27" fmla="*/ 4516271 h 4705065"/>
              <a:gd name="connsiteX28" fmla="*/ 383274 w 1042916"/>
              <a:gd name="connsiteY28" fmla="*/ 4372970 h 4705065"/>
              <a:gd name="connsiteX29" fmla="*/ 287740 w 1042916"/>
              <a:gd name="connsiteY29" fmla="*/ 4277436 h 4705065"/>
              <a:gd name="connsiteX0" fmla="*/ 261583 w 1016759"/>
              <a:gd name="connsiteY0" fmla="*/ 4277436 h 4705065"/>
              <a:gd name="connsiteX1" fmla="*/ 193344 w 1016759"/>
              <a:gd name="connsiteY1" fmla="*/ 4372970 h 4705065"/>
              <a:gd name="connsiteX2" fmla="*/ 172872 w 1016759"/>
              <a:gd name="connsiteY2" fmla="*/ 4482152 h 4705065"/>
              <a:gd name="connsiteX3" fmla="*/ 220640 w 1016759"/>
              <a:gd name="connsiteY3" fmla="*/ 4604982 h 4705065"/>
              <a:gd name="connsiteX4" fmla="*/ 186520 w 1016759"/>
              <a:gd name="connsiteY4" fmla="*/ 4680045 h 4705065"/>
              <a:gd name="connsiteX5" fmla="*/ 77338 w 1016759"/>
              <a:gd name="connsiteY5" fmla="*/ 4666397 h 4705065"/>
              <a:gd name="connsiteX6" fmla="*/ 2275 w 1016759"/>
              <a:gd name="connsiteY6" fmla="*/ 4516271 h 4705065"/>
              <a:gd name="connsiteX7" fmla="*/ 90986 w 1016759"/>
              <a:gd name="connsiteY7" fmla="*/ 4256964 h 4705065"/>
              <a:gd name="connsiteX8" fmla="*/ 220640 w 1016759"/>
              <a:gd name="connsiteY8" fmla="*/ 3820236 h 4705065"/>
              <a:gd name="connsiteX9" fmla="*/ 288878 w 1016759"/>
              <a:gd name="connsiteY9" fmla="*/ 3287973 h 4705065"/>
              <a:gd name="connsiteX10" fmla="*/ 384413 w 1016759"/>
              <a:gd name="connsiteY10" fmla="*/ 2339453 h 4705065"/>
              <a:gd name="connsiteX11" fmla="*/ 473123 w 1016759"/>
              <a:gd name="connsiteY11" fmla="*/ 1636594 h 4705065"/>
              <a:gd name="connsiteX12" fmla="*/ 636896 w 1016759"/>
              <a:gd name="connsiteY12" fmla="*/ 974677 h 4705065"/>
              <a:gd name="connsiteX13" fmla="*/ 827965 w 1016759"/>
              <a:gd name="connsiteY13" fmla="*/ 456062 h 4705065"/>
              <a:gd name="connsiteX14" fmla="*/ 998562 w 1016759"/>
              <a:gd name="connsiteY14" fmla="*/ 39806 h 4705065"/>
              <a:gd name="connsiteX15" fmla="*/ 937147 w 1016759"/>
              <a:gd name="connsiteY15" fmla="*/ 217227 h 4705065"/>
              <a:gd name="connsiteX16" fmla="*/ 793846 w 1016759"/>
              <a:gd name="connsiteY16" fmla="*/ 708546 h 4705065"/>
              <a:gd name="connsiteX17" fmla="*/ 691487 w 1016759"/>
              <a:gd name="connsiteY17" fmla="*/ 1131627 h 4705065"/>
              <a:gd name="connsiteX18" fmla="*/ 616425 w 1016759"/>
              <a:gd name="connsiteY18" fmla="*/ 1568355 h 4705065"/>
              <a:gd name="connsiteX19" fmla="*/ 493595 w 1016759"/>
              <a:gd name="connsiteY19" fmla="*/ 2701119 h 4705065"/>
              <a:gd name="connsiteX20" fmla="*/ 445828 w 1016759"/>
              <a:gd name="connsiteY20" fmla="*/ 3731525 h 4705065"/>
              <a:gd name="connsiteX21" fmla="*/ 445828 w 1016759"/>
              <a:gd name="connsiteY21" fmla="*/ 4134134 h 4705065"/>
              <a:gd name="connsiteX22" fmla="*/ 520890 w 1016759"/>
              <a:gd name="connsiteY22" fmla="*/ 4366146 h 4705065"/>
              <a:gd name="connsiteX23" fmla="*/ 541362 w 1016759"/>
              <a:gd name="connsiteY23" fmla="*/ 4570862 h 4705065"/>
              <a:gd name="connsiteX24" fmla="*/ 418532 w 1016759"/>
              <a:gd name="connsiteY24" fmla="*/ 4693692 h 4705065"/>
              <a:gd name="connsiteX25" fmla="*/ 316174 w 1016759"/>
              <a:gd name="connsiteY25" fmla="*/ 4639101 h 4705065"/>
              <a:gd name="connsiteX26" fmla="*/ 370765 w 1016759"/>
              <a:gd name="connsiteY26" fmla="*/ 4516271 h 4705065"/>
              <a:gd name="connsiteX27" fmla="*/ 357117 w 1016759"/>
              <a:gd name="connsiteY27" fmla="*/ 4372970 h 4705065"/>
              <a:gd name="connsiteX28" fmla="*/ 261583 w 1016759"/>
              <a:gd name="connsiteY28" fmla="*/ 4277436 h 4705065"/>
              <a:gd name="connsiteX0" fmla="*/ 261583 w 1016759"/>
              <a:gd name="connsiteY0" fmla="*/ 4277436 h 4705065"/>
              <a:gd name="connsiteX1" fmla="*/ 193344 w 1016759"/>
              <a:gd name="connsiteY1" fmla="*/ 4372970 h 4705065"/>
              <a:gd name="connsiteX2" fmla="*/ 172872 w 1016759"/>
              <a:gd name="connsiteY2" fmla="*/ 4482152 h 4705065"/>
              <a:gd name="connsiteX3" fmla="*/ 220640 w 1016759"/>
              <a:gd name="connsiteY3" fmla="*/ 4604982 h 4705065"/>
              <a:gd name="connsiteX4" fmla="*/ 186520 w 1016759"/>
              <a:gd name="connsiteY4" fmla="*/ 4680045 h 4705065"/>
              <a:gd name="connsiteX5" fmla="*/ 77338 w 1016759"/>
              <a:gd name="connsiteY5" fmla="*/ 4666397 h 4705065"/>
              <a:gd name="connsiteX6" fmla="*/ 2275 w 1016759"/>
              <a:gd name="connsiteY6" fmla="*/ 4516271 h 4705065"/>
              <a:gd name="connsiteX7" fmla="*/ 90986 w 1016759"/>
              <a:gd name="connsiteY7" fmla="*/ 4256964 h 4705065"/>
              <a:gd name="connsiteX8" fmla="*/ 220640 w 1016759"/>
              <a:gd name="connsiteY8" fmla="*/ 3820236 h 4705065"/>
              <a:gd name="connsiteX9" fmla="*/ 288878 w 1016759"/>
              <a:gd name="connsiteY9" fmla="*/ 3287973 h 4705065"/>
              <a:gd name="connsiteX10" fmla="*/ 384413 w 1016759"/>
              <a:gd name="connsiteY10" fmla="*/ 2339453 h 4705065"/>
              <a:gd name="connsiteX11" fmla="*/ 473123 w 1016759"/>
              <a:gd name="connsiteY11" fmla="*/ 1636594 h 4705065"/>
              <a:gd name="connsiteX12" fmla="*/ 636896 w 1016759"/>
              <a:gd name="connsiteY12" fmla="*/ 974677 h 4705065"/>
              <a:gd name="connsiteX13" fmla="*/ 827965 w 1016759"/>
              <a:gd name="connsiteY13" fmla="*/ 456062 h 4705065"/>
              <a:gd name="connsiteX14" fmla="*/ 998562 w 1016759"/>
              <a:gd name="connsiteY14" fmla="*/ 39806 h 4705065"/>
              <a:gd name="connsiteX15" fmla="*/ 937147 w 1016759"/>
              <a:gd name="connsiteY15" fmla="*/ 217227 h 4705065"/>
              <a:gd name="connsiteX16" fmla="*/ 793846 w 1016759"/>
              <a:gd name="connsiteY16" fmla="*/ 708546 h 4705065"/>
              <a:gd name="connsiteX17" fmla="*/ 691487 w 1016759"/>
              <a:gd name="connsiteY17" fmla="*/ 1131627 h 4705065"/>
              <a:gd name="connsiteX18" fmla="*/ 616425 w 1016759"/>
              <a:gd name="connsiteY18" fmla="*/ 1568355 h 4705065"/>
              <a:gd name="connsiteX19" fmla="*/ 493595 w 1016759"/>
              <a:gd name="connsiteY19" fmla="*/ 2701119 h 4705065"/>
              <a:gd name="connsiteX20" fmla="*/ 445828 w 1016759"/>
              <a:gd name="connsiteY20" fmla="*/ 3731525 h 4705065"/>
              <a:gd name="connsiteX21" fmla="*/ 445828 w 1016759"/>
              <a:gd name="connsiteY21" fmla="*/ 4134134 h 4705065"/>
              <a:gd name="connsiteX22" fmla="*/ 520890 w 1016759"/>
              <a:gd name="connsiteY22" fmla="*/ 4366146 h 4705065"/>
              <a:gd name="connsiteX23" fmla="*/ 541362 w 1016759"/>
              <a:gd name="connsiteY23" fmla="*/ 4570862 h 4705065"/>
              <a:gd name="connsiteX24" fmla="*/ 418532 w 1016759"/>
              <a:gd name="connsiteY24" fmla="*/ 4693692 h 4705065"/>
              <a:gd name="connsiteX25" fmla="*/ 316174 w 1016759"/>
              <a:gd name="connsiteY25" fmla="*/ 4639101 h 4705065"/>
              <a:gd name="connsiteX26" fmla="*/ 370765 w 1016759"/>
              <a:gd name="connsiteY26" fmla="*/ 4516271 h 4705065"/>
              <a:gd name="connsiteX27" fmla="*/ 357117 w 1016759"/>
              <a:gd name="connsiteY27" fmla="*/ 4372970 h 4705065"/>
              <a:gd name="connsiteX28" fmla="*/ 261583 w 1016759"/>
              <a:gd name="connsiteY28" fmla="*/ 4277436 h 4705065"/>
              <a:gd name="connsiteX0" fmla="*/ 278643 w 1033819"/>
              <a:gd name="connsiteY0" fmla="*/ 4277436 h 4705065"/>
              <a:gd name="connsiteX1" fmla="*/ 210404 w 1033819"/>
              <a:gd name="connsiteY1" fmla="*/ 4372970 h 4705065"/>
              <a:gd name="connsiteX2" fmla="*/ 189932 w 1033819"/>
              <a:gd name="connsiteY2" fmla="*/ 4482152 h 4705065"/>
              <a:gd name="connsiteX3" fmla="*/ 237700 w 1033819"/>
              <a:gd name="connsiteY3" fmla="*/ 4604982 h 4705065"/>
              <a:gd name="connsiteX4" fmla="*/ 203580 w 1033819"/>
              <a:gd name="connsiteY4" fmla="*/ 4680045 h 4705065"/>
              <a:gd name="connsiteX5" fmla="*/ 94398 w 1033819"/>
              <a:gd name="connsiteY5" fmla="*/ 4666397 h 4705065"/>
              <a:gd name="connsiteX6" fmla="*/ 2275 w 1033819"/>
              <a:gd name="connsiteY6" fmla="*/ 4488975 h 4705065"/>
              <a:gd name="connsiteX7" fmla="*/ 108046 w 1033819"/>
              <a:gd name="connsiteY7" fmla="*/ 4256964 h 4705065"/>
              <a:gd name="connsiteX8" fmla="*/ 237700 w 1033819"/>
              <a:gd name="connsiteY8" fmla="*/ 3820236 h 4705065"/>
              <a:gd name="connsiteX9" fmla="*/ 305938 w 1033819"/>
              <a:gd name="connsiteY9" fmla="*/ 3287973 h 4705065"/>
              <a:gd name="connsiteX10" fmla="*/ 401473 w 1033819"/>
              <a:gd name="connsiteY10" fmla="*/ 2339453 h 4705065"/>
              <a:gd name="connsiteX11" fmla="*/ 490183 w 1033819"/>
              <a:gd name="connsiteY11" fmla="*/ 1636594 h 4705065"/>
              <a:gd name="connsiteX12" fmla="*/ 653956 w 1033819"/>
              <a:gd name="connsiteY12" fmla="*/ 974677 h 4705065"/>
              <a:gd name="connsiteX13" fmla="*/ 845025 w 1033819"/>
              <a:gd name="connsiteY13" fmla="*/ 456062 h 4705065"/>
              <a:gd name="connsiteX14" fmla="*/ 1015622 w 1033819"/>
              <a:gd name="connsiteY14" fmla="*/ 39806 h 4705065"/>
              <a:gd name="connsiteX15" fmla="*/ 954207 w 1033819"/>
              <a:gd name="connsiteY15" fmla="*/ 217227 h 4705065"/>
              <a:gd name="connsiteX16" fmla="*/ 810906 w 1033819"/>
              <a:gd name="connsiteY16" fmla="*/ 708546 h 4705065"/>
              <a:gd name="connsiteX17" fmla="*/ 708547 w 1033819"/>
              <a:gd name="connsiteY17" fmla="*/ 1131627 h 4705065"/>
              <a:gd name="connsiteX18" fmla="*/ 633485 w 1033819"/>
              <a:gd name="connsiteY18" fmla="*/ 1568355 h 4705065"/>
              <a:gd name="connsiteX19" fmla="*/ 510655 w 1033819"/>
              <a:gd name="connsiteY19" fmla="*/ 2701119 h 4705065"/>
              <a:gd name="connsiteX20" fmla="*/ 462888 w 1033819"/>
              <a:gd name="connsiteY20" fmla="*/ 3731525 h 4705065"/>
              <a:gd name="connsiteX21" fmla="*/ 462888 w 1033819"/>
              <a:gd name="connsiteY21" fmla="*/ 4134134 h 4705065"/>
              <a:gd name="connsiteX22" fmla="*/ 537950 w 1033819"/>
              <a:gd name="connsiteY22" fmla="*/ 4366146 h 4705065"/>
              <a:gd name="connsiteX23" fmla="*/ 558422 w 1033819"/>
              <a:gd name="connsiteY23" fmla="*/ 4570862 h 4705065"/>
              <a:gd name="connsiteX24" fmla="*/ 435592 w 1033819"/>
              <a:gd name="connsiteY24" fmla="*/ 4693692 h 4705065"/>
              <a:gd name="connsiteX25" fmla="*/ 333234 w 1033819"/>
              <a:gd name="connsiteY25" fmla="*/ 4639101 h 4705065"/>
              <a:gd name="connsiteX26" fmla="*/ 387825 w 1033819"/>
              <a:gd name="connsiteY26" fmla="*/ 4516271 h 4705065"/>
              <a:gd name="connsiteX27" fmla="*/ 374177 w 1033819"/>
              <a:gd name="connsiteY27" fmla="*/ 4372970 h 4705065"/>
              <a:gd name="connsiteX28" fmla="*/ 278643 w 1033819"/>
              <a:gd name="connsiteY28" fmla="*/ 4277436 h 4705065"/>
              <a:gd name="connsiteX0" fmla="*/ 287741 w 1042917"/>
              <a:gd name="connsiteY0" fmla="*/ 4277436 h 4705065"/>
              <a:gd name="connsiteX1" fmla="*/ 219502 w 1042917"/>
              <a:gd name="connsiteY1" fmla="*/ 4372970 h 4705065"/>
              <a:gd name="connsiteX2" fmla="*/ 199030 w 1042917"/>
              <a:gd name="connsiteY2" fmla="*/ 4482152 h 4705065"/>
              <a:gd name="connsiteX3" fmla="*/ 246798 w 1042917"/>
              <a:gd name="connsiteY3" fmla="*/ 4604982 h 4705065"/>
              <a:gd name="connsiteX4" fmla="*/ 212678 w 1042917"/>
              <a:gd name="connsiteY4" fmla="*/ 4680045 h 4705065"/>
              <a:gd name="connsiteX5" fmla="*/ 103496 w 1042917"/>
              <a:gd name="connsiteY5" fmla="*/ 4666397 h 4705065"/>
              <a:gd name="connsiteX6" fmla="*/ 11373 w 1042917"/>
              <a:gd name="connsiteY6" fmla="*/ 4488975 h 4705065"/>
              <a:gd name="connsiteX7" fmla="*/ 171735 w 1042917"/>
              <a:gd name="connsiteY7" fmla="*/ 4113662 h 4705065"/>
              <a:gd name="connsiteX8" fmla="*/ 246798 w 1042917"/>
              <a:gd name="connsiteY8" fmla="*/ 3820236 h 4705065"/>
              <a:gd name="connsiteX9" fmla="*/ 315036 w 1042917"/>
              <a:gd name="connsiteY9" fmla="*/ 3287973 h 4705065"/>
              <a:gd name="connsiteX10" fmla="*/ 410571 w 1042917"/>
              <a:gd name="connsiteY10" fmla="*/ 2339453 h 4705065"/>
              <a:gd name="connsiteX11" fmla="*/ 499281 w 1042917"/>
              <a:gd name="connsiteY11" fmla="*/ 1636594 h 4705065"/>
              <a:gd name="connsiteX12" fmla="*/ 663054 w 1042917"/>
              <a:gd name="connsiteY12" fmla="*/ 974677 h 4705065"/>
              <a:gd name="connsiteX13" fmla="*/ 854123 w 1042917"/>
              <a:gd name="connsiteY13" fmla="*/ 456062 h 4705065"/>
              <a:gd name="connsiteX14" fmla="*/ 1024720 w 1042917"/>
              <a:gd name="connsiteY14" fmla="*/ 39806 h 4705065"/>
              <a:gd name="connsiteX15" fmla="*/ 963305 w 1042917"/>
              <a:gd name="connsiteY15" fmla="*/ 217227 h 4705065"/>
              <a:gd name="connsiteX16" fmla="*/ 820004 w 1042917"/>
              <a:gd name="connsiteY16" fmla="*/ 708546 h 4705065"/>
              <a:gd name="connsiteX17" fmla="*/ 717645 w 1042917"/>
              <a:gd name="connsiteY17" fmla="*/ 1131627 h 4705065"/>
              <a:gd name="connsiteX18" fmla="*/ 642583 w 1042917"/>
              <a:gd name="connsiteY18" fmla="*/ 1568355 h 4705065"/>
              <a:gd name="connsiteX19" fmla="*/ 519753 w 1042917"/>
              <a:gd name="connsiteY19" fmla="*/ 2701119 h 4705065"/>
              <a:gd name="connsiteX20" fmla="*/ 471986 w 1042917"/>
              <a:gd name="connsiteY20" fmla="*/ 3731525 h 4705065"/>
              <a:gd name="connsiteX21" fmla="*/ 471986 w 1042917"/>
              <a:gd name="connsiteY21" fmla="*/ 4134134 h 4705065"/>
              <a:gd name="connsiteX22" fmla="*/ 547048 w 1042917"/>
              <a:gd name="connsiteY22" fmla="*/ 4366146 h 4705065"/>
              <a:gd name="connsiteX23" fmla="*/ 567520 w 1042917"/>
              <a:gd name="connsiteY23" fmla="*/ 4570862 h 4705065"/>
              <a:gd name="connsiteX24" fmla="*/ 444690 w 1042917"/>
              <a:gd name="connsiteY24" fmla="*/ 4693692 h 4705065"/>
              <a:gd name="connsiteX25" fmla="*/ 342332 w 1042917"/>
              <a:gd name="connsiteY25" fmla="*/ 4639101 h 4705065"/>
              <a:gd name="connsiteX26" fmla="*/ 396923 w 1042917"/>
              <a:gd name="connsiteY26" fmla="*/ 4516271 h 4705065"/>
              <a:gd name="connsiteX27" fmla="*/ 383275 w 1042917"/>
              <a:gd name="connsiteY27" fmla="*/ 4372970 h 4705065"/>
              <a:gd name="connsiteX28" fmla="*/ 287741 w 1042917"/>
              <a:gd name="connsiteY28" fmla="*/ 4277436 h 4705065"/>
              <a:gd name="connsiteX0" fmla="*/ 267270 w 1022446"/>
              <a:gd name="connsiteY0" fmla="*/ 4277436 h 4705065"/>
              <a:gd name="connsiteX1" fmla="*/ 199031 w 1022446"/>
              <a:gd name="connsiteY1" fmla="*/ 4372970 h 4705065"/>
              <a:gd name="connsiteX2" fmla="*/ 178559 w 1022446"/>
              <a:gd name="connsiteY2" fmla="*/ 4482152 h 4705065"/>
              <a:gd name="connsiteX3" fmla="*/ 226327 w 1022446"/>
              <a:gd name="connsiteY3" fmla="*/ 4604982 h 4705065"/>
              <a:gd name="connsiteX4" fmla="*/ 192207 w 1022446"/>
              <a:gd name="connsiteY4" fmla="*/ 4680045 h 4705065"/>
              <a:gd name="connsiteX5" fmla="*/ 83025 w 1022446"/>
              <a:gd name="connsiteY5" fmla="*/ 4666397 h 4705065"/>
              <a:gd name="connsiteX6" fmla="*/ 11373 w 1022446"/>
              <a:gd name="connsiteY6" fmla="*/ 4502622 h 4705065"/>
              <a:gd name="connsiteX7" fmla="*/ 151264 w 1022446"/>
              <a:gd name="connsiteY7" fmla="*/ 4113662 h 4705065"/>
              <a:gd name="connsiteX8" fmla="*/ 226327 w 1022446"/>
              <a:gd name="connsiteY8" fmla="*/ 3820236 h 4705065"/>
              <a:gd name="connsiteX9" fmla="*/ 294565 w 1022446"/>
              <a:gd name="connsiteY9" fmla="*/ 3287973 h 4705065"/>
              <a:gd name="connsiteX10" fmla="*/ 390100 w 1022446"/>
              <a:gd name="connsiteY10" fmla="*/ 2339453 h 4705065"/>
              <a:gd name="connsiteX11" fmla="*/ 478810 w 1022446"/>
              <a:gd name="connsiteY11" fmla="*/ 1636594 h 4705065"/>
              <a:gd name="connsiteX12" fmla="*/ 642583 w 1022446"/>
              <a:gd name="connsiteY12" fmla="*/ 974677 h 4705065"/>
              <a:gd name="connsiteX13" fmla="*/ 833652 w 1022446"/>
              <a:gd name="connsiteY13" fmla="*/ 456062 h 4705065"/>
              <a:gd name="connsiteX14" fmla="*/ 1004249 w 1022446"/>
              <a:gd name="connsiteY14" fmla="*/ 39806 h 4705065"/>
              <a:gd name="connsiteX15" fmla="*/ 942834 w 1022446"/>
              <a:gd name="connsiteY15" fmla="*/ 217227 h 4705065"/>
              <a:gd name="connsiteX16" fmla="*/ 799533 w 1022446"/>
              <a:gd name="connsiteY16" fmla="*/ 708546 h 4705065"/>
              <a:gd name="connsiteX17" fmla="*/ 697174 w 1022446"/>
              <a:gd name="connsiteY17" fmla="*/ 1131627 h 4705065"/>
              <a:gd name="connsiteX18" fmla="*/ 622112 w 1022446"/>
              <a:gd name="connsiteY18" fmla="*/ 1568355 h 4705065"/>
              <a:gd name="connsiteX19" fmla="*/ 499282 w 1022446"/>
              <a:gd name="connsiteY19" fmla="*/ 2701119 h 4705065"/>
              <a:gd name="connsiteX20" fmla="*/ 451515 w 1022446"/>
              <a:gd name="connsiteY20" fmla="*/ 3731525 h 4705065"/>
              <a:gd name="connsiteX21" fmla="*/ 451515 w 1022446"/>
              <a:gd name="connsiteY21" fmla="*/ 4134134 h 4705065"/>
              <a:gd name="connsiteX22" fmla="*/ 526577 w 1022446"/>
              <a:gd name="connsiteY22" fmla="*/ 4366146 h 4705065"/>
              <a:gd name="connsiteX23" fmla="*/ 547049 w 1022446"/>
              <a:gd name="connsiteY23" fmla="*/ 4570862 h 4705065"/>
              <a:gd name="connsiteX24" fmla="*/ 424219 w 1022446"/>
              <a:gd name="connsiteY24" fmla="*/ 4693692 h 4705065"/>
              <a:gd name="connsiteX25" fmla="*/ 321861 w 1022446"/>
              <a:gd name="connsiteY25" fmla="*/ 4639101 h 4705065"/>
              <a:gd name="connsiteX26" fmla="*/ 376452 w 1022446"/>
              <a:gd name="connsiteY26" fmla="*/ 4516271 h 4705065"/>
              <a:gd name="connsiteX27" fmla="*/ 362804 w 1022446"/>
              <a:gd name="connsiteY27" fmla="*/ 4372970 h 4705065"/>
              <a:gd name="connsiteX28" fmla="*/ 267270 w 1022446"/>
              <a:gd name="connsiteY28"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383276 w 1015622"/>
              <a:gd name="connsiteY10" fmla="*/ 2339453 h 4705065"/>
              <a:gd name="connsiteX11" fmla="*/ 471986 w 1015622"/>
              <a:gd name="connsiteY11" fmla="*/ 1636594 h 4705065"/>
              <a:gd name="connsiteX12" fmla="*/ 635759 w 1015622"/>
              <a:gd name="connsiteY12" fmla="*/ 974677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792709 w 1015622"/>
              <a:gd name="connsiteY16" fmla="*/ 708546 h 4705065"/>
              <a:gd name="connsiteX17" fmla="*/ 690350 w 1015622"/>
              <a:gd name="connsiteY17" fmla="*/ 1131627 h 4705065"/>
              <a:gd name="connsiteX18" fmla="*/ 615288 w 1015622"/>
              <a:gd name="connsiteY18" fmla="*/ 1568355 h 4705065"/>
              <a:gd name="connsiteX19" fmla="*/ 492458 w 1015622"/>
              <a:gd name="connsiteY19" fmla="*/ 2701119 h 4705065"/>
              <a:gd name="connsiteX20" fmla="*/ 444691 w 1015622"/>
              <a:gd name="connsiteY20" fmla="*/ 3731525 h 4705065"/>
              <a:gd name="connsiteX21" fmla="*/ 444691 w 1015622"/>
              <a:gd name="connsiteY21" fmla="*/ 4134134 h 4705065"/>
              <a:gd name="connsiteX22" fmla="*/ 519753 w 1015622"/>
              <a:gd name="connsiteY22" fmla="*/ 4366146 h 4705065"/>
              <a:gd name="connsiteX23" fmla="*/ 540225 w 1015622"/>
              <a:gd name="connsiteY23" fmla="*/ 4570862 h 4705065"/>
              <a:gd name="connsiteX24" fmla="*/ 417395 w 1015622"/>
              <a:gd name="connsiteY24" fmla="*/ 4693692 h 4705065"/>
              <a:gd name="connsiteX25" fmla="*/ 315037 w 1015622"/>
              <a:gd name="connsiteY25" fmla="*/ 4639101 h 4705065"/>
              <a:gd name="connsiteX26" fmla="*/ 369628 w 1015622"/>
              <a:gd name="connsiteY26" fmla="*/ 4516271 h 4705065"/>
              <a:gd name="connsiteX27" fmla="*/ 355980 w 1015622"/>
              <a:gd name="connsiteY27" fmla="*/ 4372970 h 4705065"/>
              <a:gd name="connsiteX28" fmla="*/ 260446 w 1015622"/>
              <a:gd name="connsiteY28"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383276 w 1015622"/>
              <a:gd name="connsiteY10" fmla="*/ 2339453 h 4705065"/>
              <a:gd name="connsiteX11" fmla="*/ 471986 w 1015622"/>
              <a:gd name="connsiteY11" fmla="*/ 1636594 h 4705065"/>
              <a:gd name="connsiteX12" fmla="*/ 635759 w 1015622"/>
              <a:gd name="connsiteY12" fmla="*/ 974677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792709 w 1015622"/>
              <a:gd name="connsiteY16" fmla="*/ 708546 h 4705065"/>
              <a:gd name="connsiteX17" fmla="*/ 690350 w 1015622"/>
              <a:gd name="connsiteY17" fmla="*/ 1131627 h 4705065"/>
              <a:gd name="connsiteX18" fmla="*/ 615288 w 1015622"/>
              <a:gd name="connsiteY18" fmla="*/ 1568355 h 4705065"/>
              <a:gd name="connsiteX19" fmla="*/ 509538 w 1015622"/>
              <a:gd name="connsiteY19" fmla="*/ 2641839 h 4705065"/>
              <a:gd name="connsiteX20" fmla="*/ 444691 w 1015622"/>
              <a:gd name="connsiteY20" fmla="*/ 3731525 h 4705065"/>
              <a:gd name="connsiteX21" fmla="*/ 444691 w 1015622"/>
              <a:gd name="connsiteY21" fmla="*/ 4134134 h 4705065"/>
              <a:gd name="connsiteX22" fmla="*/ 519753 w 1015622"/>
              <a:gd name="connsiteY22" fmla="*/ 4366146 h 4705065"/>
              <a:gd name="connsiteX23" fmla="*/ 540225 w 1015622"/>
              <a:gd name="connsiteY23" fmla="*/ 4570862 h 4705065"/>
              <a:gd name="connsiteX24" fmla="*/ 417395 w 1015622"/>
              <a:gd name="connsiteY24" fmla="*/ 4693692 h 4705065"/>
              <a:gd name="connsiteX25" fmla="*/ 315037 w 1015622"/>
              <a:gd name="connsiteY25" fmla="*/ 4639101 h 4705065"/>
              <a:gd name="connsiteX26" fmla="*/ 369628 w 1015622"/>
              <a:gd name="connsiteY26" fmla="*/ 4516271 h 4705065"/>
              <a:gd name="connsiteX27" fmla="*/ 355980 w 1015622"/>
              <a:gd name="connsiteY27" fmla="*/ 4372970 h 4705065"/>
              <a:gd name="connsiteX28" fmla="*/ 260446 w 1015622"/>
              <a:gd name="connsiteY28"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25976 w 1015622"/>
              <a:gd name="connsiteY10" fmla="*/ 2339454 h 4705065"/>
              <a:gd name="connsiteX11" fmla="*/ 471986 w 1015622"/>
              <a:gd name="connsiteY11" fmla="*/ 1636594 h 4705065"/>
              <a:gd name="connsiteX12" fmla="*/ 635759 w 1015622"/>
              <a:gd name="connsiteY12" fmla="*/ 974677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792709 w 1015622"/>
              <a:gd name="connsiteY16" fmla="*/ 708546 h 4705065"/>
              <a:gd name="connsiteX17" fmla="*/ 690350 w 1015622"/>
              <a:gd name="connsiteY17" fmla="*/ 1131627 h 4705065"/>
              <a:gd name="connsiteX18" fmla="*/ 615288 w 1015622"/>
              <a:gd name="connsiteY18" fmla="*/ 1568355 h 4705065"/>
              <a:gd name="connsiteX19" fmla="*/ 509538 w 1015622"/>
              <a:gd name="connsiteY19" fmla="*/ 2641839 h 4705065"/>
              <a:gd name="connsiteX20" fmla="*/ 444691 w 1015622"/>
              <a:gd name="connsiteY20" fmla="*/ 3731525 h 4705065"/>
              <a:gd name="connsiteX21" fmla="*/ 444691 w 1015622"/>
              <a:gd name="connsiteY21" fmla="*/ 4134134 h 4705065"/>
              <a:gd name="connsiteX22" fmla="*/ 519753 w 1015622"/>
              <a:gd name="connsiteY22" fmla="*/ 4366146 h 4705065"/>
              <a:gd name="connsiteX23" fmla="*/ 540225 w 1015622"/>
              <a:gd name="connsiteY23" fmla="*/ 4570862 h 4705065"/>
              <a:gd name="connsiteX24" fmla="*/ 417395 w 1015622"/>
              <a:gd name="connsiteY24" fmla="*/ 4693692 h 4705065"/>
              <a:gd name="connsiteX25" fmla="*/ 315037 w 1015622"/>
              <a:gd name="connsiteY25" fmla="*/ 4639101 h 4705065"/>
              <a:gd name="connsiteX26" fmla="*/ 369628 w 1015622"/>
              <a:gd name="connsiteY26" fmla="*/ 4516271 h 4705065"/>
              <a:gd name="connsiteX27" fmla="*/ 355980 w 1015622"/>
              <a:gd name="connsiteY27" fmla="*/ 4372970 h 4705065"/>
              <a:gd name="connsiteX28" fmla="*/ 260446 w 1015622"/>
              <a:gd name="connsiteY28"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25976 w 1015622"/>
              <a:gd name="connsiteY10" fmla="*/ 2339454 h 4705065"/>
              <a:gd name="connsiteX11" fmla="*/ 523225 w 1015622"/>
              <a:gd name="connsiteY11" fmla="*/ 1577314 h 4705065"/>
              <a:gd name="connsiteX12" fmla="*/ 635759 w 1015622"/>
              <a:gd name="connsiteY12" fmla="*/ 974677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792709 w 1015622"/>
              <a:gd name="connsiteY16" fmla="*/ 708546 h 4705065"/>
              <a:gd name="connsiteX17" fmla="*/ 690350 w 1015622"/>
              <a:gd name="connsiteY17" fmla="*/ 1131627 h 4705065"/>
              <a:gd name="connsiteX18" fmla="*/ 615288 w 1015622"/>
              <a:gd name="connsiteY18" fmla="*/ 1568355 h 4705065"/>
              <a:gd name="connsiteX19" fmla="*/ 509538 w 1015622"/>
              <a:gd name="connsiteY19" fmla="*/ 2641839 h 4705065"/>
              <a:gd name="connsiteX20" fmla="*/ 444691 w 1015622"/>
              <a:gd name="connsiteY20" fmla="*/ 3731525 h 4705065"/>
              <a:gd name="connsiteX21" fmla="*/ 444691 w 1015622"/>
              <a:gd name="connsiteY21" fmla="*/ 4134134 h 4705065"/>
              <a:gd name="connsiteX22" fmla="*/ 519753 w 1015622"/>
              <a:gd name="connsiteY22" fmla="*/ 4366146 h 4705065"/>
              <a:gd name="connsiteX23" fmla="*/ 540225 w 1015622"/>
              <a:gd name="connsiteY23" fmla="*/ 4570862 h 4705065"/>
              <a:gd name="connsiteX24" fmla="*/ 417395 w 1015622"/>
              <a:gd name="connsiteY24" fmla="*/ 4693692 h 4705065"/>
              <a:gd name="connsiteX25" fmla="*/ 315037 w 1015622"/>
              <a:gd name="connsiteY25" fmla="*/ 4639101 h 4705065"/>
              <a:gd name="connsiteX26" fmla="*/ 369628 w 1015622"/>
              <a:gd name="connsiteY26" fmla="*/ 4516271 h 4705065"/>
              <a:gd name="connsiteX27" fmla="*/ 355980 w 1015622"/>
              <a:gd name="connsiteY27" fmla="*/ 4372970 h 4705065"/>
              <a:gd name="connsiteX28" fmla="*/ 260446 w 1015622"/>
              <a:gd name="connsiteY28"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25976 w 1015622"/>
              <a:gd name="connsiteY10" fmla="*/ 2339454 h 4705065"/>
              <a:gd name="connsiteX11" fmla="*/ 523225 w 1015622"/>
              <a:gd name="connsiteY11" fmla="*/ 1577314 h 4705065"/>
              <a:gd name="connsiteX12" fmla="*/ 635759 w 1015622"/>
              <a:gd name="connsiteY12" fmla="*/ 974677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792709 w 1015622"/>
              <a:gd name="connsiteY16" fmla="*/ 708546 h 4705065"/>
              <a:gd name="connsiteX17" fmla="*/ 690350 w 1015622"/>
              <a:gd name="connsiteY17" fmla="*/ 1131627 h 4705065"/>
              <a:gd name="connsiteX18" fmla="*/ 632368 w 1015622"/>
              <a:gd name="connsiteY18" fmla="*/ 1542949 h 4705065"/>
              <a:gd name="connsiteX19" fmla="*/ 509538 w 1015622"/>
              <a:gd name="connsiteY19" fmla="*/ 2641839 h 4705065"/>
              <a:gd name="connsiteX20" fmla="*/ 444691 w 1015622"/>
              <a:gd name="connsiteY20" fmla="*/ 3731525 h 4705065"/>
              <a:gd name="connsiteX21" fmla="*/ 444691 w 1015622"/>
              <a:gd name="connsiteY21" fmla="*/ 4134134 h 4705065"/>
              <a:gd name="connsiteX22" fmla="*/ 519753 w 1015622"/>
              <a:gd name="connsiteY22" fmla="*/ 4366146 h 4705065"/>
              <a:gd name="connsiteX23" fmla="*/ 540225 w 1015622"/>
              <a:gd name="connsiteY23" fmla="*/ 4570862 h 4705065"/>
              <a:gd name="connsiteX24" fmla="*/ 417395 w 1015622"/>
              <a:gd name="connsiteY24" fmla="*/ 4693692 h 4705065"/>
              <a:gd name="connsiteX25" fmla="*/ 315037 w 1015622"/>
              <a:gd name="connsiteY25" fmla="*/ 4639101 h 4705065"/>
              <a:gd name="connsiteX26" fmla="*/ 369628 w 1015622"/>
              <a:gd name="connsiteY26" fmla="*/ 4516271 h 4705065"/>
              <a:gd name="connsiteX27" fmla="*/ 355980 w 1015622"/>
              <a:gd name="connsiteY27" fmla="*/ 4372970 h 4705065"/>
              <a:gd name="connsiteX28" fmla="*/ 260446 w 1015622"/>
              <a:gd name="connsiteY28"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25976 w 1015622"/>
              <a:gd name="connsiteY10" fmla="*/ 2339454 h 4705065"/>
              <a:gd name="connsiteX11" fmla="*/ 523225 w 1015622"/>
              <a:gd name="connsiteY11" fmla="*/ 1577314 h 4705065"/>
              <a:gd name="connsiteX12" fmla="*/ 635759 w 1015622"/>
              <a:gd name="connsiteY12" fmla="*/ 974677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792709 w 1015622"/>
              <a:gd name="connsiteY16" fmla="*/ 708546 h 4705065"/>
              <a:gd name="connsiteX17" fmla="*/ 632368 w 1015622"/>
              <a:gd name="connsiteY17" fmla="*/ 1542949 h 4705065"/>
              <a:gd name="connsiteX18" fmla="*/ 509538 w 1015622"/>
              <a:gd name="connsiteY18" fmla="*/ 2641839 h 4705065"/>
              <a:gd name="connsiteX19" fmla="*/ 444691 w 1015622"/>
              <a:gd name="connsiteY19" fmla="*/ 3731525 h 4705065"/>
              <a:gd name="connsiteX20" fmla="*/ 444691 w 1015622"/>
              <a:gd name="connsiteY20" fmla="*/ 4134134 h 4705065"/>
              <a:gd name="connsiteX21" fmla="*/ 519753 w 1015622"/>
              <a:gd name="connsiteY21" fmla="*/ 4366146 h 4705065"/>
              <a:gd name="connsiteX22" fmla="*/ 540225 w 1015622"/>
              <a:gd name="connsiteY22" fmla="*/ 4570862 h 4705065"/>
              <a:gd name="connsiteX23" fmla="*/ 417395 w 1015622"/>
              <a:gd name="connsiteY23" fmla="*/ 4693692 h 4705065"/>
              <a:gd name="connsiteX24" fmla="*/ 315037 w 1015622"/>
              <a:gd name="connsiteY24" fmla="*/ 4639101 h 4705065"/>
              <a:gd name="connsiteX25" fmla="*/ 369628 w 1015622"/>
              <a:gd name="connsiteY25" fmla="*/ 4516271 h 4705065"/>
              <a:gd name="connsiteX26" fmla="*/ 355980 w 1015622"/>
              <a:gd name="connsiteY26" fmla="*/ 4372970 h 4705065"/>
              <a:gd name="connsiteX27" fmla="*/ 260446 w 1015622"/>
              <a:gd name="connsiteY27"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25976 w 1015622"/>
              <a:gd name="connsiteY10" fmla="*/ 2339454 h 4705065"/>
              <a:gd name="connsiteX11" fmla="*/ 557384 w 1015622"/>
              <a:gd name="connsiteY11" fmla="*/ 1577314 h 4705065"/>
              <a:gd name="connsiteX12" fmla="*/ 635759 w 1015622"/>
              <a:gd name="connsiteY12" fmla="*/ 974677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792709 w 1015622"/>
              <a:gd name="connsiteY16" fmla="*/ 708546 h 4705065"/>
              <a:gd name="connsiteX17" fmla="*/ 632368 w 1015622"/>
              <a:gd name="connsiteY17" fmla="*/ 1542949 h 4705065"/>
              <a:gd name="connsiteX18" fmla="*/ 509538 w 1015622"/>
              <a:gd name="connsiteY18" fmla="*/ 2641839 h 4705065"/>
              <a:gd name="connsiteX19" fmla="*/ 444691 w 1015622"/>
              <a:gd name="connsiteY19" fmla="*/ 3731525 h 4705065"/>
              <a:gd name="connsiteX20" fmla="*/ 444691 w 1015622"/>
              <a:gd name="connsiteY20" fmla="*/ 4134134 h 4705065"/>
              <a:gd name="connsiteX21" fmla="*/ 519753 w 1015622"/>
              <a:gd name="connsiteY21" fmla="*/ 4366146 h 4705065"/>
              <a:gd name="connsiteX22" fmla="*/ 540225 w 1015622"/>
              <a:gd name="connsiteY22" fmla="*/ 4570862 h 4705065"/>
              <a:gd name="connsiteX23" fmla="*/ 417395 w 1015622"/>
              <a:gd name="connsiteY23" fmla="*/ 4693692 h 4705065"/>
              <a:gd name="connsiteX24" fmla="*/ 315037 w 1015622"/>
              <a:gd name="connsiteY24" fmla="*/ 4639101 h 4705065"/>
              <a:gd name="connsiteX25" fmla="*/ 369628 w 1015622"/>
              <a:gd name="connsiteY25" fmla="*/ 4516271 h 4705065"/>
              <a:gd name="connsiteX26" fmla="*/ 355980 w 1015622"/>
              <a:gd name="connsiteY26" fmla="*/ 4372970 h 4705065"/>
              <a:gd name="connsiteX27" fmla="*/ 260446 w 1015622"/>
              <a:gd name="connsiteY27"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25976 w 1015622"/>
              <a:gd name="connsiteY10" fmla="*/ 2339454 h 4705065"/>
              <a:gd name="connsiteX11" fmla="*/ 557384 w 1015622"/>
              <a:gd name="connsiteY11" fmla="*/ 1577314 h 4705065"/>
              <a:gd name="connsiteX12" fmla="*/ 678459 w 1015622"/>
              <a:gd name="connsiteY12" fmla="*/ 974677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792709 w 1015622"/>
              <a:gd name="connsiteY16" fmla="*/ 708546 h 4705065"/>
              <a:gd name="connsiteX17" fmla="*/ 632368 w 1015622"/>
              <a:gd name="connsiteY17" fmla="*/ 1542949 h 4705065"/>
              <a:gd name="connsiteX18" fmla="*/ 509538 w 1015622"/>
              <a:gd name="connsiteY18" fmla="*/ 2641839 h 4705065"/>
              <a:gd name="connsiteX19" fmla="*/ 444691 w 1015622"/>
              <a:gd name="connsiteY19" fmla="*/ 3731525 h 4705065"/>
              <a:gd name="connsiteX20" fmla="*/ 444691 w 1015622"/>
              <a:gd name="connsiteY20" fmla="*/ 4134134 h 4705065"/>
              <a:gd name="connsiteX21" fmla="*/ 519753 w 1015622"/>
              <a:gd name="connsiteY21" fmla="*/ 4366146 h 4705065"/>
              <a:gd name="connsiteX22" fmla="*/ 540225 w 1015622"/>
              <a:gd name="connsiteY22" fmla="*/ 4570862 h 4705065"/>
              <a:gd name="connsiteX23" fmla="*/ 417395 w 1015622"/>
              <a:gd name="connsiteY23" fmla="*/ 4693692 h 4705065"/>
              <a:gd name="connsiteX24" fmla="*/ 315037 w 1015622"/>
              <a:gd name="connsiteY24" fmla="*/ 4639101 h 4705065"/>
              <a:gd name="connsiteX25" fmla="*/ 369628 w 1015622"/>
              <a:gd name="connsiteY25" fmla="*/ 4516271 h 4705065"/>
              <a:gd name="connsiteX26" fmla="*/ 355980 w 1015622"/>
              <a:gd name="connsiteY26" fmla="*/ 4372970 h 4705065"/>
              <a:gd name="connsiteX27" fmla="*/ 260446 w 1015622"/>
              <a:gd name="connsiteY27"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25976 w 1015622"/>
              <a:gd name="connsiteY10" fmla="*/ 2339454 h 4705065"/>
              <a:gd name="connsiteX11" fmla="*/ 531765 w 1015622"/>
              <a:gd name="connsiteY11" fmla="*/ 1543440 h 4705065"/>
              <a:gd name="connsiteX12" fmla="*/ 678459 w 1015622"/>
              <a:gd name="connsiteY12" fmla="*/ 974677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792709 w 1015622"/>
              <a:gd name="connsiteY16" fmla="*/ 708546 h 4705065"/>
              <a:gd name="connsiteX17" fmla="*/ 632368 w 1015622"/>
              <a:gd name="connsiteY17" fmla="*/ 1542949 h 4705065"/>
              <a:gd name="connsiteX18" fmla="*/ 509538 w 1015622"/>
              <a:gd name="connsiteY18" fmla="*/ 2641839 h 4705065"/>
              <a:gd name="connsiteX19" fmla="*/ 444691 w 1015622"/>
              <a:gd name="connsiteY19" fmla="*/ 3731525 h 4705065"/>
              <a:gd name="connsiteX20" fmla="*/ 444691 w 1015622"/>
              <a:gd name="connsiteY20" fmla="*/ 4134134 h 4705065"/>
              <a:gd name="connsiteX21" fmla="*/ 519753 w 1015622"/>
              <a:gd name="connsiteY21" fmla="*/ 4366146 h 4705065"/>
              <a:gd name="connsiteX22" fmla="*/ 540225 w 1015622"/>
              <a:gd name="connsiteY22" fmla="*/ 4570862 h 4705065"/>
              <a:gd name="connsiteX23" fmla="*/ 417395 w 1015622"/>
              <a:gd name="connsiteY23" fmla="*/ 4693692 h 4705065"/>
              <a:gd name="connsiteX24" fmla="*/ 315037 w 1015622"/>
              <a:gd name="connsiteY24" fmla="*/ 4639101 h 4705065"/>
              <a:gd name="connsiteX25" fmla="*/ 369628 w 1015622"/>
              <a:gd name="connsiteY25" fmla="*/ 4516271 h 4705065"/>
              <a:gd name="connsiteX26" fmla="*/ 355980 w 1015622"/>
              <a:gd name="connsiteY26" fmla="*/ 4372970 h 4705065"/>
              <a:gd name="connsiteX27" fmla="*/ 260446 w 1015622"/>
              <a:gd name="connsiteY27"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17436 w 1015622"/>
              <a:gd name="connsiteY10" fmla="*/ 2339455 h 4705065"/>
              <a:gd name="connsiteX11" fmla="*/ 531765 w 1015622"/>
              <a:gd name="connsiteY11" fmla="*/ 1543440 h 4705065"/>
              <a:gd name="connsiteX12" fmla="*/ 678459 w 1015622"/>
              <a:gd name="connsiteY12" fmla="*/ 974677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792709 w 1015622"/>
              <a:gd name="connsiteY16" fmla="*/ 708546 h 4705065"/>
              <a:gd name="connsiteX17" fmla="*/ 632368 w 1015622"/>
              <a:gd name="connsiteY17" fmla="*/ 1542949 h 4705065"/>
              <a:gd name="connsiteX18" fmla="*/ 509538 w 1015622"/>
              <a:gd name="connsiteY18" fmla="*/ 2641839 h 4705065"/>
              <a:gd name="connsiteX19" fmla="*/ 444691 w 1015622"/>
              <a:gd name="connsiteY19" fmla="*/ 3731525 h 4705065"/>
              <a:gd name="connsiteX20" fmla="*/ 444691 w 1015622"/>
              <a:gd name="connsiteY20" fmla="*/ 4134134 h 4705065"/>
              <a:gd name="connsiteX21" fmla="*/ 519753 w 1015622"/>
              <a:gd name="connsiteY21" fmla="*/ 4366146 h 4705065"/>
              <a:gd name="connsiteX22" fmla="*/ 540225 w 1015622"/>
              <a:gd name="connsiteY22" fmla="*/ 4570862 h 4705065"/>
              <a:gd name="connsiteX23" fmla="*/ 417395 w 1015622"/>
              <a:gd name="connsiteY23" fmla="*/ 4693692 h 4705065"/>
              <a:gd name="connsiteX24" fmla="*/ 315037 w 1015622"/>
              <a:gd name="connsiteY24" fmla="*/ 4639101 h 4705065"/>
              <a:gd name="connsiteX25" fmla="*/ 369628 w 1015622"/>
              <a:gd name="connsiteY25" fmla="*/ 4516271 h 4705065"/>
              <a:gd name="connsiteX26" fmla="*/ 355980 w 1015622"/>
              <a:gd name="connsiteY26" fmla="*/ 4372970 h 4705065"/>
              <a:gd name="connsiteX27" fmla="*/ 260446 w 1015622"/>
              <a:gd name="connsiteY27"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17436 w 1015622"/>
              <a:gd name="connsiteY10" fmla="*/ 2339455 h 4705065"/>
              <a:gd name="connsiteX11" fmla="*/ 531765 w 1015622"/>
              <a:gd name="connsiteY11" fmla="*/ 1543440 h 4705065"/>
              <a:gd name="connsiteX12" fmla="*/ 678459 w 1015622"/>
              <a:gd name="connsiteY12" fmla="*/ 974677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792709 w 1015622"/>
              <a:gd name="connsiteY16" fmla="*/ 708546 h 4705065"/>
              <a:gd name="connsiteX17" fmla="*/ 615287 w 1015622"/>
              <a:gd name="connsiteY17" fmla="*/ 1602230 h 4705065"/>
              <a:gd name="connsiteX18" fmla="*/ 509538 w 1015622"/>
              <a:gd name="connsiteY18" fmla="*/ 2641839 h 4705065"/>
              <a:gd name="connsiteX19" fmla="*/ 444691 w 1015622"/>
              <a:gd name="connsiteY19" fmla="*/ 3731525 h 4705065"/>
              <a:gd name="connsiteX20" fmla="*/ 444691 w 1015622"/>
              <a:gd name="connsiteY20" fmla="*/ 4134134 h 4705065"/>
              <a:gd name="connsiteX21" fmla="*/ 519753 w 1015622"/>
              <a:gd name="connsiteY21" fmla="*/ 4366146 h 4705065"/>
              <a:gd name="connsiteX22" fmla="*/ 540225 w 1015622"/>
              <a:gd name="connsiteY22" fmla="*/ 4570862 h 4705065"/>
              <a:gd name="connsiteX23" fmla="*/ 417395 w 1015622"/>
              <a:gd name="connsiteY23" fmla="*/ 4693692 h 4705065"/>
              <a:gd name="connsiteX24" fmla="*/ 315037 w 1015622"/>
              <a:gd name="connsiteY24" fmla="*/ 4639101 h 4705065"/>
              <a:gd name="connsiteX25" fmla="*/ 369628 w 1015622"/>
              <a:gd name="connsiteY25" fmla="*/ 4516271 h 4705065"/>
              <a:gd name="connsiteX26" fmla="*/ 355980 w 1015622"/>
              <a:gd name="connsiteY26" fmla="*/ 4372970 h 4705065"/>
              <a:gd name="connsiteX27" fmla="*/ 260446 w 1015622"/>
              <a:gd name="connsiteY27"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17436 w 1015622"/>
              <a:gd name="connsiteY10" fmla="*/ 2339455 h 4705065"/>
              <a:gd name="connsiteX11" fmla="*/ 531765 w 1015622"/>
              <a:gd name="connsiteY11" fmla="*/ 1543440 h 4705065"/>
              <a:gd name="connsiteX12" fmla="*/ 678459 w 1015622"/>
              <a:gd name="connsiteY12" fmla="*/ 974677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784169 w 1015622"/>
              <a:gd name="connsiteY16" fmla="*/ 717014 h 4705065"/>
              <a:gd name="connsiteX17" fmla="*/ 615287 w 1015622"/>
              <a:gd name="connsiteY17" fmla="*/ 1602230 h 4705065"/>
              <a:gd name="connsiteX18" fmla="*/ 509538 w 1015622"/>
              <a:gd name="connsiteY18" fmla="*/ 2641839 h 4705065"/>
              <a:gd name="connsiteX19" fmla="*/ 444691 w 1015622"/>
              <a:gd name="connsiteY19" fmla="*/ 3731525 h 4705065"/>
              <a:gd name="connsiteX20" fmla="*/ 444691 w 1015622"/>
              <a:gd name="connsiteY20" fmla="*/ 4134134 h 4705065"/>
              <a:gd name="connsiteX21" fmla="*/ 519753 w 1015622"/>
              <a:gd name="connsiteY21" fmla="*/ 4366146 h 4705065"/>
              <a:gd name="connsiteX22" fmla="*/ 540225 w 1015622"/>
              <a:gd name="connsiteY22" fmla="*/ 4570862 h 4705065"/>
              <a:gd name="connsiteX23" fmla="*/ 417395 w 1015622"/>
              <a:gd name="connsiteY23" fmla="*/ 4693692 h 4705065"/>
              <a:gd name="connsiteX24" fmla="*/ 315037 w 1015622"/>
              <a:gd name="connsiteY24" fmla="*/ 4639101 h 4705065"/>
              <a:gd name="connsiteX25" fmla="*/ 369628 w 1015622"/>
              <a:gd name="connsiteY25" fmla="*/ 4516271 h 4705065"/>
              <a:gd name="connsiteX26" fmla="*/ 355980 w 1015622"/>
              <a:gd name="connsiteY26" fmla="*/ 4372970 h 4705065"/>
              <a:gd name="connsiteX27" fmla="*/ 260446 w 1015622"/>
              <a:gd name="connsiteY27"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17436 w 1015622"/>
              <a:gd name="connsiteY10" fmla="*/ 2339455 h 4705065"/>
              <a:gd name="connsiteX11" fmla="*/ 531765 w 1015622"/>
              <a:gd name="connsiteY11" fmla="*/ 1543440 h 4705065"/>
              <a:gd name="connsiteX12" fmla="*/ 686999 w 1015622"/>
              <a:gd name="connsiteY12" fmla="*/ 906928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784169 w 1015622"/>
              <a:gd name="connsiteY16" fmla="*/ 717014 h 4705065"/>
              <a:gd name="connsiteX17" fmla="*/ 615287 w 1015622"/>
              <a:gd name="connsiteY17" fmla="*/ 1602230 h 4705065"/>
              <a:gd name="connsiteX18" fmla="*/ 509538 w 1015622"/>
              <a:gd name="connsiteY18" fmla="*/ 2641839 h 4705065"/>
              <a:gd name="connsiteX19" fmla="*/ 444691 w 1015622"/>
              <a:gd name="connsiteY19" fmla="*/ 3731525 h 4705065"/>
              <a:gd name="connsiteX20" fmla="*/ 444691 w 1015622"/>
              <a:gd name="connsiteY20" fmla="*/ 4134134 h 4705065"/>
              <a:gd name="connsiteX21" fmla="*/ 519753 w 1015622"/>
              <a:gd name="connsiteY21" fmla="*/ 4366146 h 4705065"/>
              <a:gd name="connsiteX22" fmla="*/ 540225 w 1015622"/>
              <a:gd name="connsiteY22" fmla="*/ 4570862 h 4705065"/>
              <a:gd name="connsiteX23" fmla="*/ 417395 w 1015622"/>
              <a:gd name="connsiteY23" fmla="*/ 4693692 h 4705065"/>
              <a:gd name="connsiteX24" fmla="*/ 315037 w 1015622"/>
              <a:gd name="connsiteY24" fmla="*/ 4639101 h 4705065"/>
              <a:gd name="connsiteX25" fmla="*/ 369628 w 1015622"/>
              <a:gd name="connsiteY25" fmla="*/ 4516271 h 4705065"/>
              <a:gd name="connsiteX26" fmla="*/ 355980 w 1015622"/>
              <a:gd name="connsiteY26" fmla="*/ 4372970 h 4705065"/>
              <a:gd name="connsiteX27" fmla="*/ 260446 w 1015622"/>
              <a:gd name="connsiteY27"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17436 w 1015622"/>
              <a:gd name="connsiteY10" fmla="*/ 2339455 h 4705065"/>
              <a:gd name="connsiteX11" fmla="*/ 531765 w 1015622"/>
              <a:gd name="connsiteY11" fmla="*/ 1543440 h 4705065"/>
              <a:gd name="connsiteX12" fmla="*/ 686999 w 1015622"/>
              <a:gd name="connsiteY12" fmla="*/ 906928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784169 w 1015622"/>
              <a:gd name="connsiteY16" fmla="*/ 717014 h 4705065"/>
              <a:gd name="connsiteX17" fmla="*/ 615287 w 1015622"/>
              <a:gd name="connsiteY17" fmla="*/ 1602230 h 4705065"/>
              <a:gd name="connsiteX18" fmla="*/ 509538 w 1015622"/>
              <a:gd name="connsiteY18" fmla="*/ 2641839 h 4705065"/>
              <a:gd name="connsiteX19" fmla="*/ 527923 w 1015622"/>
              <a:gd name="connsiteY19" fmla="*/ 2640313 h 4705065"/>
              <a:gd name="connsiteX20" fmla="*/ 444691 w 1015622"/>
              <a:gd name="connsiteY20" fmla="*/ 3731525 h 4705065"/>
              <a:gd name="connsiteX21" fmla="*/ 444691 w 1015622"/>
              <a:gd name="connsiteY21" fmla="*/ 4134134 h 4705065"/>
              <a:gd name="connsiteX22" fmla="*/ 519753 w 1015622"/>
              <a:gd name="connsiteY22" fmla="*/ 4366146 h 4705065"/>
              <a:gd name="connsiteX23" fmla="*/ 540225 w 1015622"/>
              <a:gd name="connsiteY23" fmla="*/ 4570862 h 4705065"/>
              <a:gd name="connsiteX24" fmla="*/ 417395 w 1015622"/>
              <a:gd name="connsiteY24" fmla="*/ 4693692 h 4705065"/>
              <a:gd name="connsiteX25" fmla="*/ 315037 w 1015622"/>
              <a:gd name="connsiteY25" fmla="*/ 4639101 h 4705065"/>
              <a:gd name="connsiteX26" fmla="*/ 369628 w 1015622"/>
              <a:gd name="connsiteY26" fmla="*/ 4516271 h 4705065"/>
              <a:gd name="connsiteX27" fmla="*/ 355980 w 1015622"/>
              <a:gd name="connsiteY27" fmla="*/ 4372970 h 4705065"/>
              <a:gd name="connsiteX28" fmla="*/ 260446 w 1015622"/>
              <a:gd name="connsiteY28"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20864 w 1015622"/>
              <a:gd name="connsiteY10" fmla="*/ 2295256 h 4705065"/>
              <a:gd name="connsiteX11" fmla="*/ 531765 w 1015622"/>
              <a:gd name="connsiteY11" fmla="*/ 1543440 h 4705065"/>
              <a:gd name="connsiteX12" fmla="*/ 686999 w 1015622"/>
              <a:gd name="connsiteY12" fmla="*/ 906928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784169 w 1015622"/>
              <a:gd name="connsiteY16" fmla="*/ 717014 h 4705065"/>
              <a:gd name="connsiteX17" fmla="*/ 615287 w 1015622"/>
              <a:gd name="connsiteY17" fmla="*/ 1602230 h 4705065"/>
              <a:gd name="connsiteX18" fmla="*/ 509538 w 1015622"/>
              <a:gd name="connsiteY18" fmla="*/ 2641839 h 4705065"/>
              <a:gd name="connsiteX19" fmla="*/ 527923 w 1015622"/>
              <a:gd name="connsiteY19" fmla="*/ 2640313 h 4705065"/>
              <a:gd name="connsiteX20" fmla="*/ 444691 w 1015622"/>
              <a:gd name="connsiteY20" fmla="*/ 3731525 h 4705065"/>
              <a:gd name="connsiteX21" fmla="*/ 444691 w 1015622"/>
              <a:gd name="connsiteY21" fmla="*/ 4134134 h 4705065"/>
              <a:gd name="connsiteX22" fmla="*/ 519753 w 1015622"/>
              <a:gd name="connsiteY22" fmla="*/ 4366146 h 4705065"/>
              <a:gd name="connsiteX23" fmla="*/ 540225 w 1015622"/>
              <a:gd name="connsiteY23" fmla="*/ 4570862 h 4705065"/>
              <a:gd name="connsiteX24" fmla="*/ 417395 w 1015622"/>
              <a:gd name="connsiteY24" fmla="*/ 4693692 h 4705065"/>
              <a:gd name="connsiteX25" fmla="*/ 315037 w 1015622"/>
              <a:gd name="connsiteY25" fmla="*/ 4639101 h 4705065"/>
              <a:gd name="connsiteX26" fmla="*/ 369628 w 1015622"/>
              <a:gd name="connsiteY26" fmla="*/ 4516271 h 4705065"/>
              <a:gd name="connsiteX27" fmla="*/ 355980 w 1015622"/>
              <a:gd name="connsiteY27" fmla="*/ 4372970 h 4705065"/>
              <a:gd name="connsiteX28" fmla="*/ 260446 w 1015622"/>
              <a:gd name="connsiteY28"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20864 w 1015622"/>
              <a:gd name="connsiteY10" fmla="*/ 2295256 h 4705065"/>
              <a:gd name="connsiteX11" fmla="*/ 531765 w 1015622"/>
              <a:gd name="connsiteY11" fmla="*/ 1543440 h 4705065"/>
              <a:gd name="connsiteX12" fmla="*/ 686999 w 1015622"/>
              <a:gd name="connsiteY12" fmla="*/ 906928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784169 w 1015622"/>
              <a:gd name="connsiteY16" fmla="*/ 717014 h 4705065"/>
              <a:gd name="connsiteX17" fmla="*/ 632431 w 1015622"/>
              <a:gd name="connsiteY17" fmla="*/ 1575031 h 4705065"/>
              <a:gd name="connsiteX18" fmla="*/ 509538 w 1015622"/>
              <a:gd name="connsiteY18" fmla="*/ 2641839 h 4705065"/>
              <a:gd name="connsiteX19" fmla="*/ 527923 w 1015622"/>
              <a:gd name="connsiteY19" fmla="*/ 2640313 h 4705065"/>
              <a:gd name="connsiteX20" fmla="*/ 444691 w 1015622"/>
              <a:gd name="connsiteY20" fmla="*/ 3731525 h 4705065"/>
              <a:gd name="connsiteX21" fmla="*/ 444691 w 1015622"/>
              <a:gd name="connsiteY21" fmla="*/ 4134134 h 4705065"/>
              <a:gd name="connsiteX22" fmla="*/ 519753 w 1015622"/>
              <a:gd name="connsiteY22" fmla="*/ 4366146 h 4705065"/>
              <a:gd name="connsiteX23" fmla="*/ 540225 w 1015622"/>
              <a:gd name="connsiteY23" fmla="*/ 4570862 h 4705065"/>
              <a:gd name="connsiteX24" fmla="*/ 417395 w 1015622"/>
              <a:gd name="connsiteY24" fmla="*/ 4693692 h 4705065"/>
              <a:gd name="connsiteX25" fmla="*/ 315037 w 1015622"/>
              <a:gd name="connsiteY25" fmla="*/ 4639101 h 4705065"/>
              <a:gd name="connsiteX26" fmla="*/ 369628 w 1015622"/>
              <a:gd name="connsiteY26" fmla="*/ 4516271 h 4705065"/>
              <a:gd name="connsiteX27" fmla="*/ 355980 w 1015622"/>
              <a:gd name="connsiteY27" fmla="*/ 4372970 h 4705065"/>
              <a:gd name="connsiteX28" fmla="*/ 260446 w 1015622"/>
              <a:gd name="connsiteY28"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20864 w 1015622"/>
              <a:gd name="connsiteY10" fmla="*/ 2295256 h 4705065"/>
              <a:gd name="connsiteX11" fmla="*/ 521479 w 1015622"/>
              <a:gd name="connsiteY11" fmla="*/ 1536640 h 4705065"/>
              <a:gd name="connsiteX12" fmla="*/ 686999 w 1015622"/>
              <a:gd name="connsiteY12" fmla="*/ 906928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784169 w 1015622"/>
              <a:gd name="connsiteY16" fmla="*/ 717014 h 4705065"/>
              <a:gd name="connsiteX17" fmla="*/ 632431 w 1015622"/>
              <a:gd name="connsiteY17" fmla="*/ 1575031 h 4705065"/>
              <a:gd name="connsiteX18" fmla="*/ 509538 w 1015622"/>
              <a:gd name="connsiteY18" fmla="*/ 2641839 h 4705065"/>
              <a:gd name="connsiteX19" fmla="*/ 527923 w 1015622"/>
              <a:gd name="connsiteY19" fmla="*/ 2640313 h 4705065"/>
              <a:gd name="connsiteX20" fmla="*/ 444691 w 1015622"/>
              <a:gd name="connsiteY20" fmla="*/ 3731525 h 4705065"/>
              <a:gd name="connsiteX21" fmla="*/ 444691 w 1015622"/>
              <a:gd name="connsiteY21" fmla="*/ 4134134 h 4705065"/>
              <a:gd name="connsiteX22" fmla="*/ 519753 w 1015622"/>
              <a:gd name="connsiteY22" fmla="*/ 4366146 h 4705065"/>
              <a:gd name="connsiteX23" fmla="*/ 540225 w 1015622"/>
              <a:gd name="connsiteY23" fmla="*/ 4570862 h 4705065"/>
              <a:gd name="connsiteX24" fmla="*/ 417395 w 1015622"/>
              <a:gd name="connsiteY24" fmla="*/ 4693692 h 4705065"/>
              <a:gd name="connsiteX25" fmla="*/ 315037 w 1015622"/>
              <a:gd name="connsiteY25" fmla="*/ 4639101 h 4705065"/>
              <a:gd name="connsiteX26" fmla="*/ 369628 w 1015622"/>
              <a:gd name="connsiteY26" fmla="*/ 4516271 h 4705065"/>
              <a:gd name="connsiteX27" fmla="*/ 355980 w 1015622"/>
              <a:gd name="connsiteY27" fmla="*/ 4372970 h 4705065"/>
              <a:gd name="connsiteX28" fmla="*/ 260446 w 1015622"/>
              <a:gd name="connsiteY28"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20864 w 1015622"/>
              <a:gd name="connsiteY10" fmla="*/ 2295256 h 4705065"/>
              <a:gd name="connsiteX11" fmla="*/ 521479 w 1015622"/>
              <a:gd name="connsiteY11" fmla="*/ 1536640 h 4705065"/>
              <a:gd name="connsiteX12" fmla="*/ 686999 w 1015622"/>
              <a:gd name="connsiteY12" fmla="*/ 906928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797884 w 1015622"/>
              <a:gd name="connsiteY16" fmla="*/ 778215 h 4705065"/>
              <a:gd name="connsiteX17" fmla="*/ 632431 w 1015622"/>
              <a:gd name="connsiteY17" fmla="*/ 1575031 h 4705065"/>
              <a:gd name="connsiteX18" fmla="*/ 509538 w 1015622"/>
              <a:gd name="connsiteY18" fmla="*/ 2641839 h 4705065"/>
              <a:gd name="connsiteX19" fmla="*/ 527923 w 1015622"/>
              <a:gd name="connsiteY19" fmla="*/ 2640313 h 4705065"/>
              <a:gd name="connsiteX20" fmla="*/ 444691 w 1015622"/>
              <a:gd name="connsiteY20" fmla="*/ 3731525 h 4705065"/>
              <a:gd name="connsiteX21" fmla="*/ 444691 w 1015622"/>
              <a:gd name="connsiteY21" fmla="*/ 4134134 h 4705065"/>
              <a:gd name="connsiteX22" fmla="*/ 519753 w 1015622"/>
              <a:gd name="connsiteY22" fmla="*/ 4366146 h 4705065"/>
              <a:gd name="connsiteX23" fmla="*/ 540225 w 1015622"/>
              <a:gd name="connsiteY23" fmla="*/ 4570862 h 4705065"/>
              <a:gd name="connsiteX24" fmla="*/ 417395 w 1015622"/>
              <a:gd name="connsiteY24" fmla="*/ 4693692 h 4705065"/>
              <a:gd name="connsiteX25" fmla="*/ 315037 w 1015622"/>
              <a:gd name="connsiteY25" fmla="*/ 4639101 h 4705065"/>
              <a:gd name="connsiteX26" fmla="*/ 369628 w 1015622"/>
              <a:gd name="connsiteY26" fmla="*/ 4516271 h 4705065"/>
              <a:gd name="connsiteX27" fmla="*/ 355980 w 1015622"/>
              <a:gd name="connsiteY27" fmla="*/ 4372970 h 4705065"/>
              <a:gd name="connsiteX28" fmla="*/ 260446 w 1015622"/>
              <a:gd name="connsiteY28"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20864 w 1015622"/>
              <a:gd name="connsiteY10" fmla="*/ 2295256 h 4705065"/>
              <a:gd name="connsiteX11" fmla="*/ 521479 w 1015622"/>
              <a:gd name="connsiteY11" fmla="*/ 1536640 h 4705065"/>
              <a:gd name="connsiteX12" fmla="*/ 686999 w 1015622"/>
              <a:gd name="connsiteY12" fmla="*/ 906928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797884 w 1015622"/>
              <a:gd name="connsiteY16" fmla="*/ 778215 h 4705065"/>
              <a:gd name="connsiteX17" fmla="*/ 653003 w 1015622"/>
              <a:gd name="connsiteY17" fmla="*/ 1520631 h 4705065"/>
              <a:gd name="connsiteX18" fmla="*/ 509538 w 1015622"/>
              <a:gd name="connsiteY18" fmla="*/ 2641839 h 4705065"/>
              <a:gd name="connsiteX19" fmla="*/ 527923 w 1015622"/>
              <a:gd name="connsiteY19" fmla="*/ 2640313 h 4705065"/>
              <a:gd name="connsiteX20" fmla="*/ 444691 w 1015622"/>
              <a:gd name="connsiteY20" fmla="*/ 3731525 h 4705065"/>
              <a:gd name="connsiteX21" fmla="*/ 444691 w 1015622"/>
              <a:gd name="connsiteY21" fmla="*/ 4134134 h 4705065"/>
              <a:gd name="connsiteX22" fmla="*/ 519753 w 1015622"/>
              <a:gd name="connsiteY22" fmla="*/ 4366146 h 4705065"/>
              <a:gd name="connsiteX23" fmla="*/ 540225 w 1015622"/>
              <a:gd name="connsiteY23" fmla="*/ 4570862 h 4705065"/>
              <a:gd name="connsiteX24" fmla="*/ 417395 w 1015622"/>
              <a:gd name="connsiteY24" fmla="*/ 4693692 h 4705065"/>
              <a:gd name="connsiteX25" fmla="*/ 315037 w 1015622"/>
              <a:gd name="connsiteY25" fmla="*/ 4639101 h 4705065"/>
              <a:gd name="connsiteX26" fmla="*/ 369628 w 1015622"/>
              <a:gd name="connsiteY26" fmla="*/ 4516271 h 4705065"/>
              <a:gd name="connsiteX27" fmla="*/ 355980 w 1015622"/>
              <a:gd name="connsiteY27" fmla="*/ 4372970 h 4705065"/>
              <a:gd name="connsiteX28" fmla="*/ 260446 w 1015622"/>
              <a:gd name="connsiteY28"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20864 w 1015622"/>
              <a:gd name="connsiteY10" fmla="*/ 2295256 h 4705065"/>
              <a:gd name="connsiteX11" fmla="*/ 521479 w 1015622"/>
              <a:gd name="connsiteY11" fmla="*/ 1536640 h 4705065"/>
              <a:gd name="connsiteX12" fmla="*/ 686999 w 1015622"/>
              <a:gd name="connsiteY12" fmla="*/ 906928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808170 w 1015622"/>
              <a:gd name="connsiteY16" fmla="*/ 771415 h 4705065"/>
              <a:gd name="connsiteX17" fmla="*/ 653003 w 1015622"/>
              <a:gd name="connsiteY17" fmla="*/ 1520631 h 4705065"/>
              <a:gd name="connsiteX18" fmla="*/ 509538 w 1015622"/>
              <a:gd name="connsiteY18" fmla="*/ 2641839 h 4705065"/>
              <a:gd name="connsiteX19" fmla="*/ 527923 w 1015622"/>
              <a:gd name="connsiteY19" fmla="*/ 2640313 h 4705065"/>
              <a:gd name="connsiteX20" fmla="*/ 444691 w 1015622"/>
              <a:gd name="connsiteY20" fmla="*/ 3731525 h 4705065"/>
              <a:gd name="connsiteX21" fmla="*/ 444691 w 1015622"/>
              <a:gd name="connsiteY21" fmla="*/ 4134134 h 4705065"/>
              <a:gd name="connsiteX22" fmla="*/ 519753 w 1015622"/>
              <a:gd name="connsiteY22" fmla="*/ 4366146 h 4705065"/>
              <a:gd name="connsiteX23" fmla="*/ 540225 w 1015622"/>
              <a:gd name="connsiteY23" fmla="*/ 4570862 h 4705065"/>
              <a:gd name="connsiteX24" fmla="*/ 417395 w 1015622"/>
              <a:gd name="connsiteY24" fmla="*/ 4693692 h 4705065"/>
              <a:gd name="connsiteX25" fmla="*/ 315037 w 1015622"/>
              <a:gd name="connsiteY25" fmla="*/ 4639101 h 4705065"/>
              <a:gd name="connsiteX26" fmla="*/ 369628 w 1015622"/>
              <a:gd name="connsiteY26" fmla="*/ 4516271 h 4705065"/>
              <a:gd name="connsiteX27" fmla="*/ 355980 w 1015622"/>
              <a:gd name="connsiteY27" fmla="*/ 4372970 h 4705065"/>
              <a:gd name="connsiteX28" fmla="*/ 260446 w 1015622"/>
              <a:gd name="connsiteY28"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20864 w 1015622"/>
              <a:gd name="connsiteY10" fmla="*/ 2295256 h 4705065"/>
              <a:gd name="connsiteX11" fmla="*/ 521479 w 1015622"/>
              <a:gd name="connsiteY11" fmla="*/ 1536640 h 4705065"/>
              <a:gd name="connsiteX12" fmla="*/ 680142 w 1015622"/>
              <a:gd name="connsiteY12" fmla="*/ 869528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808170 w 1015622"/>
              <a:gd name="connsiteY16" fmla="*/ 771415 h 4705065"/>
              <a:gd name="connsiteX17" fmla="*/ 653003 w 1015622"/>
              <a:gd name="connsiteY17" fmla="*/ 1520631 h 4705065"/>
              <a:gd name="connsiteX18" fmla="*/ 509538 w 1015622"/>
              <a:gd name="connsiteY18" fmla="*/ 2641839 h 4705065"/>
              <a:gd name="connsiteX19" fmla="*/ 527923 w 1015622"/>
              <a:gd name="connsiteY19" fmla="*/ 2640313 h 4705065"/>
              <a:gd name="connsiteX20" fmla="*/ 444691 w 1015622"/>
              <a:gd name="connsiteY20" fmla="*/ 3731525 h 4705065"/>
              <a:gd name="connsiteX21" fmla="*/ 444691 w 1015622"/>
              <a:gd name="connsiteY21" fmla="*/ 4134134 h 4705065"/>
              <a:gd name="connsiteX22" fmla="*/ 519753 w 1015622"/>
              <a:gd name="connsiteY22" fmla="*/ 4366146 h 4705065"/>
              <a:gd name="connsiteX23" fmla="*/ 540225 w 1015622"/>
              <a:gd name="connsiteY23" fmla="*/ 4570862 h 4705065"/>
              <a:gd name="connsiteX24" fmla="*/ 417395 w 1015622"/>
              <a:gd name="connsiteY24" fmla="*/ 4693692 h 4705065"/>
              <a:gd name="connsiteX25" fmla="*/ 315037 w 1015622"/>
              <a:gd name="connsiteY25" fmla="*/ 4639101 h 4705065"/>
              <a:gd name="connsiteX26" fmla="*/ 369628 w 1015622"/>
              <a:gd name="connsiteY26" fmla="*/ 4516271 h 4705065"/>
              <a:gd name="connsiteX27" fmla="*/ 355980 w 1015622"/>
              <a:gd name="connsiteY27" fmla="*/ 4372970 h 4705065"/>
              <a:gd name="connsiteX28" fmla="*/ 260446 w 1015622"/>
              <a:gd name="connsiteY28"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20864 w 1015622"/>
              <a:gd name="connsiteY10" fmla="*/ 2295256 h 4705065"/>
              <a:gd name="connsiteX11" fmla="*/ 521479 w 1015622"/>
              <a:gd name="connsiteY11" fmla="*/ 1536640 h 4705065"/>
              <a:gd name="connsiteX12" fmla="*/ 680142 w 1015622"/>
              <a:gd name="connsiteY12" fmla="*/ 869528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808170 w 1015622"/>
              <a:gd name="connsiteY16" fmla="*/ 771415 h 4705065"/>
              <a:gd name="connsiteX17" fmla="*/ 653003 w 1015622"/>
              <a:gd name="connsiteY17" fmla="*/ 1520631 h 4705065"/>
              <a:gd name="connsiteX18" fmla="*/ 509538 w 1015622"/>
              <a:gd name="connsiteY18" fmla="*/ 2641839 h 4705065"/>
              <a:gd name="connsiteX19" fmla="*/ 444691 w 1015622"/>
              <a:gd name="connsiteY19" fmla="*/ 3731525 h 4705065"/>
              <a:gd name="connsiteX20" fmla="*/ 444691 w 1015622"/>
              <a:gd name="connsiteY20" fmla="*/ 4134134 h 4705065"/>
              <a:gd name="connsiteX21" fmla="*/ 519753 w 1015622"/>
              <a:gd name="connsiteY21" fmla="*/ 4366146 h 4705065"/>
              <a:gd name="connsiteX22" fmla="*/ 540225 w 1015622"/>
              <a:gd name="connsiteY22" fmla="*/ 4570862 h 4705065"/>
              <a:gd name="connsiteX23" fmla="*/ 417395 w 1015622"/>
              <a:gd name="connsiteY23" fmla="*/ 4693692 h 4705065"/>
              <a:gd name="connsiteX24" fmla="*/ 315037 w 1015622"/>
              <a:gd name="connsiteY24" fmla="*/ 4639101 h 4705065"/>
              <a:gd name="connsiteX25" fmla="*/ 369628 w 1015622"/>
              <a:gd name="connsiteY25" fmla="*/ 4516271 h 4705065"/>
              <a:gd name="connsiteX26" fmla="*/ 355980 w 1015622"/>
              <a:gd name="connsiteY26" fmla="*/ 4372970 h 4705065"/>
              <a:gd name="connsiteX27" fmla="*/ 260446 w 1015622"/>
              <a:gd name="connsiteY27"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20864 w 1015622"/>
              <a:gd name="connsiteY10" fmla="*/ 2295256 h 4705065"/>
              <a:gd name="connsiteX11" fmla="*/ 521479 w 1015622"/>
              <a:gd name="connsiteY11" fmla="*/ 1536640 h 4705065"/>
              <a:gd name="connsiteX12" fmla="*/ 680142 w 1015622"/>
              <a:gd name="connsiteY12" fmla="*/ 869528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808170 w 1015622"/>
              <a:gd name="connsiteY16" fmla="*/ 771415 h 4705065"/>
              <a:gd name="connsiteX17" fmla="*/ 653003 w 1015622"/>
              <a:gd name="connsiteY17" fmla="*/ 1520631 h 4705065"/>
              <a:gd name="connsiteX18" fmla="*/ 530109 w 1015622"/>
              <a:gd name="connsiteY18" fmla="*/ 2631639 h 4705065"/>
              <a:gd name="connsiteX19" fmla="*/ 444691 w 1015622"/>
              <a:gd name="connsiteY19" fmla="*/ 3731525 h 4705065"/>
              <a:gd name="connsiteX20" fmla="*/ 444691 w 1015622"/>
              <a:gd name="connsiteY20" fmla="*/ 4134134 h 4705065"/>
              <a:gd name="connsiteX21" fmla="*/ 519753 w 1015622"/>
              <a:gd name="connsiteY21" fmla="*/ 4366146 h 4705065"/>
              <a:gd name="connsiteX22" fmla="*/ 540225 w 1015622"/>
              <a:gd name="connsiteY22" fmla="*/ 4570862 h 4705065"/>
              <a:gd name="connsiteX23" fmla="*/ 417395 w 1015622"/>
              <a:gd name="connsiteY23" fmla="*/ 4693692 h 4705065"/>
              <a:gd name="connsiteX24" fmla="*/ 315037 w 1015622"/>
              <a:gd name="connsiteY24" fmla="*/ 4639101 h 4705065"/>
              <a:gd name="connsiteX25" fmla="*/ 369628 w 1015622"/>
              <a:gd name="connsiteY25" fmla="*/ 4516271 h 4705065"/>
              <a:gd name="connsiteX26" fmla="*/ 355980 w 1015622"/>
              <a:gd name="connsiteY26" fmla="*/ 4372970 h 4705065"/>
              <a:gd name="connsiteX27" fmla="*/ 260446 w 1015622"/>
              <a:gd name="connsiteY27"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20864 w 1015622"/>
              <a:gd name="connsiteY10" fmla="*/ 2295256 h 4705065"/>
              <a:gd name="connsiteX11" fmla="*/ 521479 w 1015622"/>
              <a:gd name="connsiteY11" fmla="*/ 1536640 h 4705065"/>
              <a:gd name="connsiteX12" fmla="*/ 680142 w 1015622"/>
              <a:gd name="connsiteY12" fmla="*/ 869528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808170 w 1015622"/>
              <a:gd name="connsiteY16" fmla="*/ 771415 h 4705065"/>
              <a:gd name="connsiteX17" fmla="*/ 653003 w 1015622"/>
              <a:gd name="connsiteY17" fmla="*/ 1520631 h 4705065"/>
              <a:gd name="connsiteX18" fmla="*/ 530109 w 1015622"/>
              <a:gd name="connsiteY18" fmla="*/ 2631639 h 4705065"/>
              <a:gd name="connsiteX19" fmla="*/ 444691 w 1015622"/>
              <a:gd name="connsiteY19" fmla="*/ 3731525 h 4705065"/>
              <a:gd name="connsiteX20" fmla="*/ 444691 w 1015622"/>
              <a:gd name="connsiteY20" fmla="*/ 4134134 h 4705065"/>
              <a:gd name="connsiteX21" fmla="*/ 519753 w 1015622"/>
              <a:gd name="connsiteY21" fmla="*/ 4366146 h 4705065"/>
              <a:gd name="connsiteX22" fmla="*/ 564225 w 1015622"/>
              <a:gd name="connsiteY22" fmla="*/ 4570862 h 4705065"/>
              <a:gd name="connsiteX23" fmla="*/ 417395 w 1015622"/>
              <a:gd name="connsiteY23" fmla="*/ 4693692 h 4705065"/>
              <a:gd name="connsiteX24" fmla="*/ 315037 w 1015622"/>
              <a:gd name="connsiteY24" fmla="*/ 4639101 h 4705065"/>
              <a:gd name="connsiteX25" fmla="*/ 369628 w 1015622"/>
              <a:gd name="connsiteY25" fmla="*/ 4516271 h 4705065"/>
              <a:gd name="connsiteX26" fmla="*/ 355980 w 1015622"/>
              <a:gd name="connsiteY26" fmla="*/ 4372970 h 4705065"/>
              <a:gd name="connsiteX27" fmla="*/ 260446 w 1015622"/>
              <a:gd name="connsiteY27"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20864 w 1015622"/>
              <a:gd name="connsiteY10" fmla="*/ 2295256 h 4705065"/>
              <a:gd name="connsiteX11" fmla="*/ 521479 w 1015622"/>
              <a:gd name="connsiteY11" fmla="*/ 1536640 h 4705065"/>
              <a:gd name="connsiteX12" fmla="*/ 680142 w 1015622"/>
              <a:gd name="connsiteY12" fmla="*/ 869528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808170 w 1015622"/>
              <a:gd name="connsiteY16" fmla="*/ 771415 h 4705065"/>
              <a:gd name="connsiteX17" fmla="*/ 653003 w 1015622"/>
              <a:gd name="connsiteY17" fmla="*/ 1520631 h 4705065"/>
              <a:gd name="connsiteX18" fmla="*/ 530109 w 1015622"/>
              <a:gd name="connsiteY18" fmla="*/ 2631639 h 4705065"/>
              <a:gd name="connsiteX19" fmla="*/ 444691 w 1015622"/>
              <a:gd name="connsiteY19" fmla="*/ 3731525 h 4705065"/>
              <a:gd name="connsiteX20" fmla="*/ 444691 w 1015622"/>
              <a:gd name="connsiteY20" fmla="*/ 4134134 h 4705065"/>
              <a:gd name="connsiteX21" fmla="*/ 533468 w 1015622"/>
              <a:gd name="connsiteY21" fmla="*/ 4369546 h 4705065"/>
              <a:gd name="connsiteX22" fmla="*/ 564225 w 1015622"/>
              <a:gd name="connsiteY22" fmla="*/ 4570862 h 4705065"/>
              <a:gd name="connsiteX23" fmla="*/ 417395 w 1015622"/>
              <a:gd name="connsiteY23" fmla="*/ 4693692 h 4705065"/>
              <a:gd name="connsiteX24" fmla="*/ 315037 w 1015622"/>
              <a:gd name="connsiteY24" fmla="*/ 4639101 h 4705065"/>
              <a:gd name="connsiteX25" fmla="*/ 369628 w 1015622"/>
              <a:gd name="connsiteY25" fmla="*/ 4516271 h 4705065"/>
              <a:gd name="connsiteX26" fmla="*/ 355980 w 1015622"/>
              <a:gd name="connsiteY26" fmla="*/ 4372970 h 4705065"/>
              <a:gd name="connsiteX27" fmla="*/ 260446 w 1015622"/>
              <a:gd name="connsiteY27"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20864 w 1015622"/>
              <a:gd name="connsiteY10" fmla="*/ 2295256 h 4705065"/>
              <a:gd name="connsiteX11" fmla="*/ 521479 w 1015622"/>
              <a:gd name="connsiteY11" fmla="*/ 1536640 h 4705065"/>
              <a:gd name="connsiteX12" fmla="*/ 680142 w 1015622"/>
              <a:gd name="connsiteY12" fmla="*/ 869528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808170 w 1015622"/>
              <a:gd name="connsiteY16" fmla="*/ 771415 h 4705065"/>
              <a:gd name="connsiteX17" fmla="*/ 653003 w 1015622"/>
              <a:gd name="connsiteY17" fmla="*/ 1520631 h 4705065"/>
              <a:gd name="connsiteX18" fmla="*/ 530109 w 1015622"/>
              <a:gd name="connsiteY18" fmla="*/ 2631639 h 4705065"/>
              <a:gd name="connsiteX19" fmla="*/ 444691 w 1015622"/>
              <a:gd name="connsiteY19" fmla="*/ 3731525 h 4705065"/>
              <a:gd name="connsiteX20" fmla="*/ 465264 w 1015622"/>
              <a:gd name="connsiteY20" fmla="*/ 4134134 h 4705065"/>
              <a:gd name="connsiteX21" fmla="*/ 533468 w 1015622"/>
              <a:gd name="connsiteY21" fmla="*/ 4369546 h 4705065"/>
              <a:gd name="connsiteX22" fmla="*/ 564225 w 1015622"/>
              <a:gd name="connsiteY22" fmla="*/ 4570862 h 4705065"/>
              <a:gd name="connsiteX23" fmla="*/ 417395 w 1015622"/>
              <a:gd name="connsiteY23" fmla="*/ 4693692 h 4705065"/>
              <a:gd name="connsiteX24" fmla="*/ 315037 w 1015622"/>
              <a:gd name="connsiteY24" fmla="*/ 4639101 h 4705065"/>
              <a:gd name="connsiteX25" fmla="*/ 369628 w 1015622"/>
              <a:gd name="connsiteY25" fmla="*/ 4516271 h 4705065"/>
              <a:gd name="connsiteX26" fmla="*/ 355980 w 1015622"/>
              <a:gd name="connsiteY26" fmla="*/ 4372970 h 4705065"/>
              <a:gd name="connsiteX27" fmla="*/ 260446 w 1015622"/>
              <a:gd name="connsiteY27"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20864 w 1015622"/>
              <a:gd name="connsiteY10" fmla="*/ 2295256 h 4705065"/>
              <a:gd name="connsiteX11" fmla="*/ 521479 w 1015622"/>
              <a:gd name="connsiteY11" fmla="*/ 1536640 h 4705065"/>
              <a:gd name="connsiteX12" fmla="*/ 680142 w 1015622"/>
              <a:gd name="connsiteY12" fmla="*/ 869528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808170 w 1015622"/>
              <a:gd name="connsiteY16" fmla="*/ 771415 h 4705065"/>
              <a:gd name="connsiteX17" fmla="*/ 653003 w 1015622"/>
              <a:gd name="connsiteY17" fmla="*/ 1520631 h 4705065"/>
              <a:gd name="connsiteX18" fmla="*/ 530109 w 1015622"/>
              <a:gd name="connsiteY18" fmla="*/ 2631639 h 4705065"/>
              <a:gd name="connsiteX19" fmla="*/ 461836 w 1015622"/>
              <a:gd name="connsiteY19" fmla="*/ 3717925 h 4705065"/>
              <a:gd name="connsiteX20" fmla="*/ 465264 w 1015622"/>
              <a:gd name="connsiteY20" fmla="*/ 4134134 h 4705065"/>
              <a:gd name="connsiteX21" fmla="*/ 533468 w 1015622"/>
              <a:gd name="connsiteY21" fmla="*/ 4369546 h 4705065"/>
              <a:gd name="connsiteX22" fmla="*/ 564225 w 1015622"/>
              <a:gd name="connsiteY22" fmla="*/ 4570862 h 4705065"/>
              <a:gd name="connsiteX23" fmla="*/ 417395 w 1015622"/>
              <a:gd name="connsiteY23" fmla="*/ 4693692 h 4705065"/>
              <a:gd name="connsiteX24" fmla="*/ 315037 w 1015622"/>
              <a:gd name="connsiteY24" fmla="*/ 4639101 h 4705065"/>
              <a:gd name="connsiteX25" fmla="*/ 369628 w 1015622"/>
              <a:gd name="connsiteY25" fmla="*/ 4516271 h 4705065"/>
              <a:gd name="connsiteX26" fmla="*/ 355980 w 1015622"/>
              <a:gd name="connsiteY26" fmla="*/ 4372970 h 4705065"/>
              <a:gd name="connsiteX27" fmla="*/ 260446 w 1015622"/>
              <a:gd name="connsiteY27"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20864 w 1015622"/>
              <a:gd name="connsiteY10" fmla="*/ 2295256 h 4705065"/>
              <a:gd name="connsiteX11" fmla="*/ 521479 w 1015622"/>
              <a:gd name="connsiteY11" fmla="*/ 1536640 h 4705065"/>
              <a:gd name="connsiteX12" fmla="*/ 680142 w 1015622"/>
              <a:gd name="connsiteY12" fmla="*/ 869528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808170 w 1015622"/>
              <a:gd name="connsiteY16" fmla="*/ 771415 h 4705065"/>
              <a:gd name="connsiteX17" fmla="*/ 653003 w 1015622"/>
              <a:gd name="connsiteY17" fmla="*/ 1520631 h 4705065"/>
              <a:gd name="connsiteX18" fmla="*/ 530109 w 1015622"/>
              <a:gd name="connsiteY18" fmla="*/ 2631639 h 4705065"/>
              <a:gd name="connsiteX19" fmla="*/ 461836 w 1015622"/>
              <a:gd name="connsiteY19" fmla="*/ 3717925 h 4705065"/>
              <a:gd name="connsiteX20" fmla="*/ 475550 w 1015622"/>
              <a:gd name="connsiteY20" fmla="*/ 4137534 h 4705065"/>
              <a:gd name="connsiteX21" fmla="*/ 533468 w 1015622"/>
              <a:gd name="connsiteY21" fmla="*/ 4369546 h 4705065"/>
              <a:gd name="connsiteX22" fmla="*/ 564225 w 1015622"/>
              <a:gd name="connsiteY22" fmla="*/ 4570862 h 4705065"/>
              <a:gd name="connsiteX23" fmla="*/ 417395 w 1015622"/>
              <a:gd name="connsiteY23" fmla="*/ 4693692 h 4705065"/>
              <a:gd name="connsiteX24" fmla="*/ 315037 w 1015622"/>
              <a:gd name="connsiteY24" fmla="*/ 4639101 h 4705065"/>
              <a:gd name="connsiteX25" fmla="*/ 369628 w 1015622"/>
              <a:gd name="connsiteY25" fmla="*/ 4516271 h 4705065"/>
              <a:gd name="connsiteX26" fmla="*/ 355980 w 1015622"/>
              <a:gd name="connsiteY26" fmla="*/ 4372970 h 4705065"/>
              <a:gd name="connsiteX27" fmla="*/ 260446 w 1015622"/>
              <a:gd name="connsiteY27"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287741 w 1015622"/>
              <a:gd name="connsiteY9" fmla="*/ 3287973 h 4705065"/>
              <a:gd name="connsiteX10" fmla="*/ 420864 w 1015622"/>
              <a:gd name="connsiteY10" fmla="*/ 2295256 h 4705065"/>
              <a:gd name="connsiteX11" fmla="*/ 521479 w 1015622"/>
              <a:gd name="connsiteY11" fmla="*/ 1536640 h 4705065"/>
              <a:gd name="connsiteX12" fmla="*/ 680142 w 1015622"/>
              <a:gd name="connsiteY12" fmla="*/ 869528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808170 w 1015622"/>
              <a:gd name="connsiteY16" fmla="*/ 771415 h 4705065"/>
              <a:gd name="connsiteX17" fmla="*/ 653003 w 1015622"/>
              <a:gd name="connsiteY17" fmla="*/ 1520631 h 4705065"/>
              <a:gd name="connsiteX18" fmla="*/ 530109 w 1015622"/>
              <a:gd name="connsiteY18" fmla="*/ 2631639 h 4705065"/>
              <a:gd name="connsiteX19" fmla="*/ 478980 w 1015622"/>
              <a:gd name="connsiteY19" fmla="*/ 3714524 h 4705065"/>
              <a:gd name="connsiteX20" fmla="*/ 475550 w 1015622"/>
              <a:gd name="connsiteY20" fmla="*/ 4137534 h 4705065"/>
              <a:gd name="connsiteX21" fmla="*/ 533468 w 1015622"/>
              <a:gd name="connsiteY21" fmla="*/ 4369546 h 4705065"/>
              <a:gd name="connsiteX22" fmla="*/ 564225 w 1015622"/>
              <a:gd name="connsiteY22" fmla="*/ 4570862 h 4705065"/>
              <a:gd name="connsiteX23" fmla="*/ 417395 w 1015622"/>
              <a:gd name="connsiteY23" fmla="*/ 4693692 h 4705065"/>
              <a:gd name="connsiteX24" fmla="*/ 315037 w 1015622"/>
              <a:gd name="connsiteY24" fmla="*/ 4639101 h 4705065"/>
              <a:gd name="connsiteX25" fmla="*/ 369628 w 1015622"/>
              <a:gd name="connsiteY25" fmla="*/ 4516271 h 4705065"/>
              <a:gd name="connsiteX26" fmla="*/ 355980 w 1015622"/>
              <a:gd name="connsiteY26" fmla="*/ 4372970 h 4705065"/>
              <a:gd name="connsiteX27" fmla="*/ 260446 w 1015622"/>
              <a:gd name="connsiteY27" fmla="*/ 4277436 h 4705065"/>
              <a:gd name="connsiteX0" fmla="*/ 260446 w 1015622"/>
              <a:gd name="connsiteY0" fmla="*/ 4277436 h 4705065"/>
              <a:gd name="connsiteX1" fmla="*/ 192207 w 1015622"/>
              <a:gd name="connsiteY1" fmla="*/ 4372970 h 4705065"/>
              <a:gd name="connsiteX2" fmla="*/ 171735 w 1015622"/>
              <a:gd name="connsiteY2" fmla="*/ 4482152 h 4705065"/>
              <a:gd name="connsiteX3" fmla="*/ 219503 w 1015622"/>
              <a:gd name="connsiteY3" fmla="*/ 4604982 h 4705065"/>
              <a:gd name="connsiteX4" fmla="*/ 185383 w 1015622"/>
              <a:gd name="connsiteY4" fmla="*/ 4680045 h 4705065"/>
              <a:gd name="connsiteX5" fmla="*/ 76201 w 1015622"/>
              <a:gd name="connsiteY5" fmla="*/ 4666397 h 4705065"/>
              <a:gd name="connsiteX6" fmla="*/ 11373 w 1015622"/>
              <a:gd name="connsiteY6" fmla="*/ 4461678 h 4705065"/>
              <a:gd name="connsiteX7" fmla="*/ 144440 w 1015622"/>
              <a:gd name="connsiteY7" fmla="*/ 4113662 h 4705065"/>
              <a:gd name="connsiteX8" fmla="*/ 219503 w 1015622"/>
              <a:gd name="connsiteY8" fmla="*/ 3820236 h 4705065"/>
              <a:gd name="connsiteX9" fmla="*/ 304884 w 1015622"/>
              <a:gd name="connsiteY9" fmla="*/ 3281173 h 4705065"/>
              <a:gd name="connsiteX10" fmla="*/ 420864 w 1015622"/>
              <a:gd name="connsiteY10" fmla="*/ 2295256 h 4705065"/>
              <a:gd name="connsiteX11" fmla="*/ 521479 w 1015622"/>
              <a:gd name="connsiteY11" fmla="*/ 1536640 h 4705065"/>
              <a:gd name="connsiteX12" fmla="*/ 680142 w 1015622"/>
              <a:gd name="connsiteY12" fmla="*/ 869528 h 4705065"/>
              <a:gd name="connsiteX13" fmla="*/ 826828 w 1015622"/>
              <a:gd name="connsiteY13" fmla="*/ 456062 h 4705065"/>
              <a:gd name="connsiteX14" fmla="*/ 997425 w 1015622"/>
              <a:gd name="connsiteY14" fmla="*/ 39806 h 4705065"/>
              <a:gd name="connsiteX15" fmla="*/ 936010 w 1015622"/>
              <a:gd name="connsiteY15" fmla="*/ 217227 h 4705065"/>
              <a:gd name="connsiteX16" fmla="*/ 808170 w 1015622"/>
              <a:gd name="connsiteY16" fmla="*/ 771415 h 4705065"/>
              <a:gd name="connsiteX17" fmla="*/ 653003 w 1015622"/>
              <a:gd name="connsiteY17" fmla="*/ 1520631 h 4705065"/>
              <a:gd name="connsiteX18" fmla="*/ 530109 w 1015622"/>
              <a:gd name="connsiteY18" fmla="*/ 2631639 h 4705065"/>
              <a:gd name="connsiteX19" fmla="*/ 478980 w 1015622"/>
              <a:gd name="connsiteY19" fmla="*/ 3714524 h 4705065"/>
              <a:gd name="connsiteX20" fmla="*/ 475550 w 1015622"/>
              <a:gd name="connsiteY20" fmla="*/ 4137534 h 4705065"/>
              <a:gd name="connsiteX21" fmla="*/ 533468 w 1015622"/>
              <a:gd name="connsiteY21" fmla="*/ 4369546 h 4705065"/>
              <a:gd name="connsiteX22" fmla="*/ 564225 w 1015622"/>
              <a:gd name="connsiteY22" fmla="*/ 4570862 h 4705065"/>
              <a:gd name="connsiteX23" fmla="*/ 417395 w 1015622"/>
              <a:gd name="connsiteY23" fmla="*/ 4693692 h 4705065"/>
              <a:gd name="connsiteX24" fmla="*/ 315037 w 1015622"/>
              <a:gd name="connsiteY24" fmla="*/ 4639101 h 4705065"/>
              <a:gd name="connsiteX25" fmla="*/ 369628 w 1015622"/>
              <a:gd name="connsiteY25" fmla="*/ 4516271 h 4705065"/>
              <a:gd name="connsiteX26" fmla="*/ 355980 w 1015622"/>
              <a:gd name="connsiteY26" fmla="*/ 4372970 h 4705065"/>
              <a:gd name="connsiteX27" fmla="*/ 260446 w 1015622"/>
              <a:gd name="connsiteY27" fmla="*/ 4277436 h 4705065"/>
              <a:gd name="connsiteX0" fmla="*/ 262732 w 1017908"/>
              <a:gd name="connsiteY0" fmla="*/ 4277436 h 4705065"/>
              <a:gd name="connsiteX1" fmla="*/ 194493 w 1017908"/>
              <a:gd name="connsiteY1" fmla="*/ 4372970 h 4705065"/>
              <a:gd name="connsiteX2" fmla="*/ 174021 w 1017908"/>
              <a:gd name="connsiteY2" fmla="*/ 4482152 h 4705065"/>
              <a:gd name="connsiteX3" fmla="*/ 221789 w 1017908"/>
              <a:gd name="connsiteY3" fmla="*/ 4604982 h 4705065"/>
              <a:gd name="connsiteX4" fmla="*/ 187669 w 1017908"/>
              <a:gd name="connsiteY4" fmla="*/ 4680045 h 4705065"/>
              <a:gd name="connsiteX5" fmla="*/ 78487 w 1017908"/>
              <a:gd name="connsiteY5" fmla="*/ 4666397 h 4705065"/>
              <a:gd name="connsiteX6" fmla="*/ 13659 w 1017908"/>
              <a:gd name="connsiteY6" fmla="*/ 4461678 h 4705065"/>
              <a:gd name="connsiteX7" fmla="*/ 160441 w 1017908"/>
              <a:gd name="connsiteY7" fmla="*/ 4113662 h 4705065"/>
              <a:gd name="connsiteX8" fmla="*/ 221789 w 1017908"/>
              <a:gd name="connsiteY8" fmla="*/ 3820236 h 4705065"/>
              <a:gd name="connsiteX9" fmla="*/ 307170 w 1017908"/>
              <a:gd name="connsiteY9" fmla="*/ 3281173 h 4705065"/>
              <a:gd name="connsiteX10" fmla="*/ 423150 w 1017908"/>
              <a:gd name="connsiteY10" fmla="*/ 2295256 h 4705065"/>
              <a:gd name="connsiteX11" fmla="*/ 523765 w 1017908"/>
              <a:gd name="connsiteY11" fmla="*/ 1536640 h 4705065"/>
              <a:gd name="connsiteX12" fmla="*/ 682428 w 1017908"/>
              <a:gd name="connsiteY12" fmla="*/ 869528 h 4705065"/>
              <a:gd name="connsiteX13" fmla="*/ 829114 w 1017908"/>
              <a:gd name="connsiteY13" fmla="*/ 456062 h 4705065"/>
              <a:gd name="connsiteX14" fmla="*/ 999711 w 1017908"/>
              <a:gd name="connsiteY14" fmla="*/ 39806 h 4705065"/>
              <a:gd name="connsiteX15" fmla="*/ 938296 w 1017908"/>
              <a:gd name="connsiteY15" fmla="*/ 217227 h 4705065"/>
              <a:gd name="connsiteX16" fmla="*/ 810456 w 1017908"/>
              <a:gd name="connsiteY16" fmla="*/ 771415 h 4705065"/>
              <a:gd name="connsiteX17" fmla="*/ 655289 w 1017908"/>
              <a:gd name="connsiteY17" fmla="*/ 1520631 h 4705065"/>
              <a:gd name="connsiteX18" fmla="*/ 532395 w 1017908"/>
              <a:gd name="connsiteY18" fmla="*/ 2631639 h 4705065"/>
              <a:gd name="connsiteX19" fmla="*/ 481266 w 1017908"/>
              <a:gd name="connsiteY19" fmla="*/ 3714524 h 4705065"/>
              <a:gd name="connsiteX20" fmla="*/ 477836 w 1017908"/>
              <a:gd name="connsiteY20" fmla="*/ 4137534 h 4705065"/>
              <a:gd name="connsiteX21" fmla="*/ 535754 w 1017908"/>
              <a:gd name="connsiteY21" fmla="*/ 4369546 h 4705065"/>
              <a:gd name="connsiteX22" fmla="*/ 566511 w 1017908"/>
              <a:gd name="connsiteY22" fmla="*/ 4570862 h 4705065"/>
              <a:gd name="connsiteX23" fmla="*/ 419681 w 1017908"/>
              <a:gd name="connsiteY23" fmla="*/ 4693692 h 4705065"/>
              <a:gd name="connsiteX24" fmla="*/ 317323 w 1017908"/>
              <a:gd name="connsiteY24" fmla="*/ 4639101 h 4705065"/>
              <a:gd name="connsiteX25" fmla="*/ 371914 w 1017908"/>
              <a:gd name="connsiteY25" fmla="*/ 4516271 h 4705065"/>
              <a:gd name="connsiteX26" fmla="*/ 358266 w 1017908"/>
              <a:gd name="connsiteY26" fmla="*/ 4372970 h 4705065"/>
              <a:gd name="connsiteX27" fmla="*/ 262732 w 1017908"/>
              <a:gd name="connsiteY27" fmla="*/ 4277436 h 4705065"/>
              <a:gd name="connsiteX0" fmla="*/ 262732 w 1017908"/>
              <a:gd name="connsiteY0" fmla="*/ 4277436 h 4705065"/>
              <a:gd name="connsiteX1" fmla="*/ 194493 w 1017908"/>
              <a:gd name="connsiteY1" fmla="*/ 4372970 h 4705065"/>
              <a:gd name="connsiteX2" fmla="*/ 174021 w 1017908"/>
              <a:gd name="connsiteY2" fmla="*/ 4482152 h 4705065"/>
              <a:gd name="connsiteX3" fmla="*/ 245790 w 1017908"/>
              <a:gd name="connsiteY3" fmla="*/ 4594782 h 4705065"/>
              <a:gd name="connsiteX4" fmla="*/ 187669 w 1017908"/>
              <a:gd name="connsiteY4" fmla="*/ 4680045 h 4705065"/>
              <a:gd name="connsiteX5" fmla="*/ 78487 w 1017908"/>
              <a:gd name="connsiteY5" fmla="*/ 4666397 h 4705065"/>
              <a:gd name="connsiteX6" fmla="*/ 13659 w 1017908"/>
              <a:gd name="connsiteY6" fmla="*/ 4461678 h 4705065"/>
              <a:gd name="connsiteX7" fmla="*/ 160441 w 1017908"/>
              <a:gd name="connsiteY7" fmla="*/ 4113662 h 4705065"/>
              <a:gd name="connsiteX8" fmla="*/ 221789 w 1017908"/>
              <a:gd name="connsiteY8" fmla="*/ 3820236 h 4705065"/>
              <a:gd name="connsiteX9" fmla="*/ 307170 w 1017908"/>
              <a:gd name="connsiteY9" fmla="*/ 3281173 h 4705065"/>
              <a:gd name="connsiteX10" fmla="*/ 423150 w 1017908"/>
              <a:gd name="connsiteY10" fmla="*/ 2295256 h 4705065"/>
              <a:gd name="connsiteX11" fmla="*/ 523765 w 1017908"/>
              <a:gd name="connsiteY11" fmla="*/ 1536640 h 4705065"/>
              <a:gd name="connsiteX12" fmla="*/ 682428 w 1017908"/>
              <a:gd name="connsiteY12" fmla="*/ 869528 h 4705065"/>
              <a:gd name="connsiteX13" fmla="*/ 829114 w 1017908"/>
              <a:gd name="connsiteY13" fmla="*/ 456062 h 4705065"/>
              <a:gd name="connsiteX14" fmla="*/ 999711 w 1017908"/>
              <a:gd name="connsiteY14" fmla="*/ 39806 h 4705065"/>
              <a:gd name="connsiteX15" fmla="*/ 938296 w 1017908"/>
              <a:gd name="connsiteY15" fmla="*/ 217227 h 4705065"/>
              <a:gd name="connsiteX16" fmla="*/ 810456 w 1017908"/>
              <a:gd name="connsiteY16" fmla="*/ 771415 h 4705065"/>
              <a:gd name="connsiteX17" fmla="*/ 655289 w 1017908"/>
              <a:gd name="connsiteY17" fmla="*/ 1520631 h 4705065"/>
              <a:gd name="connsiteX18" fmla="*/ 532395 w 1017908"/>
              <a:gd name="connsiteY18" fmla="*/ 2631639 h 4705065"/>
              <a:gd name="connsiteX19" fmla="*/ 481266 w 1017908"/>
              <a:gd name="connsiteY19" fmla="*/ 3714524 h 4705065"/>
              <a:gd name="connsiteX20" fmla="*/ 477836 w 1017908"/>
              <a:gd name="connsiteY20" fmla="*/ 4137534 h 4705065"/>
              <a:gd name="connsiteX21" fmla="*/ 535754 w 1017908"/>
              <a:gd name="connsiteY21" fmla="*/ 4369546 h 4705065"/>
              <a:gd name="connsiteX22" fmla="*/ 566511 w 1017908"/>
              <a:gd name="connsiteY22" fmla="*/ 4570862 h 4705065"/>
              <a:gd name="connsiteX23" fmla="*/ 419681 w 1017908"/>
              <a:gd name="connsiteY23" fmla="*/ 4693692 h 4705065"/>
              <a:gd name="connsiteX24" fmla="*/ 317323 w 1017908"/>
              <a:gd name="connsiteY24" fmla="*/ 4639101 h 4705065"/>
              <a:gd name="connsiteX25" fmla="*/ 371914 w 1017908"/>
              <a:gd name="connsiteY25" fmla="*/ 4516271 h 4705065"/>
              <a:gd name="connsiteX26" fmla="*/ 358266 w 1017908"/>
              <a:gd name="connsiteY26" fmla="*/ 4372970 h 4705065"/>
              <a:gd name="connsiteX27" fmla="*/ 262732 w 1017908"/>
              <a:gd name="connsiteY27" fmla="*/ 4277436 h 4705065"/>
              <a:gd name="connsiteX0" fmla="*/ 262732 w 1017908"/>
              <a:gd name="connsiteY0" fmla="*/ 4277436 h 4705065"/>
              <a:gd name="connsiteX1" fmla="*/ 194493 w 1017908"/>
              <a:gd name="connsiteY1" fmla="*/ 4372970 h 4705065"/>
              <a:gd name="connsiteX2" fmla="*/ 174021 w 1017908"/>
              <a:gd name="connsiteY2" fmla="*/ 4482152 h 4705065"/>
              <a:gd name="connsiteX3" fmla="*/ 245790 w 1017908"/>
              <a:gd name="connsiteY3" fmla="*/ 4594782 h 4705065"/>
              <a:gd name="connsiteX4" fmla="*/ 211670 w 1017908"/>
              <a:gd name="connsiteY4" fmla="*/ 4673246 h 4705065"/>
              <a:gd name="connsiteX5" fmla="*/ 78487 w 1017908"/>
              <a:gd name="connsiteY5" fmla="*/ 4666397 h 4705065"/>
              <a:gd name="connsiteX6" fmla="*/ 13659 w 1017908"/>
              <a:gd name="connsiteY6" fmla="*/ 4461678 h 4705065"/>
              <a:gd name="connsiteX7" fmla="*/ 160441 w 1017908"/>
              <a:gd name="connsiteY7" fmla="*/ 4113662 h 4705065"/>
              <a:gd name="connsiteX8" fmla="*/ 221789 w 1017908"/>
              <a:gd name="connsiteY8" fmla="*/ 3820236 h 4705065"/>
              <a:gd name="connsiteX9" fmla="*/ 307170 w 1017908"/>
              <a:gd name="connsiteY9" fmla="*/ 3281173 h 4705065"/>
              <a:gd name="connsiteX10" fmla="*/ 423150 w 1017908"/>
              <a:gd name="connsiteY10" fmla="*/ 2295256 h 4705065"/>
              <a:gd name="connsiteX11" fmla="*/ 523765 w 1017908"/>
              <a:gd name="connsiteY11" fmla="*/ 1536640 h 4705065"/>
              <a:gd name="connsiteX12" fmla="*/ 682428 w 1017908"/>
              <a:gd name="connsiteY12" fmla="*/ 869528 h 4705065"/>
              <a:gd name="connsiteX13" fmla="*/ 829114 w 1017908"/>
              <a:gd name="connsiteY13" fmla="*/ 456062 h 4705065"/>
              <a:gd name="connsiteX14" fmla="*/ 999711 w 1017908"/>
              <a:gd name="connsiteY14" fmla="*/ 39806 h 4705065"/>
              <a:gd name="connsiteX15" fmla="*/ 938296 w 1017908"/>
              <a:gd name="connsiteY15" fmla="*/ 217227 h 4705065"/>
              <a:gd name="connsiteX16" fmla="*/ 810456 w 1017908"/>
              <a:gd name="connsiteY16" fmla="*/ 771415 h 4705065"/>
              <a:gd name="connsiteX17" fmla="*/ 655289 w 1017908"/>
              <a:gd name="connsiteY17" fmla="*/ 1520631 h 4705065"/>
              <a:gd name="connsiteX18" fmla="*/ 532395 w 1017908"/>
              <a:gd name="connsiteY18" fmla="*/ 2631639 h 4705065"/>
              <a:gd name="connsiteX19" fmla="*/ 481266 w 1017908"/>
              <a:gd name="connsiteY19" fmla="*/ 3714524 h 4705065"/>
              <a:gd name="connsiteX20" fmla="*/ 477836 w 1017908"/>
              <a:gd name="connsiteY20" fmla="*/ 4137534 h 4705065"/>
              <a:gd name="connsiteX21" fmla="*/ 535754 w 1017908"/>
              <a:gd name="connsiteY21" fmla="*/ 4369546 h 4705065"/>
              <a:gd name="connsiteX22" fmla="*/ 566511 w 1017908"/>
              <a:gd name="connsiteY22" fmla="*/ 4570862 h 4705065"/>
              <a:gd name="connsiteX23" fmla="*/ 419681 w 1017908"/>
              <a:gd name="connsiteY23" fmla="*/ 4693692 h 4705065"/>
              <a:gd name="connsiteX24" fmla="*/ 317323 w 1017908"/>
              <a:gd name="connsiteY24" fmla="*/ 4639101 h 4705065"/>
              <a:gd name="connsiteX25" fmla="*/ 371914 w 1017908"/>
              <a:gd name="connsiteY25" fmla="*/ 4516271 h 4705065"/>
              <a:gd name="connsiteX26" fmla="*/ 358266 w 1017908"/>
              <a:gd name="connsiteY26" fmla="*/ 4372970 h 4705065"/>
              <a:gd name="connsiteX27" fmla="*/ 262732 w 1017908"/>
              <a:gd name="connsiteY27" fmla="*/ 4277436 h 4705065"/>
              <a:gd name="connsiteX0" fmla="*/ 261018 w 1016194"/>
              <a:gd name="connsiteY0" fmla="*/ 4277436 h 4705065"/>
              <a:gd name="connsiteX1" fmla="*/ 192779 w 1016194"/>
              <a:gd name="connsiteY1" fmla="*/ 4372970 h 4705065"/>
              <a:gd name="connsiteX2" fmla="*/ 172307 w 1016194"/>
              <a:gd name="connsiteY2" fmla="*/ 4482152 h 4705065"/>
              <a:gd name="connsiteX3" fmla="*/ 244076 w 1016194"/>
              <a:gd name="connsiteY3" fmla="*/ 4594782 h 4705065"/>
              <a:gd name="connsiteX4" fmla="*/ 209956 w 1016194"/>
              <a:gd name="connsiteY4" fmla="*/ 4673246 h 4705065"/>
              <a:gd name="connsiteX5" fmla="*/ 87060 w 1016194"/>
              <a:gd name="connsiteY5" fmla="*/ 4659598 h 4705065"/>
              <a:gd name="connsiteX6" fmla="*/ 11945 w 1016194"/>
              <a:gd name="connsiteY6" fmla="*/ 4461678 h 4705065"/>
              <a:gd name="connsiteX7" fmla="*/ 158727 w 1016194"/>
              <a:gd name="connsiteY7" fmla="*/ 4113662 h 4705065"/>
              <a:gd name="connsiteX8" fmla="*/ 220075 w 1016194"/>
              <a:gd name="connsiteY8" fmla="*/ 3820236 h 4705065"/>
              <a:gd name="connsiteX9" fmla="*/ 305456 w 1016194"/>
              <a:gd name="connsiteY9" fmla="*/ 3281173 h 4705065"/>
              <a:gd name="connsiteX10" fmla="*/ 421436 w 1016194"/>
              <a:gd name="connsiteY10" fmla="*/ 2295256 h 4705065"/>
              <a:gd name="connsiteX11" fmla="*/ 522051 w 1016194"/>
              <a:gd name="connsiteY11" fmla="*/ 1536640 h 4705065"/>
              <a:gd name="connsiteX12" fmla="*/ 680714 w 1016194"/>
              <a:gd name="connsiteY12" fmla="*/ 869528 h 4705065"/>
              <a:gd name="connsiteX13" fmla="*/ 827400 w 1016194"/>
              <a:gd name="connsiteY13" fmla="*/ 456062 h 4705065"/>
              <a:gd name="connsiteX14" fmla="*/ 997997 w 1016194"/>
              <a:gd name="connsiteY14" fmla="*/ 39806 h 4705065"/>
              <a:gd name="connsiteX15" fmla="*/ 936582 w 1016194"/>
              <a:gd name="connsiteY15" fmla="*/ 217227 h 4705065"/>
              <a:gd name="connsiteX16" fmla="*/ 808742 w 1016194"/>
              <a:gd name="connsiteY16" fmla="*/ 771415 h 4705065"/>
              <a:gd name="connsiteX17" fmla="*/ 653575 w 1016194"/>
              <a:gd name="connsiteY17" fmla="*/ 1520631 h 4705065"/>
              <a:gd name="connsiteX18" fmla="*/ 530681 w 1016194"/>
              <a:gd name="connsiteY18" fmla="*/ 2631639 h 4705065"/>
              <a:gd name="connsiteX19" fmla="*/ 479552 w 1016194"/>
              <a:gd name="connsiteY19" fmla="*/ 3714524 h 4705065"/>
              <a:gd name="connsiteX20" fmla="*/ 476122 w 1016194"/>
              <a:gd name="connsiteY20" fmla="*/ 4137534 h 4705065"/>
              <a:gd name="connsiteX21" fmla="*/ 534040 w 1016194"/>
              <a:gd name="connsiteY21" fmla="*/ 4369546 h 4705065"/>
              <a:gd name="connsiteX22" fmla="*/ 564797 w 1016194"/>
              <a:gd name="connsiteY22" fmla="*/ 4570862 h 4705065"/>
              <a:gd name="connsiteX23" fmla="*/ 417967 w 1016194"/>
              <a:gd name="connsiteY23" fmla="*/ 4693692 h 4705065"/>
              <a:gd name="connsiteX24" fmla="*/ 315609 w 1016194"/>
              <a:gd name="connsiteY24" fmla="*/ 4639101 h 4705065"/>
              <a:gd name="connsiteX25" fmla="*/ 370200 w 1016194"/>
              <a:gd name="connsiteY25" fmla="*/ 4516271 h 4705065"/>
              <a:gd name="connsiteX26" fmla="*/ 356552 w 1016194"/>
              <a:gd name="connsiteY26" fmla="*/ 4372970 h 4705065"/>
              <a:gd name="connsiteX27" fmla="*/ 261018 w 1016194"/>
              <a:gd name="connsiteY27" fmla="*/ 4277436 h 4705065"/>
              <a:gd name="connsiteX0" fmla="*/ 305591 w 1016194"/>
              <a:gd name="connsiteY0" fmla="*/ 4277437 h 4705065"/>
              <a:gd name="connsiteX1" fmla="*/ 192779 w 1016194"/>
              <a:gd name="connsiteY1" fmla="*/ 4372970 h 4705065"/>
              <a:gd name="connsiteX2" fmla="*/ 172307 w 1016194"/>
              <a:gd name="connsiteY2" fmla="*/ 4482152 h 4705065"/>
              <a:gd name="connsiteX3" fmla="*/ 244076 w 1016194"/>
              <a:gd name="connsiteY3" fmla="*/ 4594782 h 4705065"/>
              <a:gd name="connsiteX4" fmla="*/ 209956 w 1016194"/>
              <a:gd name="connsiteY4" fmla="*/ 4673246 h 4705065"/>
              <a:gd name="connsiteX5" fmla="*/ 87060 w 1016194"/>
              <a:gd name="connsiteY5" fmla="*/ 4659598 h 4705065"/>
              <a:gd name="connsiteX6" fmla="*/ 11945 w 1016194"/>
              <a:gd name="connsiteY6" fmla="*/ 4461678 h 4705065"/>
              <a:gd name="connsiteX7" fmla="*/ 158727 w 1016194"/>
              <a:gd name="connsiteY7" fmla="*/ 4113662 h 4705065"/>
              <a:gd name="connsiteX8" fmla="*/ 220075 w 1016194"/>
              <a:gd name="connsiteY8" fmla="*/ 3820236 h 4705065"/>
              <a:gd name="connsiteX9" fmla="*/ 305456 w 1016194"/>
              <a:gd name="connsiteY9" fmla="*/ 3281173 h 4705065"/>
              <a:gd name="connsiteX10" fmla="*/ 421436 w 1016194"/>
              <a:gd name="connsiteY10" fmla="*/ 2295256 h 4705065"/>
              <a:gd name="connsiteX11" fmla="*/ 522051 w 1016194"/>
              <a:gd name="connsiteY11" fmla="*/ 1536640 h 4705065"/>
              <a:gd name="connsiteX12" fmla="*/ 680714 w 1016194"/>
              <a:gd name="connsiteY12" fmla="*/ 869528 h 4705065"/>
              <a:gd name="connsiteX13" fmla="*/ 827400 w 1016194"/>
              <a:gd name="connsiteY13" fmla="*/ 456062 h 4705065"/>
              <a:gd name="connsiteX14" fmla="*/ 997997 w 1016194"/>
              <a:gd name="connsiteY14" fmla="*/ 39806 h 4705065"/>
              <a:gd name="connsiteX15" fmla="*/ 936582 w 1016194"/>
              <a:gd name="connsiteY15" fmla="*/ 217227 h 4705065"/>
              <a:gd name="connsiteX16" fmla="*/ 808742 w 1016194"/>
              <a:gd name="connsiteY16" fmla="*/ 771415 h 4705065"/>
              <a:gd name="connsiteX17" fmla="*/ 653575 w 1016194"/>
              <a:gd name="connsiteY17" fmla="*/ 1520631 h 4705065"/>
              <a:gd name="connsiteX18" fmla="*/ 530681 w 1016194"/>
              <a:gd name="connsiteY18" fmla="*/ 2631639 h 4705065"/>
              <a:gd name="connsiteX19" fmla="*/ 479552 w 1016194"/>
              <a:gd name="connsiteY19" fmla="*/ 3714524 h 4705065"/>
              <a:gd name="connsiteX20" fmla="*/ 476122 w 1016194"/>
              <a:gd name="connsiteY20" fmla="*/ 4137534 h 4705065"/>
              <a:gd name="connsiteX21" fmla="*/ 534040 w 1016194"/>
              <a:gd name="connsiteY21" fmla="*/ 4369546 h 4705065"/>
              <a:gd name="connsiteX22" fmla="*/ 564797 w 1016194"/>
              <a:gd name="connsiteY22" fmla="*/ 4570862 h 4705065"/>
              <a:gd name="connsiteX23" fmla="*/ 417967 w 1016194"/>
              <a:gd name="connsiteY23" fmla="*/ 4693692 h 4705065"/>
              <a:gd name="connsiteX24" fmla="*/ 315609 w 1016194"/>
              <a:gd name="connsiteY24" fmla="*/ 4639101 h 4705065"/>
              <a:gd name="connsiteX25" fmla="*/ 370200 w 1016194"/>
              <a:gd name="connsiteY25" fmla="*/ 4516271 h 4705065"/>
              <a:gd name="connsiteX26" fmla="*/ 356552 w 1016194"/>
              <a:gd name="connsiteY26" fmla="*/ 4372970 h 4705065"/>
              <a:gd name="connsiteX27" fmla="*/ 305591 w 1016194"/>
              <a:gd name="connsiteY27" fmla="*/ 4277437 h 4705065"/>
              <a:gd name="connsiteX0" fmla="*/ 305591 w 1016194"/>
              <a:gd name="connsiteY0" fmla="*/ 4277437 h 4705065"/>
              <a:gd name="connsiteX1" fmla="*/ 192779 w 1016194"/>
              <a:gd name="connsiteY1" fmla="*/ 4372970 h 4705065"/>
              <a:gd name="connsiteX2" fmla="*/ 172307 w 1016194"/>
              <a:gd name="connsiteY2" fmla="*/ 4482152 h 4705065"/>
              <a:gd name="connsiteX3" fmla="*/ 244076 w 1016194"/>
              <a:gd name="connsiteY3" fmla="*/ 4594782 h 4705065"/>
              <a:gd name="connsiteX4" fmla="*/ 209956 w 1016194"/>
              <a:gd name="connsiteY4" fmla="*/ 4673246 h 4705065"/>
              <a:gd name="connsiteX5" fmla="*/ 87060 w 1016194"/>
              <a:gd name="connsiteY5" fmla="*/ 4659598 h 4705065"/>
              <a:gd name="connsiteX6" fmla="*/ 11945 w 1016194"/>
              <a:gd name="connsiteY6" fmla="*/ 4461678 h 4705065"/>
              <a:gd name="connsiteX7" fmla="*/ 158727 w 1016194"/>
              <a:gd name="connsiteY7" fmla="*/ 4113662 h 4705065"/>
              <a:gd name="connsiteX8" fmla="*/ 220075 w 1016194"/>
              <a:gd name="connsiteY8" fmla="*/ 3820236 h 4705065"/>
              <a:gd name="connsiteX9" fmla="*/ 305456 w 1016194"/>
              <a:gd name="connsiteY9" fmla="*/ 3281173 h 4705065"/>
              <a:gd name="connsiteX10" fmla="*/ 421436 w 1016194"/>
              <a:gd name="connsiteY10" fmla="*/ 2295256 h 4705065"/>
              <a:gd name="connsiteX11" fmla="*/ 522051 w 1016194"/>
              <a:gd name="connsiteY11" fmla="*/ 1536640 h 4705065"/>
              <a:gd name="connsiteX12" fmla="*/ 680714 w 1016194"/>
              <a:gd name="connsiteY12" fmla="*/ 869528 h 4705065"/>
              <a:gd name="connsiteX13" fmla="*/ 827400 w 1016194"/>
              <a:gd name="connsiteY13" fmla="*/ 456062 h 4705065"/>
              <a:gd name="connsiteX14" fmla="*/ 997997 w 1016194"/>
              <a:gd name="connsiteY14" fmla="*/ 39806 h 4705065"/>
              <a:gd name="connsiteX15" fmla="*/ 936582 w 1016194"/>
              <a:gd name="connsiteY15" fmla="*/ 217227 h 4705065"/>
              <a:gd name="connsiteX16" fmla="*/ 808742 w 1016194"/>
              <a:gd name="connsiteY16" fmla="*/ 771415 h 4705065"/>
              <a:gd name="connsiteX17" fmla="*/ 653575 w 1016194"/>
              <a:gd name="connsiteY17" fmla="*/ 1520631 h 4705065"/>
              <a:gd name="connsiteX18" fmla="*/ 530681 w 1016194"/>
              <a:gd name="connsiteY18" fmla="*/ 2631639 h 4705065"/>
              <a:gd name="connsiteX19" fmla="*/ 479552 w 1016194"/>
              <a:gd name="connsiteY19" fmla="*/ 3714524 h 4705065"/>
              <a:gd name="connsiteX20" fmla="*/ 476122 w 1016194"/>
              <a:gd name="connsiteY20" fmla="*/ 4137534 h 4705065"/>
              <a:gd name="connsiteX21" fmla="*/ 534040 w 1016194"/>
              <a:gd name="connsiteY21" fmla="*/ 4369546 h 4705065"/>
              <a:gd name="connsiteX22" fmla="*/ 564797 w 1016194"/>
              <a:gd name="connsiteY22" fmla="*/ 4570862 h 4705065"/>
              <a:gd name="connsiteX23" fmla="*/ 417967 w 1016194"/>
              <a:gd name="connsiteY23" fmla="*/ 4693692 h 4705065"/>
              <a:gd name="connsiteX24" fmla="*/ 315609 w 1016194"/>
              <a:gd name="connsiteY24" fmla="*/ 4639101 h 4705065"/>
              <a:gd name="connsiteX25" fmla="*/ 370200 w 1016194"/>
              <a:gd name="connsiteY25" fmla="*/ 4516271 h 4705065"/>
              <a:gd name="connsiteX26" fmla="*/ 370267 w 1016194"/>
              <a:gd name="connsiteY26" fmla="*/ 4376370 h 4705065"/>
              <a:gd name="connsiteX27" fmla="*/ 305591 w 1016194"/>
              <a:gd name="connsiteY27" fmla="*/ 4277437 h 4705065"/>
              <a:gd name="connsiteX0" fmla="*/ 305591 w 1016194"/>
              <a:gd name="connsiteY0" fmla="*/ 4277437 h 4705065"/>
              <a:gd name="connsiteX1" fmla="*/ 192779 w 1016194"/>
              <a:gd name="connsiteY1" fmla="*/ 4372970 h 4705065"/>
              <a:gd name="connsiteX2" fmla="*/ 172307 w 1016194"/>
              <a:gd name="connsiteY2" fmla="*/ 4482152 h 4705065"/>
              <a:gd name="connsiteX3" fmla="*/ 244076 w 1016194"/>
              <a:gd name="connsiteY3" fmla="*/ 4594782 h 4705065"/>
              <a:gd name="connsiteX4" fmla="*/ 209956 w 1016194"/>
              <a:gd name="connsiteY4" fmla="*/ 4673246 h 4705065"/>
              <a:gd name="connsiteX5" fmla="*/ 87060 w 1016194"/>
              <a:gd name="connsiteY5" fmla="*/ 4659598 h 4705065"/>
              <a:gd name="connsiteX6" fmla="*/ 11945 w 1016194"/>
              <a:gd name="connsiteY6" fmla="*/ 4461678 h 4705065"/>
              <a:gd name="connsiteX7" fmla="*/ 158727 w 1016194"/>
              <a:gd name="connsiteY7" fmla="*/ 4113662 h 4705065"/>
              <a:gd name="connsiteX8" fmla="*/ 220075 w 1016194"/>
              <a:gd name="connsiteY8" fmla="*/ 3820236 h 4705065"/>
              <a:gd name="connsiteX9" fmla="*/ 305456 w 1016194"/>
              <a:gd name="connsiteY9" fmla="*/ 3281173 h 4705065"/>
              <a:gd name="connsiteX10" fmla="*/ 421436 w 1016194"/>
              <a:gd name="connsiteY10" fmla="*/ 2295256 h 4705065"/>
              <a:gd name="connsiteX11" fmla="*/ 522051 w 1016194"/>
              <a:gd name="connsiteY11" fmla="*/ 1536640 h 4705065"/>
              <a:gd name="connsiteX12" fmla="*/ 680714 w 1016194"/>
              <a:gd name="connsiteY12" fmla="*/ 869528 h 4705065"/>
              <a:gd name="connsiteX13" fmla="*/ 827400 w 1016194"/>
              <a:gd name="connsiteY13" fmla="*/ 456062 h 4705065"/>
              <a:gd name="connsiteX14" fmla="*/ 997997 w 1016194"/>
              <a:gd name="connsiteY14" fmla="*/ 39806 h 4705065"/>
              <a:gd name="connsiteX15" fmla="*/ 936582 w 1016194"/>
              <a:gd name="connsiteY15" fmla="*/ 217227 h 4705065"/>
              <a:gd name="connsiteX16" fmla="*/ 808742 w 1016194"/>
              <a:gd name="connsiteY16" fmla="*/ 771415 h 4705065"/>
              <a:gd name="connsiteX17" fmla="*/ 653575 w 1016194"/>
              <a:gd name="connsiteY17" fmla="*/ 1520631 h 4705065"/>
              <a:gd name="connsiteX18" fmla="*/ 530681 w 1016194"/>
              <a:gd name="connsiteY18" fmla="*/ 2631639 h 4705065"/>
              <a:gd name="connsiteX19" fmla="*/ 479552 w 1016194"/>
              <a:gd name="connsiteY19" fmla="*/ 3714524 h 4705065"/>
              <a:gd name="connsiteX20" fmla="*/ 476122 w 1016194"/>
              <a:gd name="connsiteY20" fmla="*/ 4137534 h 4705065"/>
              <a:gd name="connsiteX21" fmla="*/ 534040 w 1016194"/>
              <a:gd name="connsiteY21" fmla="*/ 4369546 h 4705065"/>
              <a:gd name="connsiteX22" fmla="*/ 564797 w 1016194"/>
              <a:gd name="connsiteY22" fmla="*/ 4570862 h 4705065"/>
              <a:gd name="connsiteX23" fmla="*/ 417967 w 1016194"/>
              <a:gd name="connsiteY23" fmla="*/ 4693692 h 4705065"/>
              <a:gd name="connsiteX24" fmla="*/ 315609 w 1016194"/>
              <a:gd name="connsiteY24" fmla="*/ 4639101 h 4705065"/>
              <a:gd name="connsiteX25" fmla="*/ 387343 w 1016194"/>
              <a:gd name="connsiteY25" fmla="*/ 4512871 h 4705065"/>
              <a:gd name="connsiteX26" fmla="*/ 370267 w 1016194"/>
              <a:gd name="connsiteY26" fmla="*/ 4376370 h 4705065"/>
              <a:gd name="connsiteX27" fmla="*/ 305591 w 1016194"/>
              <a:gd name="connsiteY27" fmla="*/ 4277437 h 4705065"/>
              <a:gd name="connsiteX0" fmla="*/ 305591 w 1016194"/>
              <a:gd name="connsiteY0" fmla="*/ 4277437 h 4708465"/>
              <a:gd name="connsiteX1" fmla="*/ 192779 w 1016194"/>
              <a:gd name="connsiteY1" fmla="*/ 4372970 h 4708465"/>
              <a:gd name="connsiteX2" fmla="*/ 172307 w 1016194"/>
              <a:gd name="connsiteY2" fmla="*/ 4482152 h 4708465"/>
              <a:gd name="connsiteX3" fmla="*/ 244076 w 1016194"/>
              <a:gd name="connsiteY3" fmla="*/ 4594782 h 4708465"/>
              <a:gd name="connsiteX4" fmla="*/ 209956 w 1016194"/>
              <a:gd name="connsiteY4" fmla="*/ 4673246 h 4708465"/>
              <a:gd name="connsiteX5" fmla="*/ 87060 w 1016194"/>
              <a:gd name="connsiteY5" fmla="*/ 4659598 h 4708465"/>
              <a:gd name="connsiteX6" fmla="*/ 11945 w 1016194"/>
              <a:gd name="connsiteY6" fmla="*/ 4461678 h 4708465"/>
              <a:gd name="connsiteX7" fmla="*/ 158727 w 1016194"/>
              <a:gd name="connsiteY7" fmla="*/ 4113662 h 4708465"/>
              <a:gd name="connsiteX8" fmla="*/ 220075 w 1016194"/>
              <a:gd name="connsiteY8" fmla="*/ 3820236 h 4708465"/>
              <a:gd name="connsiteX9" fmla="*/ 305456 w 1016194"/>
              <a:gd name="connsiteY9" fmla="*/ 3281173 h 4708465"/>
              <a:gd name="connsiteX10" fmla="*/ 421436 w 1016194"/>
              <a:gd name="connsiteY10" fmla="*/ 2295256 h 4708465"/>
              <a:gd name="connsiteX11" fmla="*/ 522051 w 1016194"/>
              <a:gd name="connsiteY11" fmla="*/ 1536640 h 4708465"/>
              <a:gd name="connsiteX12" fmla="*/ 680714 w 1016194"/>
              <a:gd name="connsiteY12" fmla="*/ 869528 h 4708465"/>
              <a:gd name="connsiteX13" fmla="*/ 827400 w 1016194"/>
              <a:gd name="connsiteY13" fmla="*/ 456062 h 4708465"/>
              <a:gd name="connsiteX14" fmla="*/ 997997 w 1016194"/>
              <a:gd name="connsiteY14" fmla="*/ 39806 h 4708465"/>
              <a:gd name="connsiteX15" fmla="*/ 936582 w 1016194"/>
              <a:gd name="connsiteY15" fmla="*/ 217227 h 4708465"/>
              <a:gd name="connsiteX16" fmla="*/ 808742 w 1016194"/>
              <a:gd name="connsiteY16" fmla="*/ 771415 h 4708465"/>
              <a:gd name="connsiteX17" fmla="*/ 653575 w 1016194"/>
              <a:gd name="connsiteY17" fmla="*/ 1520631 h 4708465"/>
              <a:gd name="connsiteX18" fmla="*/ 530681 w 1016194"/>
              <a:gd name="connsiteY18" fmla="*/ 2631639 h 4708465"/>
              <a:gd name="connsiteX19" fmla="*/ 479552 w 1016194"/>
              <a:gd name="connsiteY19" fmla="*/ 3714524 h 4708465"/>
              <a:gd name="connsiteX20" fmla="*/ 476122 w 1016194"/>
              <a:gd name="connsiteY20" fmla="*/ 4137534 h 4708465"/>
              <a:gd name="connsiteX21" fmla="*/ 534040 w 1016194"/>
              <a:gd name="connsiteY21" fmla="*/ 4369546 h 4708465"/>
              <a:gd name="connsiteX22" fmla="*/ 564797 w 1016194"/>
              <a:gd name="connsiteY22" fmla="*/ 4570862 h 4708465"/>
              <a:gd name="connsiteX23" fmla="*/ 417967 w 1016194"/>
              <a:gd name="connsiteY23" fmla="*/ 4693692 h 4708465"/>
              <a:gd name="connsiteX24" fmla="*/ 346467 w 1016194"/>
              <a:gd name="connsiteY24" fmla="*/ 4659502 h 4708465"/>
              <a:gd name="connsiteX25" fmla="*/ 387343 w 1016194"/>
              <a:gd name="connsiteY25" fmla="*/ 4512871 h 4708465"/>
              <a:gd name="connsiteX26" fmla="*/ 370267 w 1016194"/>
              <a:gd name="connsiteY26" fmla="*/ 4376370 h 4708465"/>
              <a:gd name="connsiteX27" fmla="*/ 305591 w 1016194"/>
              <a:gd name="connsiteY27" fmla="*/ 4277437 h 4708465"/>
              <a:gd name="connsiteX0" fmla="*/ 305591 w 1016194"/>
              <a:gd name="connsiteY0" fmla="*/ 4277437 h 4708465"/>
              <a:gd name="connsiteX1" fmla="*/ 192779 w 1016194"/>
              <a:gd name="connsiteY1" fmla="*/ 4372970 h 4708465"/>
              <a:gd name="connsiteX2" fmla="*/ 172307 w 1016194"/>
              <a:gd name="connsiteY2" fmla="*/ 4482152 h 4708465"/>
              <a:gd name="connsiteX3" fmla="*/ 244076 w 1016194"/>
              <a:gd name="connsiteY3" fmla="*/ 4594782 h 4708465"/>
              <a:gd name="connsiteX4" fmla="*/ 209956 w 1016194"/>
              <a:gd name="connsiteY4" fmla="*/ 4673246 h 4708465"/>
              <a:gd name="connsiteX5" fmla="*/ 87060 w 1016194"/>
              <a:gd name="connsiteY5" fmla="*/ 4659598 h 4708465"/>
              <a:gd name="connsiteX6" fmla="*/ 11945 w 1016194"/>
              <a:gd name="connsiteY6" fmla="*/ 4461678 h 4708465"/>
              <a:gd name="connsiteX7" fmla="*/ 158727 w 1016194"/>
              <a:gd name="connsiteY7" fmla="*/ 4113662 h 4708465"/>
              <a:gd name="connsiteX8" fmla="*/ 220075 w 1016194"/>
              <a:gd name="connsiteY8" fmla="*/ 3820236 h 4708465"/>
              <a:gd name="connsiteX9" fmla="*/ 305456 w 1016194"/>
              <a:gd name="connsiteY9" fmla="*/ 3281173 h 4708465"/>
              <a:gd name="connsiteX10" fmla="*/ 421436 w 1016194"/>
              <a:gd name="connsiteY10" fmla="*/ 2295256 h 4708465"/>
              <a:gd name="connsiteX11" fmla="*/ 522051 w 1016194"/>
              <a:gd name="connsiteY11" fmla="*/ 1536640 h 4708465"/>
              <a:gd name="connsiteX12" fmla="*/ 680714 w 1016194"/>
              <a:gd name="connsiteY12" fmla="*/ 869528 h 4708465"/>
              <a:gd name="connsiteX13" fmla="*/ 827400 w 1016194"/>
              <a:gd name="connsiteY13" fmla="*/ 456062 h 4708465"/>
              <a:gd name="connsiteX14" fmla="*/ 997997 w 1016194"/>
              <a:gd name="connsiteY14" fmla="*/ 39806 h 4708465"/>
              <a:gd name="connsiteX15" fmla="*/ 936582 w 1016194"/>
              <a:gd name="connsiteY15" fmla="*/ 217227 h 4708465"/>
              <a:gd name="connsiteX16" fmla="*/ 808742 w 1016194"/>
              <a:gd name="connsiteY16" fmla="*/ 771415 h 4708465"/>
              <a:gd name="connsiteX17" fmla="*/ 653575 w 1016194"/>
              <a:gd name="connsiteY17" fmla="*/ 1520631 h 4708465"/>
              <a:gd name="connsiteX18" fmla="*/ 530681 w 1016194"/>
              <a:gd name="connsiteY18" fmla="*/ 2631639 h 4708465"/>
              <a:gd name="connsiteX19" fmla="*/ 479552 w 1016194"/>
              <a:gd name="connsiteY19" fmla="*/ 3714524 h 4708465"/>
              <a:gd name="connsiteX20" fmla="*/ 476122 w 1016194"/>
              <a:gd name="connsiteY20" fmla="*/ 4137534 h 4708465"/>
              <a:gd name="connsiteX21" fmla="*/ 534040 w 1016194"/>
              <a:gd name="connsiteY21" fmla="*/ 4369546 h 4708465"/>
              <a:gd name="connsiteX22" fmla="*/ 564797 w 1016194"/>
              <a:gd name="connsiteY22" fmla="*/ 4570862 h 4708465"/>
              <a:gd name="connsiteX23" fmla="*/ 417967 w 1016194"/>
              <a:gd name="connsiteY23" fmla="*/ 4693692 h 4708465"/>
              <a:gd name="connsiteX24" fmla="*/ 346467 w 1016194"/>
              <a:gd name="connsiteY24" fmla="*/ 4659502 h 4708465"/>
              <a:gd name="connsiteX25" fmla="*/ 387343 w 1016194"/>
              <a:gd name="connsiteY25" fmla="*/ 4512871 h 4708465"/>
              <a:gd name="connsiteX26" fmla="*/ 370267 w 1016194"/>
              <a:gd name="connsiteY26" fmla="*/ 4376370 h 4708465"/>
              <a:gd name="connsiteX27" fmla="*/ 305591 w 1016194"/>
              <a:gd name="connsiteY27" fmla="*/ 4277437 h 4708465"/>
              <a:gd name="connsiteX0" fmla="*/ 305591 w 1016194"/>
              <a:gd name="connsiteY0" fmla="*/ 4277437 h 4715266"/>
              <a:gd name="connsiteX1" fmla="*/ 192779 w 1016194"/>
              <a:gd name="connsiteY1" fmla="*/ 4372970 h 4715266"/>
              <a:gd name="connsiteX2" fmla="*/ 172307 w 1016194"/>
              <a:gd name="connsiteY2" fmla="*/ 4482152 h 4715266"/>
              <a:gd name="connsiteX3" fmla="*/ 244076 w 1016194"/>
              <a:gd name="connsiteY3" fmla="*/ 4594782 h 4715266"/>
              <a:gd name="connsiteX4" fmla="*/ 209956 w 1016194"/>
              <a:gd name="connsiteY4" fmla="*/ 4673246 h 4715266"/>
              <a:gd name="connsiteX5" fmla="*/ 87060 w 1016194"/>
              <a:gd name="connsiteY5" fmla="*/ 4659598 h 4715266"/>
              <a:gd name="connsiteX6" fmla="*/ 11945 w 1016194"/>
              <a:gd name="connsiteY6" fmla="*/ 4461678 h 4715266"/>
              <a:gd name="connsiteX7" fmla="*/ 158727 w 1016194"/>
              <a:gd name="connsiteY7" fmla="*/ 4113662 h 4715266"/>
              <a:gd name="connsiteX8" fmla="*/ 220075 w 1016194"/>
              <a:gd name="connsiteY8" fmla="*/ 3820236 h 4715266"/>
              <a:gd name="connsiteX9" fmla="*/ 305456 w 1016194"/>
              <a:gd name="connsiteY9" fmla="*/ 3281173 h 4715266"/>
              <a:gd name="connsiteX10" fmla="*/ 421436 w 1016194"/>
              <a:gd name="connsiteY10" fmla="*/ 2295256 h 4715266"/>
              <a:gd name="connsiteX11" fmla="*/ 522051 w 1016194"/>
              <a:gd name="connsiteY11" fmla="*/ 1536640 h 4715266"/>
              <a:gd name="connsiteX12" fmla="*/ 680714 w 1016194"/>
              <a:gd name="connsiteY12" fmla="*/ 869528 h 4715266"/>
              <a:gd name="connsiteX13" fmla="*/ 827400 w 1016194"/>
              <a:gd name="connsiteY13" fmla="*/ 456062 h 4715266"/>
              <a:gd name="connsiteX14" fmla="*/ 997997 w 1016194"/>
              <a:gd name="connsiteY14" fmla="*/ 39806 h 4715266"/>
              <a:gd name="connsiteX15" fmla="*/ 936582 w 1016194"/>
              <a:gd name="connsiteY15" fmla="*/ 217227 h 4715266"/>
              <a:gd name="connsiteX16" fmla="*/ 808742 w 1016194"/>
              <a:gd name="connsiteY16" fmla="*/ 771415 h 4715266"/>
              <a:gd name="connsiteX17" fmla="*/ 653575 w 1016194"/>
              <a:gd name="connsiteY17" fmla="*/ 1520631 h 4715266"/>
              <a:gd name="connsiteX18" fmla="*/ 530681 w 1016194"/>
              <a:gd name="connsiteY18" fmla="*/ 2631639 h 4715266"/>
              <a:gd name="connsiteX19" fmla="*/ 479552 w 1016194"/>
              <a:gd name="connsiteY19" fmla="*/ 3714524 h 4715266"/>
              <a:gd name="connsiteX20" fmla="*/ 476122 w 1016194"/>
              <a:gd name="connsiteY20" fmla="*/ 4137534 h 4715266"/>
              <a:gd name="connsiteX21" fmla="*/ 534040 w 1016194"/>
              <a:gd name="connsiteY21" fmla="*/ 4369546 h 4715266"/>
              <a:gd name="connsiteX22" fmla="*/ 564797 w 1016194"/>
              <a:gd name="connsiteY22" fmla="*/ 4570862 h 4715266"/>
              <a:gd name="connsiteX23" fmla="*/ 448826 w 1016194"/>
              <a:gd name="connsiteY23" fmla="*/ 4700493 h 4715266"/>
              <a:gd name="connsiteX24" fmla="*/ 346467 w 1016194"/>
              <a:gd name="connsiteY24" fmla="*/ 4659502 h 4715266"/>
              <a:gd name="connsiteX25" fmla="*/ 387343 w 1016194"/>
              <a:gd name="connsiteY25" fmla="*/ 4512871 h 4715266"/>
              <a:gd name="connsiteX26" fmla="*/ 370267 w 1016194"/>
              <a:gd name="connsiteY26" fmla="*/ 4376370 h 4715266"/>
              <a:gd name="connsiteX27" fmla="*/ 305591 w 1016194"/>
              <a:gd name="connsiteY27" fmla="*/ 4277437 h 4715266"/>
              <a:gd name="connsiteX0" fmla="*/ 305591 w 1016194"/>
              <a:gd name="connsiteY0" fmla="*/ 4277437 h 4715833"/>
              <a:gd name="connsiteX1" fmla="*/ 192779 w 1016194"/>
              <a:gd name="connsiteY1" fmla="*/ 4372970 h 4715833"/>
              <a:gd name="connsiteX2" fmla="*/ 172307 w 1016194"/>
              <a:gd name="connsiteY2" fmla="*/ 4482152 h 4715833"/>
              <a:gd name="connsiteX3" fmla="*/ 244076 w 1016194"/>
              <a:gd name="connsiteY3" fmla="*/ 4594782 h 4715833"/>
              <a:gd name="connsiteX4" fmla="*/ 209956 w 1016194"/>
              <a:gd name="connsiteY4" fmla="*/ 4673246 h 4715833"/>
              <a:gd name="connsiteX5" fmla="*/ 87060 w 1016194"/>
              <a:gd name="connsiteY5" fmla="*/ 4659598 h 4715833"/>
              <a:gd name="connsiteX6" fmla="*/ 11945 w 1016194"/>
              <a:gd name="connsiteY6" fmla="*/ 4461678 h 4715833"/>
              <a:gd name="connsiteX7" fmla="*/ 158727 w 1016194"/>
              <a:gd name="connsiteY7" fmla="*/ 4113662 h 4715833"/>
              <a:gd name="connsiteX8" fmla="*/ 220075 w 1016194"/>
              <a:gd name="connsiteY8" fmla="*/ 3820236 h 4715833"/>
              <a:gd name="connsiteX9" fmla="*/ 305456 w 1016194"/>
              <a:gd name="connsiteY9" fmla="*/ 3281173 h 4715833"/>
              <a:gd name="connsiteX10" fmla="*/ 421436 w 1016194"/>
              <a:gd name="connsiteY10" fmla="*/ 2295256 h 4715833"/>
              <a:gd name="connsiteX11" fmla="*/ 522051 w 1016194"/>
              <a:gd name="connsiteY11" fmla="*/ 1536640 h 4715833"/>
              <a:gd name="connsiteX12" fmla="*/ 680714 w 1016194"/>
              <a:gd name="connsiteY12" fmla="*/ 869528 h 4715833"/>
              <a:gd name="connsiteX13" fmla="*/ 827400 w 1016194"/>
              <a:gd name="connsiteY13" fmla="*/ 456062 h 4715833"/>
              <a:gd name="connsiteX14" fmla="*/ 997997 w 1016194"/>
              <a:gd name="connsiteY14" fmla="*/ 39806 h 4715833"/>
              <a:gd name="connsiteX15" fmla="*/ 936582 w 1016194"/>
              <a:gd name="connsiteY15" fmla="*/ 217227 h 4715833"/>
              <a:gd name="connsiteX16" fmla="*/ 808742 w 1016194"/>
              <a:gd name="connsiteY16" fmla="*/ 771415 h 4715833"/>
              <a:gd name="connsiteX17" fmla="*/ 653575 w 1016194"/>
              <a:gd name="connsiteY17" fmla="*/ 1520631 h 4715833"/>
              <a:gd name="connsiteX18" fmla="*/ 530681 w 1016194"/>
              <a:gd name="connsiteY18" fmla="*/ 2631639 h 4715833"/>
              <a:gd name="connsiteX19" fmla="*/ 479552 w 1016194"/>
              <a:gd name="connsiteY19" fmla="*/ 3714524 h 4715833"/>
              <a:gd name="connsiteX20" fmla="*/ 476122 w 1016194"/>
              <a:gd name="connsiteY20" fmla="*/ 4137534 h 4715833"/>
              <a:gd name="connsiteX21" fmla="*/ 534040 w 1016194"/>
              <a:gd name="connsiteY21" fmla="*/ 4369546 h 4715833"/>
              <a:gd name="connsiteX22" fmla="*/ 575083 w 1016194"/>
              <a:gd name="connsiteY22" fmla="*/ 4567462 h 4715833"/>
              <a:gd name="connsiteX23" fmla="*/ 448826 w 1016194"/>
              <a:gd name="connsiteY23" fmla="*/ 4700493 h 4715833"/>
              <a:gd name="connsiteX24" fmla="*/ 346467 w 1016194"/>
              <a:gd name="connsiteY24" fmla="*/ 4659502 h 4715833"/>
              <a:gd name="connsiteX25" fmla="*/ 387343 w 1016194"/>
              <a:gd name="connsiteY25" fmla="*/ 4512871 h 4715833"/>
              <a:gd name="connsiteX26" fmla="*/ 370267 w 1016194"/>
              <a:gd name="connsiteY26" fmla="*/ 4376370 h 4715833"/>
              <a:gd name="connsiteX27" fmla="*/ 305591 w 1016194"/>
              <a:gd name="connsiteY27" fmla="*/ 4277437 h 4715833"/>
              <a:gd name="connsiteX0" fmla="*/ 305591 w 1016194"/>
              <a:gd name="connsiteY0" fmla="*/ 4277437 h 4715833"/>
              <a:gd name="connsiteX1" fmla="*/ 192779 w 1016194"/>
              <a:gd name="connsiteY1" fmla="*/ 4372970 h 4715833"/>
              <a:gd name="connsiteX2" fmla="*/ 210023 w 1016194"/>
              <a:gd name="connsiteY2" fmla="*/ 4471952 h 4715833"/>
              <a:gd name="connsiteX3" fmla="*/ 244076 w 1016194"/>
              <a:gd name="connsiteY3" fmla="*/ 4594782 h 4715833"/>
              <a:gd name="connsiteX4" fmla="*/ 209956 w 1016194"/>
              <a:gd name="connsiteY4" fmla="*/ 4673246 h 4715833"/>
              <a:gd name="connsiteX5" fmla="*/ 87060 w 1016194"/>
              <a:gd name="connsiteY5" fmla="*/ 4659598 h 4715833"/>
              <a:gd name="connsiteX6" fmla="*/ 11945 w 1016194"/>
              <a:gd name="connsiteY6" fmla="*/ 4461678 h 4715833"/>
              <a:gd name="connsiteX7" fmla="*/ 158727 w 1016194"/>
              <a:gd name="connsiteY7" fmla="*/ 4113662 h 4715833"/>
              <a:gd name="connsiteX8" fmla="*/ 220075 w 1016194"/>
              <a:gd name="connsiteY8" fmla="*/ 3820236 h 4715833"/>
              <a:gd name="connsiteX9" fmla="*/ 305456 w 1016194"/>
              <a:gd name="connsiteY9" fmla="*/ 3281173 h 4715833"/>
              <a:gd name="connsiteX10" fmla="*/ 421436 w 1016194"/>
              <a:gd name="connsiteY10" fmla="*/ 2295256 h 4715833"/>
              <a:gd name="connsiteX11" fmla="*/ 522051 w 1016194"/>
              <a:gd name="connsiteY11" fmla="*/ 1536640 h 4715833"/>
              <a:gd name="connsiteX12" fmla="*/ 680714 w 1016194"/>
              <a:gd name="connsiteY12" fmla="*/ 869528 h 4715833"/>
              <a:gd name="connsiteX13" fmla="*/ 827400 w 1016194"/>
              <a:gd name="connsiteY13" fmla="*/ 456062 h 4715833"/>
              <a:gd name="connsiteX14" fmla="*/ 997997 w 1016194"/>
              <a:gd name="connsiteY14" fmla="*/ 39806 h 4715833"/>
              <a:gd name="connsiteX15" fmla="*/ 936582 w 1016194"/>
              <a:gd name="connsiteY15" fmla="*/ 217227 h 4715833"/>
              <a:gd name="connsiteX16" fmla="*/ 808742 w 1016194"/>
              <a:gd name="connsiteY16" fmla="*/ 771415 h 4715833"/>
              <a:gd name="connsiteX17" fmla="*/ 653575 w 1016194"/>
              <a:gd name="connsiteY17" fmla="*/ 1520631 h 4715833"/>
              <a:gd name="connsiteX18" fmla="*/ 530681 w 1016194"/>
              <a:gd name="connsiteY18" fmla="*/ 2631639 h 4715833"/>
              <a:gd name="connsiteX19" fmla="*/ 479552 w 1016194"/>
              <a:gd name="connsiteY19" fmla="*/ 3714524 h 4715833"/>
              <a:gd name="connsiteX20" fmla="*/ 476122 w 1016194"/>
              <a:gd name="connsiteY20" fmla="*/ 4137534 h 4715833"/>
              <a:gd name="connsiteX21" fmla="*/ 534040 w 1016194"/>
              <a:gd name="connsiteY21" fmla="*/ 4369546 h 4715833"/>
              <a:gd name="connsiteX22" fmla="*/ 575083 w 1016194"/>
              <a:gd name="connsiteY22" fmla="*/ 4567462 h 4715833"/>
              <a:gd name="connsiteX23" fmla="*/ 448826 w 1016194"/>
              <a:gd name="connsiteY23" fmla="*/ 4700493 h 4715833"/>
              <a:gd name="connsiteX24" fmla="*/ 346467 w 1016194"/>
              <a:gd name="connsiteY24" fmla="*/ 4659502 h 4715833"/>
              <a:gd name="connsiteX25" fmla="*/ 387343 w 1016194"/>
              <a:gd name="connsiteY25" fmla="*/ 4512871 h 4715833"/>
              <a:gd name="connsiteX26" fmla="*/ 370267 w 1016194"/>
              <a:gd name="connsiteY26" fmla="*/ 4376370 h 4715833"/>
              <a:gd name="connsiteX27" fmla="*/ 305591 w 1016194"/>
              <a:gd name="connsiteY27" fmla="*/ 4277437 h 4715833"/>
              <a:gd name="connsiteX0" fmla="*/ 305591 w 1016194"/>
              <a:gd name="connsiteY0" fmla="*/ 4277437 h 4715833"/>
              <a:gd name="connsiteX1" fmla="*/ 237351 w 1016194"/>
              <a:gd name="connsiteY1" fmla="*/ 4352571 h 4715833"/>
              <a:gd name="connsiteX2" fmla="*/ 210023 w 1016194"/>
              <a:gd name="connsiteY2" fmla="*/ 4471952 h 4715833"/>
              <a:gd name="connsiteX3" fmla="*/ 244076 w 1016194"/>
              <a:gd name="connsiteY3" fmla="*/ 4594782 h 4715833"/>
              <a:gd name="connsiteX4" fmla="*/ 209956 w 1016194"/>
              <a:gd name="connsiteY4" fmla="*/ 4673246 h 4715833"/>
              <a:gd name="connsiteX5" fmla="*/ 87060 w 1016194"/>
              <a:gd name="connsiteY5" fmla="*/ 4659598 h 4715833"/>
              <a:gd name="connsiteX6" fmla="*/ 11945 w 1016194"/>
              <a:gd name="connsiteY6" fmla="*/ 4461678 h 4715833"/>
              <a:gd name="connsiteX7" fmla="*/ 158727 w 1016194"/>
              <a:gd name="connsiteY7" fmla="*/ 4113662 h 4715833"/>
              <a:gd name="connsiteX8" fmla="*/ 220075 w 1016194"/>
              <a:gd name="connsiteY8" fmla="*/ 3820236 h 4715833"/>
              <a:gd name="connsiteX9" fmla="*/ 305456 w 1016194"/>
              <a:gd name="connsiteY9" fmla="*/ 3281173 h 4715833"/>
              <a:gd name="connsiteX10" fmla="*/ 421436 w 1016194"/>
              <a:gd name="connsiteY10" fmla="*/ 2295256 h 4715833"/>
              <a:gd name="connsiteX11" fmla="*/ 522051 w 1016194"/>
              <a:gd name="connsiteY11" fmla="*/ 1536640 h 4715833"/>
              <a:gd name="connsiteX12" fmla="*/ 680714 w 1016194"/>
              <a:gd name="connsiteY12" fmla="*/ 869528 h 4715833"/>
              <a:gd name="connsiteX13" fmla="*/ 827400 w 1016194"/>
              <a:gd name="connsiteY13" fmla="*/ 456062 h 4715833"/>
              <a:gd name="connsiteX14" fmla="*/ 997997 w 1016194"/>
              <a:gd name="connsiteY14" fmla="*/ 39806 h 4715833"/>
              <a:gd name="connsiteX15" fmla="*/ 936582 w 1016194"/>
              <a:gd name="connsiteY15" fmla="*/ 217227 h 4715833"/>
              <a:gd name="connsiteX16" fmla="*/ 808742 w 1016194"/>
              <a:gd name="connsiteY16" fmla="*/ 771415 h 4715833"/>
              <a:gd name="connsiteX17" fmla="*/ 653575 w 1016194"/>
              <a:gd name="connsiteY17" fmla="*/ 1520631 h 4715833"/>
              <a:gd name="connsiteX18" fmla="*/ 530681 w 1016194"/>
              <a:gd name="connsiteY18" fmla="*/ 2631639 h 4715833"/>
              <a:gd name="connsiteX19" fmla="*/ 479552 w 1016194"/>
              <a:gd name="connsiteY19" fmla="*/ 3714524 h 4715833"/>
              <a:gd name="connsiteX20" fmla="*/ 476122 w 1016194"/>
              <a:gd name="connsiteY20" fmla="*/ 4137534 h 4715833"/>
              <a:gd name="connsiteX21" fmla="*/ 534040 w 1016194"/>
              <a:gd name="connsiteY21" fmla="*/ 4369546 h 4715833"/>
              <a:gd name="connsiteX22" fmla="*/ 575083 w 1016194"/>
              <a:gd name="connsiteY22" fmla="*/ 4567462 h 4715833"/>
              <a:gd name="connsiteX23" fmla="*/ 448826 w 1016194"/>
              <a:gd name="connsiteY23" fmla="*/ 4700493 h 4715833"/>
              <a:gd name="connsiteX24" fmla="*/ 346467 w 1016194"/>
              <a:gd name="connsiteY24" fmla="*/ 4659502 h 4715833"/>
              <a:gd name="connsiteX25" fmla="*/ 387343 w 1016194"/>
              <a:gd name="connsiteY25" fmla="*/ 4512871 h 4715833"/>
              <a:gd name="connsiteX26" fmla="*/ 370267 w 1016194"/>
              <a:gd name="connsiteY26" fmla="*/ 4376370 h 4715833"/>
              <a:gd name="connsiteX27" fmla="*/ 305591 w 1016194"/>
              <a:gd name="connsiteY27" fmla="*/ 4277437 h 4715833"/>
              <a:gd name="connsiteX0" fmla="*/ 305591 w 1016194"/>
              <a:gd name="connsiteY0" fmla="*/ 4277437 h 4715833"/>
              <a:gd name="connsiteX1" fmla="*/ 237351 w 1016194"/>
              <a:gd name="connsiteY1" fmla="*/ 4352571 h 4715833"/>
              <a:gd name="connsiteX2" fmla="*/ 192879 w 1016194"/>
              <a:gd name="connsiteY2" fmla="*/ 4471952 h 4715833"/>
              <a:gd name="connsiteX3" fmla="*/ 244076 w 1016194"/>
              <a:gd name="connsiteY3" fmla="*/ 4594782 h 4715833"/>
              <a:gd name="connsiteX4" fmla="*/ 209956 w 1016194"/>
              <a:gd name="connsiteY4" fmla="*/ 4673246 h 4715833"/>
              <a:gd name="connsiteX5" fmla="*/ 87060 w 1016194"/>
              <a:gd name="connsiteY5" fmla="*/ 4659598 h 4715833"/>
              <a:gd name="connsiteX6" fmla="*/ 11945 w 1016194"/>
              <a:gd name="connsiteY6" fmla="*/ 4461678 h 4715833"/>
              <a:gd name="connsiteX7" fmla="*/ 158727 w 1016194"/>
              <a:gd name="connsiteY7" fmla="*/ 4113662 h 4715833"/>
              <a:gd name="connsiteX8" fmla="*/ 220075 w 1016194"/>
              <a:gd name="connsiteY8" fmla="*/ 3820236 h 4715833"/>
              <a:gd name="connsiteX9" fmla="*/ 305456 w 1016194"/>
              <a:gd name="connsiteY9" fmla="*/ 3281173 h 4715833"/>
              <a:gd name="connsiteX10" fmla="*/ 421436 w 1016194"/>
              <a:gd name="connsiteY10" fmla="*/ 2295256 h 4715833"/>
              <a:gd name="connsiteX11" fmla="*/ 522051 w 1016194"/>
              <a:gd name="connsiteY11" fmla="*/ 1536640 h 4715833"/>
              <a:gd name="connsiteX12" fmla="*/ 680714 w 1016194"/>
              <a:gd name="connsiteY12" fmla="*/ 869528 h 4715833"/>
              <a:gd name="connsiteX13" fmla="*/ 827400 w 1016194"/>
              <a:gd name="connsiteY13" fmla="*/ 456062 h 4715833"/>
              <a:gd name="connsiteX14" fmla="*/ 997997 w 1016194"/>
              <a:gd name="connsiteY14" fmla="*/ 39806 h 4715833"/>
              <a:gd name="connsiteX15" fmla="*/ 936582 w 1016194"/>
              <a:gd name="connsiteY15" fmla="*/ 217227 h 4715833"/>
              <a:gd name="connsiteX16" fmla="*/ 808742 w 1016194"/>
              <a:gd name="connsiteY16" fmla="*/ 771415 h 4715833"/>
              <a:gd name="connsiteX17" fmla="*/ 653575 w 1016194"/>
              <a:gd name="connsiteY17" fmla="*/ 1520631 h 4715833"/>
              <a:gd name="connsiteX18" fmla="*/ 530681 w 1016194"/>
              <a:gd name="connsiteY18" fmla="*/ 2631639 h 4715833"/>
              <a:gd name="connsiteX19" fmla="*/ 479552 w 1016194"/>
              <a:gd name="connsiteY19" fmla="*/ 3714524 h 4715833"/>
              <a:gd name="connsiteX20" fmla="*/ 476122 w 1016194"/>
              <a:gd name="connsiteY20" fmla="*/ 4137534 h 4715833"/>
              <a:gd name="connsiteX21" fmla="*/ 534040 w 1016194"/>
              <a:gd name="connsiteY21" fmla="*/ 4369546 h 4715833"/>
              <a:gd name="connsiteX22" fmla="*/ 575083 w 1016194"/>
              <a:gd name="connsiteY22" fmla="*/ 4567462 h 4715833"/>
              <a:gd name="connsiteX23" fmla="*/ 448826 w 1016194"/>
              <a:gd name="connsiteY23" fmla="*/ 4700493 h 4715833"/>
              <a:gd name="connsiteX24" fmla="*/ 346467 w 1016194"/>
              <a:gd name="connsiteY24" fmla="*/ 4659502 h 4715833"/>
              <a:gd name="connsiteX25" fmla="*/ 387343 w 1016194"/>
              <a:gd name="connsiteY25" fmla="*/ 4512871 h 4715833"/>
              <a:gd name="connsiteX26" fmla="*/ 370267 w 1016194"/>
              <a:gd name="connsiteY26" fmla="*/ 4376370 h 4715833"/>
              <a:gd name="connsiteX27" fmla="*/ 305591 w 1016194"/>
              <a:gd name="connsiteY27" fmla="*/ 4277437 h 4715833"/>
              <a:gd name="connsiteX0" fmla="*/ 305591 w 1016194"/>
              <a:gd name="connsiteY0" fmla="*/ 4277437 h 4715833"/>
              <a:gd name="connsiteX1" fmla="*/ 237351 w 1016194"/>
              <a:gd name="connsiteY1" fmla="*/ 4352571 h 4715833"/>
              <a:gd name="connsiteX2" fmla="*/ 192879 w 1016194"/>
              <a:gd name="connsiteY2" fmla="*/ 4471952 h 4715833"/>
              <a:gd name="connsiteX3" fmla="*/ 244076 w 1016194"/>
              <a:gd name="connsiteY3" fmla="*/ 4594782 h 4715833"/>
              <a:gd name="connsiteX4" fmla="*/ 209956 w 1016194"/>
              <a:gd name="connsiteY4" fmla="*/ 4673246 h 4715833"/>
              <a:gd name="connsiteX5" fmla="*/ 87060 w 1016194"/>
              <a:gd name="connsiteY5" fmla="*/ 4659598 h 4715833"/>
              <a:gd name="connsiteX6" fmla="*/ 11945 w 1016194"/>
              <a:gd name="connsiteY6" fmla="*/ 4461678 h 4715833"/>
              <a:gd name="connsiteX7" fmla="*/ 158727 w 1016194"/>
              <a:gd name="connsiteY7" fmla="*/ 4113662 h 4715833"/>
              <a:gd name="connsiteX8" fmla="*/ 220075 w 1016194"/>
              <a:gd name="connsiteY8" fmla="*/ 3820236 h 4715833"/>
              <a:gd name="connsiteX9" fmla="*/ 305456 w 1016194"/>
              <a:gd name="connsiteY9" fmla="*/ 3281173 h 4715833"/>
              <a:gd name="connsiteX10" fmla="*/ 421436 w 1016194"/>
              <a:gd name="connsiteY10" fmla="*/ 2295256 h 4715833"/>
              <a:gd name="connsiteX11" fmla="*/ 522051 w 1016194"/>
              <a:gd name="connsiteY11" fmla="*/ 1536640 h 4715833"/>
              <a:gd name="connsiteX12" fmla="*/ 680714 w 1016194"/>
              <a:gd name="connsiteY12" fmla="*/ 869528 h 4715833"/>
              <a:gd name="connsiteX13" fmla="*/ 827400 w 1016194"/>
              <a:gd name="connsiteY13" fmla="*/ 456062 h 4715833"/>
              <a:gd name="connsiteX14" fmla="*/ 997997 w 1016194"/>
              <a:gd name="connsiteY14" fmla="*/ 39806 h 4715833"/>
              <a:gd name="connsiteX15" fmla="*/ 936582 w 1016194"/>
              <a:gd name="connsiteY15" fmla="*/ 217227 h 4715833"/>
              <a:gd name="connsiteX16" fmla="*/ 808742 w 1016194"/>
              <a:gd name="connsiteY16" fmla="*/ 771415 h 4715833"/>
              <a:gd name="connsiteX17" fmla="*/ 653575 w 1016194"/>
              <a:gd name="connsiteY17" fmla="*/ 1520631 h 4715833"/>
              <a:gd name="connsiteX18" fmla="*/ 530681 w 1016194"/>
              <a:gd name="connsiteY18" fmla="*/ 2631639 h 4715833"/>
              <a:gd name="connsiteX19" fmla="*/ 479552 w 1016194"/>
              <a:gd name="connsiteY19" fmla="*/ 3714524 h 4715833"/>
              <a:gd name="connsiteX20" fmla="*/ 476122 w 1016194"/>
              <a:gd name="connsiteY20" fmla="*/ 4137534 h 4715833"/>
              <a:gd name="connsiteX21" fmla="*/ 534040 w 1016194"/>
              <a:gd name="connsiteY21" fmla="*/ 4369546 h 4715833"/>
              <a:gd name="connsiteX22" fmla="*/ 575083 w 1016194"/>
              <a:gd name="connsiteY22" fmla="*/ 4567462 h 4715833"/>
              <a:gd name="connsiteX23" fmla="*/ 448826 w 1016194"/>
              <a:gd name="connsiteY23" fmla="*/ 4700493 h 4715833"/>
              <a:gd name="connsiteX24" fmla="*/ 346467 w 1016194"/>
              <a:gd name="connsiteY24" fmla="*/ 4659502 h 4715833"/>
              <a:gd name="connsiteX25" fmla="*/ 387343 w 1016194"/>
              <a:gd name="connsiteY25" fmla="*/ 4512871 h 4715833"/>
              <a:gd name="connsiteX26" fmla="*/ 370267 w 1016194"/>
              <a:gd name="connsiteY26" fmla="*/ 4376370 h 4715833"/>
              <a:gd name="connsiteX27" fmla="*/ 305591 w 1016194"/>
              <a:gd name="connsiteY27" fmla="*/ 4277437 h 4715833"/>
              <a:gd name="connsiteX0" fmla="*/ 305591 w 1016194"/>
              <a:gd name="connsiteY0" fmla="*/ 4277437 h 4715833"/>
              <a:gd name="connsiteX1" fmla="*/ 237351 w 1016194"/>
              <a:gd name="connsiteY1" fmla="*/ 4352571 h 4715833"/>
              <a:gd name="connsiteX2" fmla="*/ 192879 w 1016194"/>
              <a:gd name="connsiteY2" fmla="*/ 4471952 h 4715833"/>
              <a:gd name="connsiteX3" fmla="*/ 244076 w 1016194"/>
              <a:gd name="connsiteY3" fmla="*/ 4594782 h 4715833"/>
              <a:gd name="connsiteX4" fmla="*/ 209956 w 1016194"/>
              <a:gd name="connsiteY4" fmla="*/ 4673246 h 4715833"/>
              <a:gd name="connsiteX5" fmla="*/ 87060 w 1016194"/>
              <a:gd name="connsiteY5" fmla="*/ 4659598 h 4715833"/>
              <a:gd name="connsiteX6" fmla="*/ 11945 w 1016194"/>
              <a:gd name="connsiteY6" fmla="*/ 4461678 h 4715833"/>
              <a:gd name="connsiteX7" fmla="*/ 158727 w 1016194"/>
              <a:gd name="connsiteY7" fmla="*/ 4113662 h 4715833"/>
              <a:gd name="connsiteX8" fmla="*/ 220075 w 1016194"/>
              <a:gd name="connsiteY8" fmla="*/ 3820236 h 4715833"/>
              <a:gd name="connsiteX9" fmla="*/ 305456 w 1016194"/>
              <a:gd name="connsiteY9" fmla="*/ 3281173 h 4715833"/>
              <a:gd name="connsiteX10" fmla="*/ 421436 w 1016194"/>
              <a:gd name="connsiteY10" fmla="*/ 2295256 h 4715833"/>
              <a:gd name="connsiteX11" fmla="*/ 522051 w 1016194"/>
              <a:gd name="connsiteY11" fmla="*/ 1536640 h 4715833"/>
              <a:gd name="connsiteX12" fmla="*/ 680714 w 1016194"/>
              <a:gd name="connsiteY12" fmla="*/ 869528 h 4715833"/>
              <a:gd name="connsiteX13" fmla="*/ 827400 w 1016194"/>
              <a:gd name="connsiteY13" fmla="*/ 456062 h 4715833"/>
              <a:gd name="connsiteX14" fmla="*/ 997997 w 1016194"/>
              <a:gd name="connsiteY14" fmla="*/ 39806 h 4715833"/>
              <a:gd name="connsiteX15" fmla="*/ 936582 w 1016194"/>
              <a:gd name="connsiteY15" fmla="*/ 217227 h 4715833"/>
              <a:gd name="connsiteX16" fmla="*/ 808742 w 1016194"/>
              <a:gd name="connsiteY16" fmla="*/ 771415 h 4715833"/>
              <a:gd name="connsiteX17" fmla="*/ 653575 w 1016194"/>
              <a:gd name="connsiteY17" fmla="*/ 1520631 h 4715833"/>
              <a:gd name="connsiteX18" fmla="*/ 530681 w 1016194"/>
              <a:gd name="connsiteY18" fmla="*/ 2631639 h 4715833"/>
              <a:gd name="connsiteX19" fmla="*/ 479552 w 1016194"/>
              <a:gd name="connsiteY19" fmla="*/ 3714524 h 4715833"/>
              <a:gd name="connsiteX20" fmla="*/ 476122 w 1016194"/>
              <a:gd name="connsiteY20" fmla="*/ 4137534 h 4715833"/>
              <a:gd name="connsiteX21" fmla="*/ 534040 w 1016194"/>
              <a:gd name="connsiteY21" fmla="*/ 4369546 h 4715833"/>
              <a:gd name="connsiteX22" fmla="*/ 575083 w 1016194"/>
              <a:gd name="connsiteY22" fmla="*/ 4567462 h 4715833"/>
              <a:gd name="connsiteX23" fmla="*/ 448826 w 1016194"/>
              <a:gd name="connsiteY23" fmla="*/ 4700493 h 4715833"/>
              <a:gd name="connsiteX24" fmla="*/ 346467 w 1016194"/>
              <a:gd name="connsiteY24" fmla="*/ 4659502 h 4715833"/>
              <a:gd name="connsiteX25" fmla="*/ 387343 w 1016194"/>
              <a:gd name="connsiteY25" fmla="*/ 4512871 h 4715833"/>
              <a:gd name="connsiteX26" fmla="*/ 370267 w 1016194"/>
              <a:gd name="connsiteY26" fmla="*/ 4376370 h 4715833"/>
              <a:gd name="connsiteX27" fmla="*/ 305591 w 1016194"/>
              <a:gd name="connsiteY27" fmla="*/ 4277437 h 4715833"/>
              <a:gd name="connsiteX0" fmla="*/ 305591 w 1040642"/>
              <a:gd name="connsiteY0" fmla="*/ 4346348 h 4784744"/>
              <a:gd name="connsiteX1" fmla="*/ 237351 w 1040642"/>
              <a:gd name="connsiteY1" fmla="*/ 4421482 h 4784744"/>
              <a:gd name="connsiteX2" fmla="*/ 192879 w 1040642"/>
              <a:gd name="connsiteY2" fmla="*/ 4540863 h 4784744"/>
              <a:gd name="connsiteX3" fmla="*/ 244076 w 1040642"/>
              <a:gd name="connsiteY3" fmla="*/ 4663693 h 4784744"/>
              <a:gd name="connsiteX4" fmla="*/ 209956 w 1040642"/>
              <a:gd name="connsiteY4" fmla="*/ 4742157 h 4784744"/>
              <a:gd name="connsiteX5" fmla="*/ 87060 w 1040642"/>
              <a:gd name="connsiteY5" fmla="*/ 4728509 h 4784744"/>
              <a:gd name="connsiteX6" fmla="*/ 11945 w 1040642"/>
              <a:gd name="connsiteY6" fmla="*/ 4530589 h 4784744"/>
              <a:gd name="connsiteX7" fmla="*/ 158727 w 1040642"/>
              <a:gd name="connsiteY7" fmla="*/ 4182573 h 4784744"/>
              <a:gd name="connsiteX8" fmla="*/ 220075 w 1040642"/>
              <a:gd name="connsiteY8" fmla="*/ 3889147 h 4784744"/>
              <a:gd name="connsiteX9" fmla="*/ 305456 w 1040642"/>
              <a:gd name="connsiteY9" fmla="*/ 3350084 h 4784744"/>
              <a:gd name="connsiteX10" fmla="*/ 421436 w 1040642"/>
              <a:gd name="connsiteY10" fmla="*/ 2364167 h 4784744"/>
              <a:gd name="connsiteX11" fmla="*/ 522051 w 1040642"/>
              <a:gd name="connsiteY11" fmla="*/ 1605551 h 4784744"/>
              <a:gd name="connsiteX12" fmla="*/ 680714 w 1040642"/>
              <a:gd name="connsiteY12" fmla="*/ 938439 h 4784744"/>
              <a:gd name="connsiteX13" fmla="*/ 997997 w 1040642"/>
              <a:gd name="connsiteY13" fmla="*/ 108717 h 4784744"/>
              <a:gd name="connsiteX14" fmla="*/ 936582 w 1040642"/>
              <a:gd name="connsiteY14" fmla="*/ 286138 h 4784744"/>
              <a:gd name="connsiteX15" fmla="*/ 808742 w 1040642"/>
              <a:gd name="connsiteY15" fmla="*/ 840326 h 4784744"/>
              <a:gd name="connsiteX16" fmla="*/ 653575 w 1040642"/>
              <a:gd name="connsiteY16" fmla="*/ 1589542 h 4784744"/>
              <a:gd name="connsiteX17" fmla="*/ 530681 w 1040642"/>
              <a:gd name="connsiteY17" fmla="*/ 2700550 h 4784744"/>
              <a:gd name="connsiteX18" fmla="*/ 479552 w 1040642"/>
              <a:gd name="connsiteY18" fmla="*/ 3783435 h 4784744"/>
              <a:gd name="connsiteX19" fmla="*/ 476122 w 1040642"/>
              <a:gd name="connsiteY19" fmla="*/ 4206445 h 4784744"/>
              <a:gd name="connsiteX20" fmla="*/ 534040 w 1040642"/>
              <a:gd name="connsiteY20" fmla="*/ 4438457 h 4784744"/>
              <a:gd name="connsiteX21" fmla="*/ 575083 w 1040642"/>
              <a:gd name="connsiteY21" fmla="*/ 4636373 h 4784744"/>
              <a:gd name="connsiteX22" fmla="*/ 448826 w 1040642"/>
              <a:gd name="connsiteY22" fmla="*/ 4769404 h 4784744"/>
              <a:gd name="connsiteX23" fmla="*/ 346467 w 1040642"/>
              <a:gd name="connsiteY23" fmla="*/ 4728413 h 4784744"/>
              <a:gd name="connsiteX24" fmla="*/ 387343 w 1040642"/>
              <a:gd name="connsiteY24" fmla="*/ 4581782 h 4784744"/>
              <a:gd name="connsiteX25" fmla="*/ 370267 w 1040642"/>
              <a:gd name="connsiteY25" fmla="*/ 4445281 h 4784744"/>
              <a:gd name="connsiteX26" fmla="*/ 305591 w 1040642"/>
              <a:gd name="connsiteY26" fmla="*/ 4346348 h 4784744"/>
              <a:gd name="connsiteX0" fmla="*/ 305591 w 957920"/>
              <a:gd name="connsiteY0" fmla="*/ 4076562 h 4514958"/>
              <a:gd name="connsiteX1" fmla="*/ 237351 w 957920"/>
              <a:gd name="connsiteY1" fmla="*/ 4151696 h 4514958"/>
              <a:gd name="connsiteX2" fmla="*/ 192879 w 957920"/>
              <a:gd name="connsiteY2" fmla="*/ 4271077 h 4514958"/>
              <a:gd name="connsiteX3" fmla="*/ 244076 w 957920"/>
              <a:gd name="connsiteY3" fmla="*/ 4393907 h 4514958"/>
              <a:gd name="connsiteX4" fmla="*/ 209956 w 957920"/>
              <a:gd name="connsiteY4" fmla="*/ 4472371 h 4514958"/>
              <a:gd name="connsiteX5" fmla="*/ 87060 w 957920"/>
              <a:gd name="connsiteY5" fmla="*/ 4458723 h 4514958"/>
              <a:gd name="connsiteX6" fmla="*/ 11945 w 957920"/>
              <a:gd name="connsiteY6" fmla="*/ 4260803 h 4514958"/>
              <a:gd name="connsiteX7" fmla="*/ 158727 w 957920"/>
              <a:gd name="connsiteY7" fmla="*/ 3912787 h 4514958"/>
              <a:gd name="connsiteX8" fmla="*/ 220075 w 957920"/>
              <a:gd name="connsiteY8" fmla="*/ 3619361 h 4514958"/>
              <a:gd name="connsiteX9" fmla="*/ 305456 w 957920"/>
              <a:gd name="connsiteY9" fmla="*/ 3080298 h 4514958"/>
              <a:gd name="connsiteX10" fmla="*/ 421436 w 957920"/>
              <a:gd name="connsiteY10" fmla="*/ 2094381 h 4514958"/>
              <a:gd name="connsiteX11" fmla="*/ 522051 w 957920"/>
              <a:gd name="connsiteY11" fmla="*/ 1335765 h 4514958"/>
              <a:gd name="connsiteX12" fmla="*/ 680714 w 957920"/>
              <a:gd name="connsiteY12" fmla="*/ 668653 h 4514958"/>
              <a:gd name="connsiteX13" fmla="*/ 936582 w 957920"/>
              <a:gd name="connsiteY13" fmla="*/ 16352 h 4514958"/>
              <a:gd name="connsiteX14" fmla="*/ 808742 w 957920"/>
              <a:gd name="connsiteY14" fmla="*/ 570540 h 4514958"/>
              <a:gd name="connsiteX15" fmla="*/ 653575 w 957920"/>
              <a:gd name="connsiteY15" fmla="*/ 1319756 h 4514958"/>
              <a:gd name="connsiteX16" fmla="*/ 530681 w 957920"/>
              <a:gd name="connsiteY16" fmla="*/ 2430764 h 4514958"/>
              <a:gd name="connsiteX17" fmla="*/ 479552 w 957920"/>
              <a:gd name="connsiteY17" fmla="*/ 3513649 h 4514958"/>
              <a:gd name="connsiteX18" fmla="*/ 476122 w 957920"/>
              <a:gd name="connsiteY18" fmla="*/ 3936659 h 4514958"/>
              <a:gd name="connsiteX19" fmla="*/ 534040 w 957920"/>
              <a:gd name="connsiteY19" fmla="*/ 4168671 h 4514958"/>
              <a:gd name="connsiteX20" fmla="*/ 575083 w 957920"/>
              <a:gd name="connsiteY20" fmla="*/ 4366587 h 4514958"/>
              <a:gd name="connsiteX21" fmla="*/ 448826 w 957920"/>
              <a:gd name="connsiteY21" fmla="*/ 4499618 h 4514958"/>
              <a:gd name="connsiteX22" fmla="*/ 346467 w 957920"/>
              <a:gd name="connsiteY22" fmla="*/ 4458627 h 4514958"/>
              <a:gd name="connsiteX23" fmla="*/ 387343 w 957920"/>
              <a:gd name="connsiteY23" fmla="*/ 4311996 h 4514958"/>
              <a:gd name="connsiteX24" fmla="*/ 370267 w 957920"/>
              <a:gd name="connsiteY24" fmla="*/ 4175495 h 4514958"/>
              <a:gd name="connsiteX25" fmla="*/ 305591 w 957920"/>
              <a:gd name="connsiteY25" fmla="*/ 4076562 h 4514958"/>
              <a:gd name="connsiteX0" fmla="*/ 305591 w 941105"/>
              <a:gd name="connsiteY0" fmla="*/ 4168727 h 4607123"/>
              <a:gd name="connsiteX1" fmla="*/ 237351 w 941105"/>
              <a:gd name="connsiteY1" fmla="*/ 4243861 h 4607123"/>
              <a:gd name="connsiteX2" fmla="*/ 192879 w 941105"/>
              <a:gd name="connsiteY2" fmla="*/ 4363242 h 4607123"/>
              <a:gd name="connsiteX3" fmla="*/ 244076 w 941105"/>
              <a:gd name="connsiteY3" fmla="*/ 4486072 h 4607123"/>
              <a:gd name="connsiteX4" fmla="*/ 209956 w 941105"/>
              <a:gd name="connsiteY4" fmla="*/ 4564536 h 4607123"/>
              <a:gd name="connsiteX5" fmla="*/ 87060 w 941105"/>
              <a:gd name="connsiteY5" fmla="*/ 4550888 h 4607123"/>
              <a:gd name="connsiteX6" fmla="*/ 11945 w 941105"/>
              <a:gd name="connsiteY6" fmla="*/ 4352968 h 4607123"/>
              <a:gd name="connsiteX7" fmla="*/ 158727 w 941105"/>
              <a:gd name="connsiteY7" fmla="*/ 4004952 h 4607123"/>
              <a:gd name="connsiteX8" fmla="*/ 220075 w 941105"/>
              <a:gd name="connsiteY8" fmla="*/ 3711526 h 4607123"/>
              <a:gd name="connsiteX9" fmla="*/ 305456 w 941105"/>
              <a:gd name="connsiteY9" fmla="*/ 3172463 h 4607123"/>
              <a:gd name="connsiteX10" fmla="*/ 421436 w 941105"/>
              <a:gd name="connsiteY10" fmla="*/ 2186546 h 4607123"/>
              <a:gd name="connsiteX11" fmla="*/ 522051 w 941105"/>
              <a:gd name="connsiteY11" fmla="*/ 1427930 h 4607123"/>
              <a:gd name="connsiteX12" fmla="*/ 680714 w 941105"/>
              <a:gd name="connsiteY12" fmla="*/ 760818 h 4607123"/>
              <a:gd name="connsiteX13" fmla="*/ 936582 w 941105"/>
              <a:gd name="connsiteY13" fmla="*/ 108517 h 4607123"/>
              <a:gd name="connsiteX14" fmla="*/ 653575 w 941105"/>
              <a:gd name="connsiteY14" fmla="*/ 1411921 h 4607123"/>
              <a:gd name="connsiteX15" fmla="*/ 530681 w 941105"/>
              <a:gd name="connsiteY15" fmla="*/ 2522929 h 4607123"/>
              <a:gd name="connsiteX16" fmla="*/ 479552 w 941105"/>
              <a:gd name="connsiteY16" fmla="*/ 3605814 h 4607123"/>
              <a:gd name="connsiteX17" fmla="*/ 476122 w 941105"/>
              <a:gd name="connsiteY17" fmla="*/ 4028824 h 4607123"/>
              <a:gd name="connsiteX18" fmla="*/ 534040 w 941105"/>
              <a:gd name="connsiteY18" fmla="*/ 4260836 h 4607123"/>
              <a:gd name="connsiteX19" fmla="*/ 575083 w 941105"/>
              <a:gd name="connsiteY19" fmla="*/ 4458752 h 4607123"/>
              <a:gd name="connsiteX20" fmla="*/ 448826 w 941105"/>
              <a:gd name="connsiteY20" fmla="*/ 4591783 h 4607123"/>
              <a:gd name="connsiteX21" fmla="*/ 346467 w 941105"/>
              <a:gd name="connsiteY21" fmla="*/ 4550792 h 4607123"/>
              <a:gd name="connsiteX22" fmla="*/ 387343 w 941105"/>
              <a:gd name="connsiteY22" fmla="*/ 4404161 h 4607123"/>
              <a:gd name="connsiteX23" fmla="*/ 370267 w 941105"/>
              <a:gd name="connsiteY23" fmla="*/ 4267660 h 4607123"/>
              <a:gd name="connsiteX24" fmla="*/ 305591 w 941105"/>
              <a:gd name="connsiteY24" fmla="*/ 4168727 h 4607123"/>
              <a:gd name="connsiteX0" fmla="*/ 305591 w 958503"/>
              <a:gd name="connsiteY0" fmla="*/ 4062878 h 4501274"/>
              <a:gd name="connsiteX1" fmla="*/ 237351 w 958503"/>
              <a:gd name="connsiteY1" fmla="*/ 4138012 h 4501274"/>
              <a:gd name="connsiteX2" fmla="*/ 192879 w 958503"/>
              <a:gd name="connsiteY2" fmla="*/ 4257393 h 4501274"/>
              <a:gd name="connsiteX3" fmla="*/ 244076 w 958503"/>
              <a:gd name="connsiteY3" fmla="*/ 4380223 h 4501274"/>
              <a:gd name="connsiteX4" fmla="*/ 209956 w 958503"/>
              <a:gd name="connsiteY4" fmla="*/ 4458687 h 4501274"/>
              <a:gd name="connsiteX5" fmla="*/ 87060 w 958503"/>
              <a:gd name="connsiteY5" fmla="*/ 4445039 h 4501274"/>
              <a:gd name="connsiteX6" fmla="*/ 11945 w 958503"/>
              <a:gd name="connsiteY6" fmla="*/ 4247119 h 4501274"/>
              <a:gd name="connsiteX7" fmla="*/ 158727 w 958503"/>
              <a:gd name="connsiteY7" fmla="*/ 3899103 h 4501274"/>
              <a:gd name="connsiteX8" fmla="*/ 220075 w 958503"/>
              <a:gd name="connsiteY8" fmla="*/ 3605677 h 4501274"/>
              <a:gd name="connsiteX9" fmla="*/ 305456 w 958503"/>
              <a:gd name="connsiteY9" fmla="*/ 3066614 h 4501274"/>
              <a:gd name="connsiteX10" fmla="*/ 421436 w 958503"/>
              <a:gd name="connsiteY10" fmla="*/ 2080697 h 4501274"/>
              <a:gd name="connsiteX11" fmla="*/ 522051 w 958503"/>
              <a:gd name="connsiteY11" fmla="*/ 1322081 h 4501274"/>
              <a:gd name="connsiteX12" fmla="*/ 936582 w 958503"/>
              <a:gd name="connsiteY12" fmla="*/ 2668 h 4501274"/>
              <a:gd name="connsiteX13" fmla="*/ 653575 w 958503"/>
              <a:gd name="connsiteY13" fmla="*/ 1306072 h 4501274"/>
              <a:gd name="connsiteX14" fmla="*/ 530681 w 958503"/>
              <a:gd name="connsiteY14" fmla="*/ 2417080 h 4501274"/>
              <a:gd name="connsiteX15" fmla="*/ 479552 w 958503"/>
              <a:gd name="connsiteY15" fmla="*/ 3499965 h 4501274"/>
              <a:gd name="connsiteX16" fmla="*/ 476122 w 958503"/>
              <a:gd name="connsiteY16" fmla="*/ 3922975 h 4501274"/>
              <a:gd name="connsiteX17" fmla="*/ 534040 w 958503"/>
              <a:gd name="connsiteY17" fmla="*/ 4154987 h 4501274"/>
              <a:gd name="connsiteX18" fmla="*/ 575083 w 958503"/>
              <a:gd name="connsiteY18" fmla="*/ 4352903 h 4501274"/>
              <a:gd name="connsiteX19" fmla="*/ 448826 w 958503"/>
              <a:gd name="connsiteY19" fmla="*/ 4485934 h 4501274"/>
              <a:gd name="connsiteX20" fmla="*/ 346467 w 958503"/>
              <a:gd name="connsiteY20" fmla="*/ 4444943 h 4501274"/>
              <a:gd name="connsiteX21" fmla="*/ 387343 w 958503"/>
              <a:gd name="connsiteY21" fmla="*/ 4298312 h 4501274"/>
              <a:gd name="connsiteX22" fmla="*/ 370267 w 958503"/>
              <a:gd name="connsiteY22" fmla="*/ 4161811 h 4501274"/>
              <a:gd name="connsiteX23" fmla="*/ 305591 w 958503"/>
              <a:gd name="connsiteY23" fmla="*/ 4062878 h 4501274"/>
              <a:gd name="connsiteX0" fmla="*/ 305591 w 655013"/>
              <a:gd name="connsiteY0" fmla="*/ 2939306 h 3377702"/>
              <a:gd name="connsiteX1" fmla="*/ 237351 w 655013"/>
              <a:gd name="connsiteY1" fmla="*/ 3014440 h 3377702"/>
              <a:gd name="connsiteX2" fmla="*/ 192879 w 655013"/>
              <a:gd name="connsiteY2" fmla="*/ 3133821 h 3377702"/>
              <a:gd name="connsiteX3" fmla="*/ 244076 w 655013"/>
              <a:gd name="connsiteY3" fmla="*/ 3256651 h 3377702"/>
              <a:gd name="connsiteX4" fmla="*/ 209956 w 655013"/>
              <a:gd name="connsiteY4" fmla="*/ 3335115 h 3377702"/>
              <a:gd name="connsiteX5" fmla="*/ 87060 w 655013"/>
              <a:gd name="connsiteY5" fmla="*/ 3321467 h 3377702"/>
              <a:gd name="connsiteX6" fmla="*/ 11945 w 655013"/>
              <a:gd name="connsiteY6" fmla="*/ 3123547 h 3377702"/>
              <a:gd name="connsiteX7" fmla="*/ 158727 w 655013"/>
              <a:gd name="connsiteY7" fmla="*/ 2775531 h 3377702"/>
              <a:gd name="connsiteX8" fmla="*/ 220075 w 655013"/>
              <a:gd name="connsiteY8" fmla="*/ 2482105 h 3377702"/>
              <a:gd name="connsiteX9" fmla="*/ 305456 w 655013"/>
              <a:gd name="connsiteY9" fmla="*/ 1943042 h 3377702"/>
              <a:gd name="connsiteX10" fmla="*/ 421436 w 655013"/>
              <a:gd name="connsiteY10" fmla="*/ 957125 h 3377702"/>
              <a:gd name="connsiteX11" fmla="*/ 522051 w 655013"/>
              <a:gd name="connsiteY11" fmla="*/ 198509 h 3377702"/>
              <a:gd name="connsiteX12" fmla="*/ 653575 w 655013"/>
              <a:gd name="connsiteY12" fmla="*/ 182500 h 3377702"/>
              <a:gd name="connsiteX13" fmla="*/ 530681 w 655013"/>
              <a:gd name="connsiteY13" fmla="*/ 1293508 h 3377702"/>
              <a:gd name="connsiteX14" fmla="*/ 479552 w 655013"/>
              <a:gd name="connsiteY14" fmla="*/ 2376393 h 3377702"/>
              <a:gd name="connsiteX15" fmla="*/ 476122 w 655013"/>
              <a:gd name="connsiteY15" fmla="*/ 2799403 h 3377702"/>
              <a:gd name="connsiteX16" fmla="*/ 534040 w 655013"/>
              <a:gd name="connsiteY16" fmla="*/ 3031415 h 3377702"/>
              <a:gd name="connsiteX17" fmla="*/ 575083 w 655013"/>
              <a:gd name="connsiteY17" fmla="*/ 3229331 h 3377702"/>
              <a:gd name="connsiteX18" fmla="*/ 448826 w 655013"/>
              <a:gd name="connsiteY18" fmla="*/ 3362362 h 3377702"/>
              <a:gd name="connsiteX19" fmla="*/ 346467 w 655013"/>
              <a:gd name="connsiteY19" fmla="*/ 3321371 h 3377702"/>
              <a:gd name="connsiteX20" fmla="*/ 387343 w 655013"/>
              <a:gd name="connsiteY20" fmla="*/ 3174740 h 3377702"/>
              <a:gd name="connsiteX21" fmla="*/ 370267 w 655013"/>
              <a:gd name="connsiteY21" fmla="*/ 3038239 h 3377702"/>
              <a:gd name="connsiteX22" fmla="*/ 305591 w 655013"/>
              <a:gd name="connsiteY22" fmla="*/ 2939306 h 3377702"/>
              <a:gd name="connsiteX0" fmla="*/ 305591 w 589285"/>
              <a:gd name="connsiteY0" fmla="*/ 2796861 h 3235257"/>
              <a:gd name="connsiteX1" fmla="*/ 237351 w 589285"/>
              <a:gd name="connsiteY1" fmla="*/ 2871995 h 3235257"/>
              <a:gd name="connsiteX2" fmla="*/ 192879 w 589285"/>
              <a:gd name="connsiteY2" fmla="*/ 2991376 h 3235257"/>
              <a:gd name="connsiteX3" fmla="*/ 244076 w 589285"/>
              <a:gd name="connsiteY3" fmla="*/ 3114206 h 3235257"/>
              <a:gd name="connsiteX4" fmla="*/ 209956 w 589285"/>
              <a:gd name="connsiteY4" fmla="*/ 3192670 h 3235257"/>
              <a:gd name="connsiteX5" fmla="*/ 87060 w 589285"/>
              <a:gd name="connsiteY5" fmla="*/ 3179022 h 3235257"/>
              <a:gd name="connsiteX6" fmla="*/ 11945 w 589285"/>
              <a:gd name="connsiteY6" fmla="*/ 2981102 h 3235257"/>
              <a:gd name="connsiteX7" fmla="*/ 158727 w 589285"/>
              <a:gd name="connsiteY7" fmla="*/ 2633086 h 3235257"/>
              <a:gd name="connsiteX8" fmla="*/ 220075 w 589285"/>
              <a:gd name="connsiteY8" fmla="*/ 2339660 h 3235257"/>
              <a:gd name="connsiteX9" fmla="*/ 305456 w 589285"/>
              <a:gd name="connsiteY9" fmla="*/ 1800597 h 3235257"/>
              <a:gd name="connsiteX10" fmla="*/ 421436 w 589285"/>
              <a:gd name="connsiteY10" fmla="*/ 814680 h 3235257"/>
              <a:gd name="connsiteX11" fmla="*/ 522051 w 589285"/>
              <a:gd name="connsiteY11" fmla="*/ 56064 h 3235257"/>
              <a:gd name="connsiteX12" fmla="*/ 530681 w 589285"/>
              <a:gd name="connsiteY12" fmla="*/ 1151063 h 3235257"/>
              <a:gd name="connsiteX13" fmla="*/ 479552 w 589285"/>
              <a:gd name="connsiteY13" fmla="*/ 2233948 h 3235257"/>
              <a:gd name="connsiteX14" fmla="*/ 476122 w 589285"/>
              <a:gd name="connsiteY14" fmla="*/ 2656958 h 3235257"/>
              <a:gd name="connsiteX15" fmla="*/ 534040 w 589285"/>
              <a:gd name="connsiteY15" fmla="*/ 2888970 h 3235257"/>
              <a:gd name="connsiteX16" fmla="*/ 575083 w 589285"/>
              <a:gd name="connsiteY16" fmla="*/ 3086886 h 3235257"/>
              <a:gd name="connsiteX17" fmla="*/ 448826 w 589285"/>
              <a:gd name="connsiteY17" fmla="*/ 3219917 h 3235257"/>
              <a:gd name="connsiteX18" fmla="*/ 346467 w 589285"/>
              <a:gd name="connsiteY18" fmla="*/ 3178926 h 3235257"/>
              <a:gd name="connsiteX19" fmla="*/ 387343 w 589285"/>
              <a:gd name="connsiteY19" fmla="*/ 3032295 h 3235257"/>
              <a:gd name="connsiteX20" fmla="*/ 370267 w 589285"/>
              <a:gd name="connsiteY20" fmla="*/ 2895794 h 3235257"/>
              <a:gd name="connsiteX21" fmla="*/ 305591 w 589285"/>
              <a:gd name="connsiteY21" fmla="*/ 2796861 h 3235257"/>
              <a:gd name="connsiteX0" fmla="*/ 305591 w 589285"/>
              <a:gd name="connsiteY0" fmla="*/ 2090437 h 2528833"/>
              <a:gd name="connsiteX1" fmla="*/ 237351 w 589285"/>
              <a:gd name="connsiteY1" fmla="*/ 2165571 h 2528833"/>
              <a:gd name="connsiteX2" fmla="*/ 192879 w 589285"/>
              <a:gd name="connsiteY2" fmla="*/ 2284952 h 2528833"/>
              <a:gd name="connsiteX3" fmla="*/ 244076 w 589285"/>
              <a:gd name="connsiteY3" fmla="*/ 2407782 h 2528833"/>
              <a:gd name="connsiteX4" fmla="*/ 209956 w 589285"/>
              <a:gd name="connsiteY4" fmla="*/ 2486246 h 2528833"/>
              <a:gd name="connsiteX5" fmla="*/ 87060 w 589285"/>
              <a:gd name="connsiteY5" fmla="*/ 2472598 h 2528833"/>
              <a:gd name="connsiteX6" fmla="*/ 11945 w 589285"/>
              <a:gd name="connsiteY6" fmla="*/ 2274678 h 2528833"/>
              <a:gd name="connsiteX7" fmla="*/ 158727 w 589285"/>
              <a:gd name="connsiteY7" fmla="*/ 1926662 h 2528833"/>
              <a:gd name="connsiteX8" fmla="*/ 220075 w 589285"/>
              <a:gd name="connsiteY8" fmla="*/ 1633236 h 2528833"/>
              <a:gd name="connsiteX9" fmla="*/ 305456 w 589285"/>
              <a:gd name="connsiteY9" fmla="*/ 1094173 h 2528833"/>
              <a:gd name="connsiteX10" fmla="*/ 421436 w 589285"/>
              <a:gd name="connsiteY10" fmla="*/ 108256 h 2528833"/>
              <a:gd name="connsiteX11" fmla="*/ 530681 w 589285"/>
              <a:gd name="connsiteY11" fmla="*/ 444639 h 2528833"/>
              <a:gd name="connsiteX12" fmla="*/ 479552 w 589285"/>
              <a:gd name="connsiteY12" fmla="*/ 1527524 h 2528833"/>
              <a:gd name="connsiteX13" fmla="*/ 476122 w 589285"/>
              <a:gd name="connsiteY13" fmla="*/ 1950534 h 2528833"/>
              <a:gd name="connsiteX14" fmla="*/ 534040 w 589285"/>
              <a:gd name="connsiteY14" fmla="*/ 2182546 h 2528833"/>
              <a:gd name="connsiteX15" fmla="*/ 575083 w 589285"/>
              <a:gd name="connsiteY15" fmla="*/ 2380462 h 2528833"/>
              <a:gd name="connsiteX16" fmla="*/ 448826 w 589285"/>
              <a:gd name="connsiteY16" fmla="*/ 2513493 h 2528833"/>
              <a:gd name="connsiteX17" fmla="*/ 346467 w 589285"/>
              <a:gd name="connsiteY17" fmla="*/ 2472502 h 2528833"/>
              <a:gd name="connsiteX18" fmla="*/ 387343 w 589285"/>
              <a:gd name="connsiteY18" fmla="*/ 2325871 h 2528833"/>
              <a:gd name="connsiteX19" fmla="*/ 370267 w 589285"/>
              <a:gd name="connsiteY19" fmla="*/ 2189370 h 2528833"/>
              <a:gd name="connsiteX20" fmla="*/ 305591 w 589285"/>
              <a:gd name="connsiteY20" fmla="*/ 2090437 h 2528833"/>
              <a:gd name="connsiteX0" fmla="*/ 318264 w 601958"/>
              <a:gd name="connsiteY0" fmla="*/ 2090437 h 2528833"/>
              <a:gd name="connsiteX1" fmla="*/ 250024 w 601958"/>
              <a:gd name="connsiteY1" fmla="*/ 2165571 h 2528833"/>
              <a:gd name="connsiteX2" fmla="*/ 205552 w 601958"/>
              <a:gd name="connsiteY2" fmla="*/ 2284952 h 2528833"/>
              <a:gd name="connsiteX3" fmla="*/ 256749 w 601958"/>
              <a:gd name="connsiteY3" fmla="*/ 2407782 h 2528833"/>
              <a:gd name="connsiteX4" fmla="*/ 222629 w 601958"/>
              <a:gd name="connsiteY4" fmla="*/ 2486246 h 2528833"/>
              <a:gd name="connsiteX5" fmla="*/ 99733 w 601958"/>
              <a:gd name="connsiteY5" fmla="*/ 2472598 h 2528833"/>
              <a:gd name="connsiteX6" fmla="*/ 11945 w 601958"/>
              <a:gd name="connsiteY6" fmla="*/ 2313213 h 2528833"/>
              <a:gd name="connsiteX7" fmla="*/ 171400 w 601958"/>
              <a:gd name="connsiteY7" fmla="*/ 1926662 h 2528833"/>
              <a:gd name="connsiteX8" fmla="*/ 232748 w 601958"/>
              <a:gd name="connsiteY8" fmla="*/ 1633236 h 2528833"/>
              <a:gd name="connsiteX9" fmla="*/ 318129 w 601958"/>
              <a:gd name="connsiteY9" fmla="*/ 1094173 h 2528833"/>
              <a:gd name="connsiteX10" fmla="*/ 434109 w 601958"/>
              <a:gd name="connsiteY10" fmla="*/ 108256 h 2528833"/>
              <a:gd name="connsiteX11" fmla="*/ 543354 w 601958"/>
              <a:gd name="connsiteY11" fmla="*/ 444639 h 2528833"/>
              <a:gd name="connsiteX12" fmla="*/ 492225 w 601958"/>
              <a:gd name="connsiteY12" fmla="*/ 1527524 h 2528833"/>
              <a:gd name="connsiteX13" fmla="*/ 488795 w 601958"/>
              <a:gd name="connsiteY13" fmla="*/ 1950534 h 2528833"/>
              <a:gd name="connsiteX14" fmla="*/ 546713 w 601958"/>
              <a:gd name="connsiteY14" fmla="*/ 2182546 h 2528833"/>
              <a:gd name="connsiteX15" fmla="*/ 587756 w 601958"/>
              <a:gd name="connsiteY15" fmla="*/ 2380462 h 2528833"/>
              <a:gd name="connsiteX16" fmla="*/ 461499 w 601958"/>
              <a:gd name="connsiteY16" fmla="*/ 2513493 h 2528833"/>
              <a:gd name="connsiteX17" fmla="*/ 359140 w 601958"/>
              <a:gd name="connsiteY17" fmla="*/ 2472502 h 2528833"/>
              <a:gd name="connsiteX18" fmla="*/ 400016 w 601958"/>
              <a:gd name="connsiteY18" fmla="*/ 2325871 h 2528833"/>
              <a:gd name="connsiteX19" fmla="*/ 382940 w 601958"/>
              <a:gd name="connsiteY19" fmla="*/ 2189370 h 2528833"/>
              <a:gd name="connsiteX20" fmla="*/ 318264 w 601958"/>
              <a:gd name="connsiteY20" fmla="*/ 2090437 h 2528833"/>
              <a:gd name="connsiteX0" fmla="*/ 323544 w 607238"/>
              <a:gd name="connsiteY0" fmla="*/ 2090437 h 2528833"/>
              <a:gd name="connsiteX1" fmla="*/ 255304 w 607238"/>
              <a:gd name="connsiteY1" fmla="*/ 2165571 h 2528833"/>
              <a:gd name="connsiteX2" fmla="*/ 210832 w 607238"/>
              <a:gd name="connsiteY2" fmla="*/ 2284952 h 2528833"/>
              <a:gd name="connsiteX3" fmla="*/ 262029 w 607238"/>
              <a:gd name="connsiteY3" fmla="*/ 2407782 h 2528833"/>
              <a:gd name="connsiteX4" fmla="*/ 227909 w 607238"/>
              <a:gd name="connsiteY4" fmla="*/ 2486246 h 2528833"/>
              <a:gd name="connsiteX5" fmla="*/ 73331 w 607238"/>
              <a:gd name="connsiteY5" fmla="*/ 2472598 h 2528833"/>
              <a:gd name="connsiteX6" fmla="*/ 17225 w 607238"/>
              <a:gd name="connsiteY6" fmla="*/ 2313213 h 2528833"/>
              <a:gd name="connsiteX7" fmla="*/ 176680 w 607238"/>
              <a:gd name="connsiteY7" fmla="*/ 1926662 h 2528833"/>
              <a:gd name="connsiteX8" fmla="*/ 238028 w 607238"/>
              <a:gd name="connsiteY8" fmla="*/ 1633236 h 2528833"/>
              <a:gd name="connsiteX9" fmla="*/ 323409 w 607238"/>
              <a:gd name="connsiteY9" fmla="*/ 1094173 h 2528833"/>
              <a:gd name="connsiteX10" fmla="*/ 439389 w 607238"/>
              <a:gd name="connsiteY10" fmla="*/ 108256 h 2528833"/>
              <a:gd name="connsiteX11" fmla="*/ 548634 w 607238"/>
              <a:gd name="connsiteY11" fmla="*/ 444639 h 2528833"/>
              <a:gd name="connsiteX12" fmla="*/ 497505 w 607238"/>
              <a:gd name="connsiteY12" fmla="*/ 1527524 h 2528833"/>
              <a:gd name="connsiteX13" fmla="*/ 494075 w 607238"/>
              <a:gd name="connsiteY13" fmla="*/ 1950534 h 2528833"/>
              <a:gd name="connsiteX14" fmla="*/ 551993 w 607238"/>
              <a:gd name="connsiteY14" fmla="*/ 2182546 h 2528833"/>
              <a:gd name="connsiteX15" fmla="*/ 593036 w 607238"/>
              <a:gd name="connsiteY15" fmla="*/ 2380462 h 2528833"/>
              <a:gd name="connsiteX16" fmla="*/ 466779 w 607238"/>
              <a:gd name="connsiteY16" fmla="*/ 2513493 h 2528833"/>
              <a:gd name="connsiteX17" fmla="*/ 364420 w 607238"/>
              <a:gd name="connsiteY17" fmla="*/ 2472502 h 2528833"/>
              <a:gd name="connsiteX18" fmla="*/ 405296 w 607238"/>
              <a:gd name="connsiteY18" fmla="*/ 2325871 h 2528833"/>
              <a:gd name="connsiteX19" fmla="*/ 388220 w 607238"/>
              <a:gd name="connsiteY19" fmla="*/ 2189370 h 2528833"/>
              <a:gd name="connsiteX20" fmla="*/ 323544 w 607238"/>
              <a:gd name="connsiteY20" fmla="*/ 2090437 h 2528833"/>
              <a:gd name="connsiteX0" fmla="*/ 323544 w 607238"/>
              <a:gd name="connsiteY0" fmla="*/ 2090437 h 2528833"/>
              <a:gd name="connsiteX1" fmla="*/ 255304 w 607238"/>
              <a:gd name="connsiteY1" fmla="*/ 2165571 h 2528833"/>
              <a:gd name="connsiteX2" fmla="*/ 210832 w 607238"/>
              <a:gd name="connsiteY2" fmla="*/ 2284952 h 2528833"/>
              <a:gd name="connsiteX3" fmla="*/ 217674 w 607238"/>
              <a:gd name="connsiteY3" fmla="*/ 2383698 h 2528833"/>
              <a:gd name="connsiteX4" fmla="*/ 227909 w 607238"/>
              <a:gd name="connsiteY4" fmla="*/ 2486246 h 2528833"/>
              <a:gd name="connsiteX5" fmla="*/ 73331 w 607238"/>
              <a:gd name="connsiteY5" fmla="*/ 2472598 h 2528833"/>
              <a:gd name="connsiteX6" fmla="*/ 17225 w 607238"/>
              <a:gd name="connsiteY6" fmla="*/ 2313213 h 2528833"/>
              <a:gd name="connsiteX7" fmla="*/ 176680 w 607238"/>
              <a:gd name="connsiteY7" fmla="*/ 1926662 h 2528833"/>
              <a:gd name="connsiteX8" fmla="*/ 238028 w 607238"/>
              <a:gd name="connsiteY8" fmla="*/ 1633236 h 2528833"/>
              <a:gd name="connsiteX9" fmla="*/ 323409 w 607238"/>
              <a:gd name="connsiteY9" fmla="*/ 1094173 h 2528833"/>
              <a:gd name="connsiteX10" fmla="*/ 439389 w 607238"/>
              <a:gd name="connsiteY10" fmla="*/ 108256 h 2528833"/>
              <a:gd name="connsiteX11" fmla="*/ 548634 w 607238"/>
              <a:gd name="connsiteY11" fmla="*/ 444639 h 2528833"/>
              <a:gd name="connsiteX12" fmla="*/ 497505 w 607238"/>
              <a:gd name="connsiteY12" fmla="*/ 1527524 h 2528833"/>
              <a:gd name="connsiteX13" fmla="*/ 494075 w 607238"/>
              <a:gd name="connsiteY13" fmla="*/ 1950534 h 2528833"/>
              <a:gd name="connsiteX14" fmla="*/ 551993 w 607238"/>
              <a:gd name="connsiteY14" fmla="*/ 2182546 h 2528833"/>
              <a:gd name="connsiteX15" fmla="*/ 593036 w 607238"/>
              <a:gd name="connsiteY15" fmla="*/ 2380462 h 2528833"/>
              <a:gd name="connsiteX16" fmla="*/ 466779 w 607238"/>
              <a:gd name="connsiteY16" fmla="*/ 2513493 h 2528833"/>
              <a:gd name="connsiteX17" fmla="*/ 364420 w 607238"/>
              <a:gd name="connsiteY17" fmla="*/ 2472502 h 2528833"/>
              <a:gd name="connsiteX18" fmla="*/ 405296 w 607238"/>
              <a:gd name="connsiteY18" fmla="*/ 2325871 h 2528833"/>
              <a:gd name="connsiteX19" fmla="*/ 388220 w 607238"/>
              <a:gd name="connsiteY19" fmla="*/ 2189370 h 2528833"/>
              <a:gd name="connsiteX20" fmla="*/ 323544 w 607238"/>
              <a:gd name="connsiteY20" fmla="*/ 2090437 h 2528833"/>
              <a:gd name="connsiteX0" fmla="*/ 323544 w 606182"/>
              <a:gd name="connsiteY0" fmla="*/ 2090437 h 2509566"/>
              <a:gd name="connsiteX1" fmla="*/ 255304 w 606182"/>
              <a:gd name="connsiteY1" fmla="*/ 2165571 h 2509566"/>
              <a:gd name="connsiteX2" fmla="*/ 210832 w 606182"/>
              <a:gd name="connsiteY2" fmla="*/ 2284952 h 2509566"/>
              <a:gd name="connsiteX3" fmla="*/ 217674 w 606182"/>
              <a:gd name="connsiteY3" fmla="*/ 2383698 h 2509566"/>
              <a:gd name="connsiteX4" fmla="*/ 227909 w 606182"/>
              <a:gd name="connsiteY4" fmla="*/ 2486246 h 2509566"/>
              <a:gd name="connsiteX5" fmla="*/ 73331 w 606182"/>
              <a:gd name="connsiteY5" fmla="*/ 2472598 h 2509566"/>
              <a:gd name="connsiteX6" fmla="*/ 17225 w 606182"/>
              <a:gd name="connsiteY6" fmla="*/ 2313213 h 2509566"/>
              <a:gd name="connsiteX7" fmla="*/ 176680 w 606182"/>
              <a:gd name="connsiteY7" fmla="*/ 1926662 h 2509566"/>
              <a:gd name="connsiteX8" fmla="*/ 238028 w 606182"/>
              <a:gd name="connsiteY8" fmla="*/ 1633236 h 2509566"/>
              <a:gd name="connsiteX9" fmla="*/ 323409 w 606182"/>
              <a:gd name="connsiteY9" fmla="*/ 1094173 h 2509566"/>
              <a:gd name="connsiteX10" fmla="*/ 439389 w 606182"/>
              <a:gd name="connsiteY10" fmla="*/ 108256 h 2509566"/>
              <a:gd name="connsiteX11" fmla="*/ 548634 w 606182"/>
              <a:gd name="connsiteY11" fmla="*/ 444639 h 2509566"/>
              <a:gd name="connsiteX12" fmla="*/ 497505 w 606182"/>
              <a:gd name="connsiteY12" fmla="*/ 1527524 h 2509566"/>
              <a:gd name="connsiteX13" fmla="*/ 494075 w 606182"/>
              <a:gd name="connsiteY13" fmla="*/ 1950534 h 2509566"/>
              <a:gd name="connsiteX14" fmla="*/ 551993 w 606182"/>
              <a:gd name="connsiteY14" fmla="*/ 2182546 h 2509566"/>
              <a:gd name="connsiteX15" fmla="*/ 593036 w 606182"/>
              <a:gd name="connsiteY15" fmla="*/ 2380462 h 2509566"/>
              <a:gd name="connsiteX16" fmla="*/ 473116 w 606182"/>
              <a:gd name="connsiteY16" fmla="*/ 2494226 h 2509566"/>
              <a:gd name="connsiteX17" fmla="*/ 364420 w 606182"/>
              <a:gd name="connsiteY17" fmla="*/ 2472502 h 2509566"/>
              <a:gd name="connsiteX18" fmla="*/ 405296 w 606182"/>
              <a:gd name="connsiteY18" fmla="*/ 2325871 h 2509566"/>
              <a:gd name="connsiteX19" fmla="*/ 388220 w 606182"/>
              <a:gd name="connsiteY19" fmla="*/ 2189370 h 2509566"/>
              <a:gd name="connsiteX20" fmla="*/ 323544 w 606182"/>
              <a:gd name="connsiteY20" fmla="*/ 2090437 h 2509566"/>
              <a:gd name="connsiteX0" fmla="*/ 323544 w 603014"/>
              <a:gd name="connsiteY0" fmla="*/ 2090437 h 2509566"/>
              <a:gd name="connsiteX1" fmla="*/ 255304 w 603014"/>
              <a:gd name="connsiteY1" fmla="*/ 2165571 h 2509566"/>
              <a:gd name="connsiteX2" fmla="*/ 210832 w 603014"/>
              <a:gd name="connsiteY2" fmla="*/ 2284952 h 2509566"/>
              <a:gd name="connsiteX3" fmla="*/ 217674 w 603014"/>
              <a:gd name="connsiteY3" fmla="*/ 2383698 h 2509566"/>
              <a:gd name="connsiteX4" fmla="*/ 227909 w 603014"/>
              <a:gd name="connsiteY4" fmla="*/ 2486246 h 2509566"/>
              <a:gd name="connsiteX5" fmla="*/ 73331 w 603014"/>
              <a:gd name="connsiteY5" fmla="*/ 2472598 h 2509566"/>
              <a:gd name="connsiteX6" fmla="*/ 17225 w 603014"/>
              <a:gd name="connsiteY6" fmla="*/ 2313213 h 2509566"/>
              <a:gd name="connsiteX7" fmla="*/ 176680 w 603014"/>
              <a:gd name="connsiteY7" fmla="*/ 1926662 h 2509566"/>
              <a:gd name="connsiteX8" fmla="*/ 238028 w 603014"/>
              <a:gd name="connsiteY8" fmla="*/ 1633236 h 2509566"/>
              <a:gd name="connsiteX9" fmla="*/ 323409 w 603014"/>
              <a:gd name="connsiteY9" fmla="*/ 1094173 h 2509566"/>
              <a:gd name="connsiteX10" fmla="*/ 439389 w 603014"/>
              <a:gd name="connsiteY10" fmla="*/ 108256 h 2509566"/>
              <a:gd name="connsiteX11" fmla="*/ 548634 w 603014"/>
              <a:gd name="connsiteY11" fmla="*/ 444639 h 2509566"/>
              <a:gd name="connsiteX12" fmla="*/ 497505 w 603014"/>
              <a:gd name="connsiteY12" fmla="*/ 1527524 h 2509566"/>
              <a:gd name="connsiteX13" fmla="*/ 494075 w 603014"/>
              <a:gd name="connsiteY13" fmla="*/ 1950534 h 2509566"/>
              <a:gd name="connsiteX14" fmla="*/ 532984 w 603014"/>
              <a:gd name="connsiteY14" fmla="*/ 2187363 h 2509566"/>
              <a:gd name="connsiteX15" fmla="*/ 593036 w 603014"/>
              <a:gd name="connsiteY15" fmla="*/ 2380462 h 2509566"/>
              <a:gd name="connsiteX16" fmla="*/ 473116 w 603014"/>
              <a:gd name="connsiteY16" fmla="*/ 2494226 h 2509566"/>
              <a:gd name="connsiteX17" fmla="*/ 364420 w 603014"/>
              <a:gd name="connsiteY17" fmla="*/ 2472502 h 2509566"/>
              <a:gd name="connsiteX18" fmla="*/ 405296 w 603014"/>
              <a:gd name="connsiteY18" fmla="*/ 2325871 h 2509566"/>
              <a:gd name="connsiteX19" fmla="*/ 388220 w 603014"/>
              <a:gd name="connsiteY19" fmla="*/ 2189370 h 2509566"/>
              <a:gd name="connsiteX20" fmla="*/ 323544 w 603014"/>
              <a:gd name="connsiteY20" fmla="*/ 2090437 h 2509566"/>
              <a:gd name="connsiteX0" fmla="*/ 323544 w 603014"/>
              <a:gd name="connsiteY0" fmla="*/ 2090437 h 2509566"/>
              <a:gd name="connsiteX1" fmla="*/ 255304 w 603014"/>
              <a:gd name="connsiteY1" fmla="*/ 2165571 h 2509566"/>
              <a:gd name="connsiteX2" fmla="*/ 210832 w 603014"/>
              <a:gd name="connsiteY2" fmla="*/ 2284952 h 2509566"/>
              <a:gd name="connsiteX3" fmla="*/ 217674 w 603014"/>
              <a:gd name="connsiteY3" fmla="*/ 2383698 h 2509566"/>
              <a:gd name="connsiteX4" fmla="*/ 227909 w 603014"/>
              <a:gd name="connsiteY4" fmla="*/ 2486246 h 2509566"/>
              <a:gd name="connsiteX5" fmla="*/ 73331 w 603014"/>
              <a:gd name="connsiteY5" fmla="*/ 2472598 h 2509566"/>
              <a:gd name="connsiteX6" fmla="*/ 17225 w 603014"/>
              <a:gd name="connsiteY6" fmla="*/ 2313213 h 2509566"/>
              <a:gd name="connsiteX7" fmla="*/ 176680 w 603014"/>
              <a:gd name="connsiteY7" fmla="*/ 1926662 h 2509566"/>
              <a:gd name="connsiteX8" fmla="*/ 288719 w 603014"/>
              <a:gd name="connsiteY8" fmla="*/ 1503182 h 2509566"/>
              <a:gd name="connsiteX9" fmla="*/ 323409 w 603014"/>
              <a:gd name="connsiteY9" fmla="*/ 1094173 h 2509566"/>
              <a:gd name="connsiteX10" fmla="*/ 439389 w 603014"/>
              <a:gd name="connsiteY10" fmla="*/ 108256 h 2509566"/>
              <a:gd name="connsiteX11" fmla="*/ 548634 w 603014"/>
              <a:gd name="connsiteY11" fmla="*/ 444639 h 2509566"/>
              <a:gd name="connsiteX12" fmla="*/ 497505 w 603014"/>
              <a:gd name="connsiteY12" fmla="*/ 1527524 h 2509566"/>
              <a:gd name="connsiteX13" fmla="*/ 494075 w 603014"/>
              <a:gd name="connsiteY13" fmla="*/ 1950534 h 2509566"/>
              <a:gd name="connsiteX14" fmla="*/ 532984 w 603014"/>
              <a:gd name="connsiteY14" fmla="*/ 2187363 h 2509566"/>
              <a:gd name="connsiteX15" fmla="*/ 593036 w 603014"/>
              <a:gd name="connsiteY15" fmla="*/ 2380462 h 2509566"/>
              <a:gd name="connsiteX16" fmla="*/ 473116 w 603014"/>
              <a:gd name="connsiteY16" fmla="*/ 2494226 h 2509566"/>
              <a:gd name="connsiteX17" fmla="*/ 364420 w 603014"/>
              <a:gd name="connsiteY17" fmla="*/ 2472502 h 2509566"/>
              <a:gd name="connsiteX18" fmla="*/ 405296 w 603014"/>
              <a:gd name="connsiteY18" fmla="*/ 2325871 h 2509566"/>
              <a:gd name="connsiteX19" fmla="*/ 388220 w 603014"/>
              <a:gd name="connsiteY19" fmla="*/ 2189370 h 2509566"/>
              <a:gd name="connsiteX20" fmla="*/ 323544 w 603014"/>
              <a:gd name="connsiteY20" fmla="*/ 2090437 h 2509566"/>
              <a:gd name="connsiteX0" fmla="*/ 323544 w 603014"/>
              <a:gd name="connsiteY0" fmla="*/ 2063944 h 2483073"/>
              <a:gd name="connsiteX1" fmla="*/ 255304 w 603014"/>
              <a:gd name="connsiteY1" fmla="*/ 2139078 h 2483073"/>
              <a:gd name="connsiteX2" fmla="*/ 210832 w 603014"/>
              <a:gd name="connsiteY2" fmla="*/ 2258459 h 2483073"/>
              <a:gd name="connsiteX3" fmla="*/ 217674 w 603014"/>
              <a:gd name="connsiteY3" fmla="*/ 2357205 h 2483073"/>
              <a:gd name="connsiteX4" fmla="*/ 227909 w 603014"/>
              <a:gd name="connsiteY4" fmla="*/ 2459753 h 2483073"/>
              <a:gd name="connsiteX5" fmla="*/ 73331 w 603014"/>
              <a:gd name="connsiteY5" fmla="*/ 2446105 h 2483073"/>
              <a:gd name="connsiteX6" fmla="*/ 17225 w 603014"/>
              <a:gd name="connsiteY6" fmla="*/ 2286720 h 2483073"/>
              <a:gd name="connsiteX7" fmla="*/ 176680 w 603014"/>
              <a:gd name="connsiteY7" fmla="*/ 1900169 h 2483073"/>
              <a:gd name="connsiteX8" fmla="*/ 288719 w 603014"/>
              <a:gd name="connsiteY8" fmla="*/ 1476689 h 2483073"/>
              <a:gd name="connsiteX9" fmla="*/ 374100 w 603014"/>
              <a:gd name="connsiteY9" fmla="*/ 908725 h 2483073"/>
              <a:gd name="connsiteX10" fmla="*/ 439389 w 603014"/>
              <a:gd name="connsiteY10" fmla="*/ 81763 h 2483073"/>
              <a:gd name="connsiteX11" fmla="*/ 548634 w 603014"/>
              <a:gd name="connsiteY11" fmla="*/ 418146 h 2483073"/>
              <a:gd name="connsiteX12" fmla="*/ 497505 w 603014"/>
              <a:gd name="connsiteY12" fmla="*/ 1501031 h 2483073"/>
              <a:gd name="connsiteX13" fmla="*/ 494075 w 603014"/>
              <a:gd name="connsiteY13" fmla="*/ 1924041 h 2483073"/>
              <a:gd name="connsiteX14" fmla="*/ 532984 w 603014"/>
              <a:gd name="connsiteY14" fmla="*/ 2160870 h 2483073"/>
              <a:gd name="connsiteX15" fmla="*/ 593036 w 603014"/>
              <a:gd name="connsiteY15" fmla="*/ 2353969 h 2483073"/>
              <a:gd name="connsiteX16" fmla="*/ 473116 w 603014"/>
              <a:gd name="connsiteY16" fmla="*/ 2467733 h 2483073"/>
              <a:gd name="connsiteX17" fmla="*/ 364420 w 603014"/>
              <a:gd name="connsiteY17" fmla="*/ 2446009 h 2483073"/>
              <a:gd name="connsiteX18" fmla="*/ 405296 w 603014"/>
              <a:gd name="connsiteY18" fmla="*/ 2299378 h 2483073"/>
              <a:gd name="connsiteX19" fmla="*/ 388220 w 603014"/>
              <a:gd name="connsiteY19" fmla="*/ 2162877 h 2483073"/>
              <a:gd name="connsiteX20" fmla="*/ 323544 w 603014"/>
              <a:gd name="connsiteY20" fmla="*/ 2063944 h 2483073"/>
              <a:gd name="connsiteX0" fmla="*/ 323544 w 614215"/>
              <a:gd name="connsiteY0" fmla="*/ 2227716 h 2646845"/>
              <a:gd name="connsiteX1" fmla="*/ 255304 w 614215"/>
              <a:gd name="connsiteY1" fmla="*/ 2302850 h 2646845"/>
              <a:gd name="connsiteX2" fmla="*/ 210832 w 614215"/>
              <a:gd name="connsiteY2" fmla="*/ 2422231 h 2646845"/>
              <a:gd name="connsiteX3" fmla="*/ 217674 w 614215"/>
              <a:gd name="connsiteY3" fmla="*/ 2520977 h 2646845"/>
              <a:gd name="connsiteX4" fmla="*/ 227909 w 614215"/>
              <a:gd name="connsiteY4" fmla="*/ 2623525 h 2646845"/>
              <a:gd name="connsiteX5" fmla="*/ 73331 w 614215"/>
              <a:gd name="connsiteY5" fmla="*/ 2609877 h 2646845"/>
              <a:gd name="connsiteX6" fmla="*/ 17225 w 614215"/>
              <a:gd name="connsiteY6" fmla="*/ 2450492 h 2646845"/>
              <a:gd name="connsiteX7" fmla="*/ 176680 w 614215"/>
              <a:gd name="connsiteY7" fmla="*/ 2063941 h 2646845"/>
              <a:gd name="connsiteX8" fmla="*/ 288719 w 614215"/>
              <a:gd name="connsiteY8" fmla="*/ 1640461 h 2646845"/>
              <a:gd name="connsiteX9" fmla="*/ 374100 w 614215"/>
              <a:gd name="connsiteY9" fmla="*/ 1072497 h 2646845"/>
              <a:gd name="connsiteX10" fmla="*/ 585126 w 614215"/>
              <a:gd name="connsiteY10" fmla="*/ 81763 h 2646845"/>
              <a:gd name="connsiteX11" fmla="*/ 548634 w 614215"/>
              <a:gd name="connsiteY11" fmla="*/ 581918 h 2646845"/>
              <a:gd name="connsiteX12" fmla="*/ 497505 w 614215"/>
              <a:gd name="connsiteY12" fmla="*/ 1664803 h 2646845"/>
              <a:gd name="connsiteX13" fmla="*/ 494075 w 614215"/>
              <a:gd name="connsiteY13" fmla="*/ 2087813 h 2646845"/>
              <a:gd name="connsiteX14" fmla="*/ 532984 w 614215"/>
              <a:gd name="connsiteY14" fmla="*/ 2324642 h 2646845"/>
              <a:gd name="connsiteX15" fmla="*/ 593036 w 614215"/>
              <a:gd name="connsiteY15" fmla="*/ 2517741 h 2646845"/>
              <a:gd name="connsiteX16" fmla="*/ 473116 w 614215"/>
              <a:gd name="connsiteY16" fmla="*/ 2631505 h 2646845"/>
              <a:gd name="connsiteX17" fmla="*/ 364420 w 614215"/>
              <a:gd name="connsiteY17" fmla="*/ 2609781 h 2646845"/>
              <a:gd name="connsiteX18" fmla="*/ 405296 w 614215"/>
              <a:gd name="connsiteY18" fmla="*/ 2463150 h 2646845"/>
              <a:gd name="connsiteX19" fmla="*/ 388220 w 614215"/>
              <a:gd name="connsiteY19" fmla="*/ 2326649 h 2646845"/>
              <a:gd name="connsiteX20" fmla="*/ 323544 w 614215"/>
              <a:gd name="connsiteY20" fmla="*/ 2227716 h 2646845"/>
              <a:gd name="connsiteX0" fmla="*/ 323544 w 626601"/>
              <a:gd name="connsiteY0" fmla="*/ 2239758 h 2658887"/>
              <a:gd name="connsiteX1" fmla="*/ 255304 w 626601"/>
              <a:gd name="connsiteY1" fmla="*/ 2314892 h 2658887"/>
              <a:gd name="connsiteX2" fmla="*/ 210832 w 626601"/>
              <a:gd name="connsiteY2" fmla="*/ 2434273 h 2658887"/>
              <a:gd name="connsiteX3" fmla="*/ 217674 w 626601"/>
              <a:gd name="connsiteY3" fmla="*/ 2533019 h 2658887"/>
              <a:gd name="connsiteX4" fmla="*/ 227909 w 626601"/>
              <a:gd name="connsiteY4" fmla="*/ 2635567 h 2658887"/>
              <a:gd name="connsiteX5" fmla="*/ 73331 w 626601"/>
              <a:gd name="connsiteY5" fmla="*/ 2621919 h 2658887"/>
              <a:gd name="connsiteX6" fmla="*/ 17225 w 626601"/>
              <a:gd name="connsiteY6" fmla="*/ 2462534 h 2658887"/>
              <a:gd name="connsiteX7" fmla="*/ 176680 w 626601"/>
              <a:gd name="connsiteY7" fmla="*/ 2075983 h 2658887"/>
              <a:gd name="connsiteX8" fmla="*/ 288719 w 626601"/>
              <a:gd name="connsiteY8" fmla="*/ 1652503 h 2658887"/>
              <a:gd name="connsiteX9" fmla="*/ 374100 w 626601"/>
              <a:gd name="connsiteY9" fmla="*/ 1084539 h 2658887"/>
              <a:gd name="connsiteX10" fmla="*/ 585126 w 626601"/>
              <a:gd name="connsiteY10" fmla="*/ 93805 h 2658887"/>
              <a:gd name="connsiteX11" fmla="*/ 611998 w 626601"/>
              <a:gd name="connsiteY11" fmla="*/ 521708 h 2658887"/>
              <a:gd name="connsiteX12" fmla="*/ 497505 w 626601"/>
              <a:gd name="connsiteY12" fmla="*/ 1676845 h 2658887"/>
              <a:gd name="connsiteX13" fmla="*/ 494075 w 626601"/>
              <a:gd name="connsiteY13" fmla="*/ 2099855 h 2658887"/>
              <a:gd name="connsiteX14" fmla="*/ 532984 w 626601"/>
              <a:gd name="connsiteY14" fmla="*/ 2336684 h 2658887"/>
              <a:gd name="connsiteX15" fmla="*/ 593036 w 626601"/>
              <a:gd name="connsiteY15" fmla="*/ 2529783 h 2658887"/>
              <a:gd name="connsiteX16" fmla="*/ 473116 w 626601"/>
              <a:gd name="connsiteY16" fmla="*/ 2643547 h 2658887"/>
              <a:gd name="connsiteX17" fmla="*/ 364420 w 626601"/>
              <a:gd name="connsiteY17" fmla="*/ 2621823 h 2658887"/>
              <a:gd name="connsiteX18" fmla="*/ 405296 w 626601"/>
              <a:gd name="connsiteY18" fmla="*/ 2475192 h 2658887"/>
              <a:gd name="connsiteX19" fmla="*/ 388220 w 626601"/>
              <a:gd name="connsiteY19" fmla="*/ 2338691 h 2658887"/>
              <a:gd name="connsiteX20" fmla="*/ 323544 w 626601"/>
              <a:gd name="connsiteY20" fmla="*/ 2239758 h 2658887"/>
              <a:gd name="connsiteX0" fmla="*/ 323544 w 626601"/>
              <a:gd name="connsiteY0" fmla="*/ 2239758 h 2658887"/>
              <a:gd name="connsiteX1" fmla="*/ 255304 w 626601"/>
              <a:gd name="connsiteY1" fmla="*/ 2314892 h 2658887"/>
              <a:gd name="connsiteX2" fmla="*/ 210832 w 626601"/>
              <a:gd name="connsiteY2" fmla="*/ 2434273 h 2658887"/>
              <a:gd name="connsiteX3" fmla="*/ 217674 w 626601"/>
              <a:gd name="connsiteY3" fmla="*/ 2533019 h 2658887"/>
              <a:gd name="connsiteX4" fmla="*/ 227909 w 626601"/>
              <a:gd name="connsiteY4" fmla="*/ 2635567 h 2658887"/>
              <a:gd name="connsiteX5" fmla="*/ 73331 w 626601"/>
              <a:gd name="connsiteY5" fmla="*/ 2621919 h 2658887"/>
              <a:gd name="connsiteX6" fmla="*/ 17225 w 626601"/>
              <a:gd name="connsiteY6" fmla="*/ 2462534 h 2658887"/>
              <a:gd name="connsiteX7" fmla="*/ 176680 w 626601"/>
              <a:gd name="connsiteY7" fmla="*/ 2075983 h 2658887"/>
              <a:gd name="connsiteX8" fmla="*/ 288719 w 626601"/>
              <a:gd name="connsiteY8" fmla="*/ 1652503 h 2658887"/>
              <a:gd name="connsiteX9" fmla="*/ 374100 w 626601"/>
              <a:gd name="connsiteY9" fmla="*/ 1084539 h 2658887"/>
              <a:gd name="connsiteX10" fmla="*/ 585126 w 626601"/>
              <a:gd name="connsiteY10" fmla="*/ 93805 h 2658887"/>
              <a:gd name="connsiteX11" fmla="*/ 611998 w 626601"/>
              <a:gd name="connsiteY11" fmla="*/ 521708 h 2658887"/>
              <a:gd name="connsiteX12" fmla="*/ 497505 w 626601"/>
              <a:gd name="connsiteY12" fmla="*/ 1676845 h 2658887"/>
              <a:gd name="connsiteX13" fmla="*/ 494075 w 626601"/>
              <a:gd name="connsiteY13" fmla="*/ 2099855 h 2658887"/>
              <a:gd name="connsiteX14" fmla="*/ 532984 w 626601"/>
              <a:gd name="connsiteY14" fmla="*/ 2336684 h 2658887"/>
              <a:gd name="connsiteX15" fmla="*/ 593036 w 626601"/>
              <a:gd name="connsiteY15" fmla="*/ 2529783 h 2658887"/>
              <a:gd name="connsiteX16" fmla="*/ 473116 w 626601"/>
              <a:gd name="connsiteY16" fmla="*/ 2643547 h 2658887"/>
              <a:gd name="connsiteX17" fmla="*/ 364420 w 626601"/>
              <a:gd name="connsiteY17" fmla="*/ 2621823 h 2658887"/>
              <a:gd name="connsiteX18" fmla="*/ 405296 w 626601"/>
              <a:gd name="connsiteY18" fmla="*/ 2475192 h 2658887"/>
              <a:gd name="connsiteX19" fmla="*/ 388220 w 626601"/>
              <a:gd name="connsiteY19" fmla="*/ 2338691 h 2658887"/>
              <a:gd name="connsiteX20" fmla="*/ 323544 w 626601"/>
              <a:gd name="connsiteY20" fmla="*/ 2239758 h 2658887"/>
              <a:gd name="connsiteX0" fmla="*/ 323544 w 626601"/>
              <a:gd name="connsiteY0" fmla="*/ 2194370 h 2613499"/>
              <a:gd name="connsiteX1" fmla="*/ 255304 w 626601"/>
              <a:gd name="connsiteY1" fmla="*/ 2269504 h 2613499"/>
              <a:gd name="connsiteX2" fmla="*/ 210832 w 626601"/>
              <a:gd name="connsiteY2" fmla="*/ 2388885 h 2613499"/>
              <a:gd name="connsiteX3" fmla="*/ 217674 w 626601"/>
              <a:gd name="connsiteY3" fmla="*/ 2487631 h 2613499"/>
              <a:gd name="connsiteX4" fmla="*/ 227909 w 626601"/>
              <a:gd name="connsiteY4" fmla="*/ 2590179 h 2613499"/>
              <a:gd name="connsiteX5" fmla="*/ 73331 w 626601"/>
              <a:gd name="connsiteY5" fmla="*/ 2576531 h 2613499"/>
              <a:gd name="connsiteX6" fmla="*/ 17225 w 626601"/>
              <a:gd name="connsiteY6" fmla="*/ 2417146 h 2613499"/>
              <a:gd name="connsiteX7" fmla="*/ 176680 w 626601"/>
              <a:gd name="connsiteY7" fmla="*/ 2030595 h 2613499"/>
              <a:gd name="connsiteX8" fmla="*/ 288719 w 626601"/>
              <a:gd name="connsiteY8" fmla="*/ 1607115 h 2613499"/>
              <a:gd name="connsiteX9" fmla="*/ 374100 w 626601"/>
              <a:gd name="connsiteY9" fmla="*/ 1039151 h 2613499"/>
              <a:gd name="connsiteX10" fmla="*/ 545987 w 626601"/>
              <a:gd name="connsiteY10" fmla="*/ 185819 h 2613499"/>
              <a:gd name="connsiteX11" fmla="*/ 585126 w 626601"/>
              <a:gd name="connsiteY11" fmla="*/ 48417 h 2613499"/>
              <a:gd name="connsiteX12" fmla="*/ 611998 w 626601"/>
              <a:gd name="connsiteY12" fmla="*/ 476320 h 2613499"/>
              <a:gd name="connsiteX13" fmla="*/ 497505 w 626601"/>
              <a:gd name="connsiteY13" fmla="*/ 1631457 h 2613499"/>
              <a:gd name="connsiteX14" fmla="*/ 494075 w 626601"/>
              <a:gd name="connsiteY14" fmla="*/ 2054467 h 2613499"/>
              <a:gd name="connsiteX15" fmla="*/ 532984 w 626601"/>
              <a:gd name="connsiteY15" fmla="*/ 2291296 h 2613499"/>
              <a:gd name="connsiteX16" fmla="*/ 593036 w 626601"/>
              <a:gd name="connsiteY16" fmla="*/ 2484395 h 2613499"/>
              <a:gd name="connsiteX17" fmla="*/ 473116 w 626601"/>
              <a:gd name="connsiteY17" fmla="*/ 2598159 h 2613499"/>
              <a:gd name="connsiteX18" fmla="*/ 364420 w 626601"/>
              <a:gd name="connsiteY18" fmla="*/ 2576435 h 2613499"/>
              <a:gd name="connsiteX19" fmla="*/ 405296 w 626601"/>
              <a:gd name="connsiteY19" fmla="*/ 2429804 h 2613499"/>
              <a:gd name="connsiteX20" fmla="*/ 388220 w 626601"/>
              <a:gd name="connsiteY20" fmla="*/ 2293303 h 2613499"/>
              <a:gd name="connsiteX21" fmla="*/ 323544 w 626601"/>
              <a:gd name="connsiteY21" fmla="*/ 2194370 h 2613499"/>
              <a:gd name="connsiteX0" fmla="*/ 323544 w 626601"/>
              <a:gd name="connsiteY0" fmla="*/ 2194370 h 2613499"/>
              <a:gd name="connsiteX1" fmla="*/ 255304 w 626601"/>
              <a:gd name="connsiteY1" fmla="*/ 2269504 h 2613499"/>
              <a:gd name="connsiteX2" fmla="*/ 210832 w 626601"/>
              <a:gd name="connsiteY2" fmla="*/ 2388885 h 2613499"/>
              <a:gd name="connsiteX3" fmla="*/ 217674 w 626601"/>
              <a:gd name="connsiteY3" fmla="*/ 2487631 h 2613499"/>
              <a:gd name="connsiteX4" fmla="*/ 227909 w 626601"/>
              <a:gd name="connsiteY4" fmla="*/ 2590179 h 2613499"/>
              <a:gd name="connsiteX5" fmla="*/ 73331 w 626601"/>
              <a:gd name="connsiteY5" fmla="*/ 2576531 h 2613499"/>
              <a:gd name="connsiteX6" fmla="*/ 17225 w 626601"/>
              <a:gd name="connsiteY6" fmla="*/ 2417146 h 2613499"/>
              <a:gd name="connsiteX7" fmla="*/ 176680 w 626601"/>
              <a:gd name="connsiteY7" fmla="*/ 2030595 h 2613499"/>
              <a:gd name="connsiteX8" fmla="*/ 288719 w 626601"/>
              <a:gd name="connsiteY8" fmla="*/ 1607115 h 2613499"/>
              <a:gd name="connsiteX9" fmla="*/ 374100 w 626601"/>
              <a:gd name="connsiteY9" fmla="*/ 1039151 h 2613499"/>
              <a:gd name="connsiteX10" fmla="*/ 545987 w 626601"/>
              <a:gd name="connsiteY10" fmla="*/ 185819 h 2613499"/>
              <a:gd name="connsiteX11" fmla="*/ 543874 w 626601"/>
              <a:gd name="connsiteY11" fmla="*/ 185819 h 2613499"/>
              <a:gd name="connsiteX12" fmla="*/ 585126 w 626601"/>
              <a:gd name="connsiteY12" fmla="*/ 48417 h 2613499"/>
              <a:gd name="connsiteX13" fmla="*/ 611998 w 626601"/>
              <a:gd name="connsiteY13" fmla="*/ 476320 h 2613499"/>
              <a:gd name="connsiteX14" fmla="*/ 497505 w 626601"/>
              <a:gd name="connsiteY14" fmla="*/ 1631457 h 2613499"/>
              <a:gd name="connsiteX15" fmla="*/ 494075 w 626601"/>
              <a:gd name="connsiteY15" fmla="*/ 2054467 h 2613499"/>
              <a:gd name="connsiteX16" fmla="*/ 532984 w 626601"/>
              <a:gd name="connsiteY16" fmla="*/ 2291296 h 2613499"/>
              <a:gd name="connsiteX17" fmla="*/ 593036 w 626601"/>
              <a:gd name="connsiteY17" fmla="*/ 2484395 h 2613499"/>
              <a:gd name="connsiteX18" fmla="*/ 473116 w 626601"/>
              <a:gd name="connsiteY18" fmla="*/ 2598159 h 2613499"/>
              <a:gd name="connsiteX19" fmla="*/ 364420 w 626601"/>
              <a:gd name="connsiteY19" fmla="*/ 2576435 h 2613499"/>
              <a:gd name="connsiteX20" fmla="*/ 405296 w 626601"/>
              <a:gd name="connsiteY20" fmla="*/ 2429804 h 2613499"/>
              <a:gd name="connsiteX21" fmla="*/ 388220 w 626601"/>
              <a:gd name="connsiteY21" fmla="*/ 2293303 h 2613499"/>
              <a:gd name="connsiteX22" fmla="*/ 323544 w 626601"/>
              <a:gd name="connsiteY22" fmla="*/ 2194370 h 2613499"/>
              <a:gd name="connsiteX0" fmla="*/ 323544 w 685190"/>
              <a:gd name="connsiteY0" fmla="*/ 2189553 h 2608682"/>
              <a:gd name="connsiteX1" fmla="*/ 255304 w 685190"/>
              <a:gd name="connsiteY1" fmla="*/ 2264687 h 2608682"/>
              <a:gd name="connsiteX2" fmla="*/ 210832 w 685190"/>
              <a:gd name="connsiteY2" fmla="*/ 2384068 h 2608682"/>
              <a:gd name="connsiteX3" fmla="*/ 217674 w 685190"/>
              <a:gd name="connsiteY3" fmla="*/ 2482814 h 2608682"/>
              <a:gd name="connsiteX4" fmla="*/ 227909 w 685190"/>
              <a:gd name="connsiteY4" fmla="*/ 2585362 h 2608682"/>
              <a:gd name="connsiteX5" fmla="*/ 73331 w 685190"/>
              <a:gd name="connsiteY5" fmla="*/ 2571714 h 2608682"/>
              <a:gd name="connsiteX6" fmla="*/ 17225 w 685190"/>
              <a:gd name="connsiteY6" fmla="*/ 2412329 h 2608682"/>
              <a:gd name="connsiteX7" fmla="*/ 176680 w 685190"/>
              <a:gd name="connsiteY7" fmla="*/ 2025778 h 2608682"/>
              <a:gd name="connsiteX8" fmla="*/ 288719 w 685190"/>
              <a:gd name="connsiteY8" fmla="*/ 1602298 h 2608682"/>
              <a:gd name="connsiteX9" fmla="*/ 374100 w 685190"/>
              <a:gd name="connsiteY9" fmla="*/ 1034334 h 2608682"/>
              <a:gd name="connsiteX10" fmla="*/ 545987 w 685190"/>
              <a:gd name="connsiteY10" fmla="*/ 181002 h 2608682"/>
              <a:gd name="connsiteX11" fmla="*/ 543874 w 685190"/>
              <a:gd name="connsiteY11" fmla="*/ 181002 h 2608682"/>
              <a:gd name="connsiteX12" fmla="*/ 673836 w 685190"/>
              <a:gd name="connsiteY12" fmla="*/ 48417 h 2608682"/>
              <a:gd name="connsiteX13" fmla="*/ 611998 w 685190"/>
              <a:gd name="connsiteY13" fmla="*/ 471503 h 2608682"/>
              <a:gd name="connsiteX14" fmla="*/ 497505 w 685190"/>
              <a:gd name="connsiteY14" fmla="*/ 1626640 h 2608682"/>
              <a:gd name="connsiteX15" fmla="*/ 494075 w 685190"/>
              <a:gd name="connsiteY15" fmla="*/ 2049650 h 2608682"/>
              <a:gd name="connsiteX16" fmla="*/ 532984 w 685190"/>
              <a:gd name="connsiteY16" fmla="*/ 2286479 h 2608682"/>
              <a:gd name="connsiteX17" fmla="*/ 593036 w 685190"/>
              <a:gd name="connsiteY17" fmla="*/ 2479578 h 2608682"/>
              <a:gd name="connsiteX18" fmla="*/ 473116 w 685190"/>
              <a:gd name="connsiteY18" fmla="*/ 2593342 h 2608682"/>
              <a:gd name="connsiteX19" fmla="*/ 364420 w 685190"/>
              <a:gd name="connsiteY19" fmla="*/ 2571618 h 2608682"/>
              <a:gd name="connsiteX20" fmla="*/ 405296 w 685190"/>
              <a:gd name="connsiteY20" fmla="*/ 2424987 h 2608682"/>
              <a:gd name="connsiteX21" fmla="*/ 388220 w 685190"/>
              <a:gd name="connsiteY21" fmla="*/ 2288486 h 2608682"/>
              <a:gd name="connsiteX22" fmla="*/ 323544 w 685190"/>
              <a:gd name="connsiteY22" fmla="*/ 2189553 h 2608682"/>
              <a:gd name="connsiteX0" fmla="*/ 323544 w 685542"/>
              <a:gd name="connsiteY0" fmla="*/ 2208820 h 2627949"/>
              <a:gd name="connsiteX1" fmla="*/ 255304 w 685542"/>
              <a:gd name="connsiteY1" fmla="*/ 2283954 h 2627949"/>
              <a:gd name="connsiteX2" fmla="*/ 210832 w 685542"/>
              <a:gd name="connsiteY2" fmla="*/ 2403335 h 2627949"/>
              <a:gd name="connsiteX3" fmla="*/ 217674 w 685542"/>
              <a:gd name="connsiteY3" fmla="*/ 2502081 h 2627949"/>
              <a:gd name="connsiteX4" fmla="*/ 227909 w 685542"/>
              <a:gd name="connsiteY4" fmla="*/ 2604629 h 2627949"/>
              <a:gd name="connsiteX5" fmla="*/ 73331 w 685542"/>
              <a:gd name="connsiteY5" fmla="*/ 2590981 h 2627949"/>
              <a:gd name="connsiteX6" fmla="*/ 17225 w 685542"/>
              <a:gd name="connsiteY6" fmla="*/ 2431596 h 2627949"/>
              <a:gd name="connsiteX7" fmla="*/ 176680 w 685542"/>
              <a:gd name="connsiteY7" fmla="*/ 2045045 h 2627949"/>
              <a:gd name="connsiteX8" fmla="*/ 288719 w 685542"/>
              <a:gd name="connsiteY8" fmla="*/ 1621565 h 2627949"/>
              <a:gd name="connsiteX9" fmla="*/ 374100 w 685542"/>
              <a:gd name="connsiteY9" fmla="*/ 1053601 h 2627949"/>
              <a:gd name="connsiteX10" fmla="*/ 545987 w 685542"/>
              <a:gd name="connsiteY10" fmla="*/ 200269 h 2627949"/>
              <a:gd name="connsiteX11" fmla="*/ 541762 w 685542"/>
              <a:gd name="connsiteY11" fmla="*/ 84665 h 2627949"/>
              <a:gd name="connsiteX12" fmla="*/ 673836 w 685542"/>
              <a:gd name="connsiteY12" fmla="*/ 67684 h 2627949"/>
              <a:gd name="connsiteX13" fmla="*/ 611998 w 685542"/>
              <a:gd name="connsiteY13" fmla="*/ 490770 h 2627949"/>
              <a:gd name="connsiteX14" fmla="*/ 497505 w 685542"/>
              <a:gd name="connsiteY14" fmla="*/ 1645907 h 2627949"/>
              <a:gd name="connsiteX15" fmla="*/ 494075 w 685542"/>
              <a:gd name="connsiteY15" fmla="*/ 2068917 h 2627949"/>
              <a:gd name="connsiteX16" fmla="*/ 532984 w 685542"/>
              <a:gd name="connsiteY16" fmla="*/ 2305746 h 2627949"/>
              <a:gd name="connsiteX17" fmla="*/ 593036 w 685542"/>
              <a:gd name="connsiteY17" fmla="*/ 2498845 h 2627949"/>
              <a:gd name="connsiteX18" fmla="*/ 473116 w 685542"/>
              <a:gd name="connsiteY18" fmla="*/ 2612609 h 2627949"/>
              <a:gd name="connsiteX19" fmla="*/ 364420 w 685542"/>
              <a:gd name="connsiteY19" fmla="*/ 2590885 h 2627949"/>
              <a:gd name="connsiteX20" fmla="*/ 405296 w 685542"/>
              <a:gd name="connsiteY20" fmla="*/ 2444254 h 2627949"/>
              <a:gd name="connsiteX21" fmla="*/ 388220 w 685542"/>
              <a:gd name="connsiteY21" fmla="*/ 2307753 h 2627949"/>
              <a:gd name="connsiteX22" fmla="*/ 323544 w 685542"/>
              <a:gd name="connsiteY22" fmla="*/ 2208820 h 2627949"/>
              <a:gd name="connsiteX0" fmla="*/ 323544 w 685542"/>
              <a:gd name="connsiteY0" fmla="*/ 2170040 h 2589169"/>
              <a:gd name="connsiteX1" fmla="*/ 255304 w 685542"/>
              <a:gd name="connsiteY1" fmla="*/ 2245174 h 2589169"/>
              <a:gd name="connsiteX2" fmla="*/ 210832 w 685542"/>
              <a:gd name="connsiteY2" fmla="*/ 2364555 h 2589169"/>
              <a:gd name="connsiteX3" fmla="*/ 217674 w 685542"/>
              <a:gd name="connsiteY3" fmla="*/ 2463301 h 2589169"/>
              <a:gd name="connsiteX4" fmla="*/ 227909 w 685542"/>
              <a:gd name="connsiteY4" fmla="*/ 2565849 h 2589169"/>
              <a:gd name="connsiteX5" fmla="*/ 73331 w 685542"/>
              <a:gd name="connsiteY5" fmla="*/ 2552201 h 2589169"/>
              <a:gd name="connsiteX6" fmla="*/ 17225 w 685542"/>
              <a:gd name="connsiteY6" fmla="*/ 2392816 h 2589169"/>
              <a:gd name="connsiteX7" fmla="*/ 176680 w 685542"/>
              <a:gd name="connsiteY7" fmla="*/ 2006265 h 2589169"/>
              <a:gd name="connsiteX8" fmla="*/ 288719 w 685542"/>
              <a:gd name="connsiteY8" fmla="*/ 1582785 h 2589169"/>
              <a:gd name="connsiteX9" fmla="*/ 374100 w 685542"/>
              <a:gd name="connsiteY9" fmla="*/ 1014821 h 2589169"/>
              <a:gd name="connsiteX10" fmla="*/ 545987 w 685542"/>
              <a:gd name="connsiteY10" fmla="*/ 161489 h 2589169"/>
              <a:gd name="connsiteX11" fmla="*/ 541762 w 685542"/>
              <a:gd name="connsiteY11" fmla="*/ 45885 h 2589169"/>
              <a:gd name="connsiteX12" fmla="*/ 673836 w 685542"/>
              <a:gd name="connsiteY12" fmla="*/ 28904 h 2589169"/>
              <a:gd name="connsiteX13" fmla="*/ 611998 w 685542"/>
              <a:gd name="connsiteY13" fmla="*/ 451990 h 2589169"/>
              <a:gd name="connsiteX14" fmla="*/ 497505 w 685542"/>
              <a:gd name="connsiteY14" fmla="*/ 1607127 h 2589169"/>
              <a:gd name="connsiteX15" fmla="*/ 494075 w 685542"/>
              <a:gd name="connsiteY15" fmla="*/ 2030137 h 2589169"/>
              <a:gd name="connsiteX16" fmla="*/ 532984 w 685542"/>
              <a:gd name="connsiteY16" fmla="*/ 2266966 h 2589169"/>
              <a:gd name="connsiteX17" fmla="*/ 593036 w 685542"/>
              <a:gd name="connsiteY17" fmla="*/ 2460065 h 2589169"/>
              <a:gd name="connsiteX18" fmla="*/ 473116 w 685542"/>
              <a:gd name="connsiteY18" fmla="*/ 2573829 h 2589169"/>
              <a:gd name="connsiteX19" fmla="*/ 364420 w 685542"/>
              <a:gd name="connsiteY19" fmla="*/ 2552105 h 2589169"/>
              <a:gd name="connsiteX20" fmla="*/ 405296 w 685542"/>
              <a:gd name="connsiteY20" fmla="*/ 2405474 h 2589169"/>
              <a:gd name="connsiteX21" fmla="*/ 388220 w 685542"/>
              <a:gd name="connsiteY21" fmla="*/ 2268973 h 2589169"/>
              <a:gd name="connsiteX22" fmla="*/ 323544 w 685542"/>
              <a:gd name="connsiteY22" fmla="*/ 2170040 h 2589169"/>
              <a:gd name="connsiteX0" fmla="*/ 323544 w 685542"/>
              <a:gd name="connsiteY0" fmla="*/ 2179970 h 2599099"/>
              <a:gd name="connsiteX1" fmla="*/ 255304 w 685542"/>
              <a:gd name="connsiteY1" fmla="*/ 2255104 h 2599099"/>
              <a:gd name="connsiteX2" fmla="*/ 210832 w 685542"/>
              <a:gd name="connsiteY2" fmla="*/ 2374485 h 2599099"/>
              <a:gd name="connsiteX3" fmla="*/ 217674 w 685542"/>
              <a:gd name="connsiteY3" fmla="*/ 2473231 h 2599099"/>
              <a:gd name="connsiteX4" fmla="*/ 227909 w 685542"/>
              <a:gd name="connsiteY4" fmla="*/ 2575779 h 2599099"/>
              <a:gd name="connsiteX5" fmla="*/ 73331 w 685542"/>
              <a:gd name="connsiteY5" fmla="*/ 2562131 h 2599099"/>
              <a:gd name="connsiteX6" fmla="*/ 17225 w 685542"/>
              <a:gd name="connsiteY6" fmla="*/ 2402746 h 2599099"/>
              <a:gd name="connsiteX7" fmla="*/ 176680 w 685542"/>
              <a:gd name="connsiteY7" fmla="*/ 2016195 h 2599099"/>
              <a:gd name="connsiteX8" fmla="*/ 288719 w 685542"/>
              <a:gd name="connsiteY8" fmla="*/ 1592715 h 2599099"/>
              <a:gd name="connsiteX9" fmla="*/ 374100 w 685542"/>
              <a:gd name="connsiteY9" fmla="*/ 1024751 h 2599099"/>
              <a:gd name="connsiteX10" fmla="*/ 545987 w 685542"/>
              <a:gd name="connsiteY10" fmla="*/ 171419 h 2599099"/>
              <a:gd name="connsiteX11" fmla="*/ 539650 w 685542"/>
              <a:gd name="connsiteY11" fmla="*/ 22097 h 2599099"/>
              <a:gd name="connsiteX12" fmla="*/ 673836 w 685542"/>
              <a:gd name="connsiteY12" fmla="*/ 38834 h 2599099"/>
              <a:gd name="connsiteX13" fmla="*/ 611998 w 685542"/>
              <a:gd name="connsiteY13" fmla="*/ 461920 h 2599099"/>
              <a:gd name="connsiteX14" fmla="*/ 497505 w 685542"/>
              <a:gd name="connsiteY14" fmla="*/ 1617057 h 2599099"/>
              <a:gd name="connsiteX15" fmla="*/ 494075 w 685542"/>
              <a:gd name="connsiteY15" fmla="*/ 2040067 h 2599099"/>
              <a:gd name="connsiteX16" fmla="*/ 532984 w 685542"/>
              <a:gd name="connsiteY16" fmla="*/ 2276896 h 2599099"/>
              <a:gd name="connsiteX17" fmla="*/ 593036 w 685542"/>
              <a:gd name="connsiteY17" fmla="*/ 2469995 h 2599099"/>
              <a:gd name="connsiteX18" fmla="*/ 473116 w 685542"/>
              <a:gd name="connsiteY18" fmla="*/ 2583759 h 2599099"/>
              <a:gd name="connsiteX19" fmla="*/ 364420 w 685542"/>
              <a:gd name="connsiteY19" fmla="*/ 2562035 h 2599099"/>
              <a:gd name="connsiteX20" fmla="*/ 405296 w 685542"/>
              <a:gd name="connsiteY20" fmla="*/ 2415404 h 2599099"/>
              <a:gd name="connsiteX21" fmla="*/ 388220 w 685542"/>
              <a:gd name="connsiteY21" fmla="*/ 2278903 h 2599099"/>
              <a:gd name="connsiteX22" fmla="*/ 323544 w 685542"/>
              <a:gd name="connsiteY22" fmla="*/ 2179970 h 2599099"/>
              <a:gd name="connsiteX0" fmla="*/ 323544 w 685542"/>
              <a:gd name="connsiteY0" fmla="*/ 2179970 h 2599099"/>
              <a:gd name="connsiteX1" fmla="*/ 255304 w 685542"/>
              <a:gd name="connsiteY1" fmla="*/ 2255104 h 2599099"/>
              <a:gd name="connsiteX2" fmla="*/ 210832 w 685542"/>
              <a:gd name="connsiteY2" fmla="*/ 2374485 h 2599099"/>
              <a:gd name="connsiteX3" fmla="*/ 217674 w 685542"/>
              <a:gd name="connsiteY3" fmla="*/ 2473231 h 2599099"/>
              <a:gd name="connsiteX4" fmla="*/ 227909 w 685542"/>
              <a:gd name="connsiteY4" fmla="*/ 2575779 h 2599099"/>
              <a:gd name="connsiteX5" fmla="*/ 73331 w 685542"/>
              <a:gd name="connsiteY5" fmla="*/ 2562131 h 2599099"/>
              <a:gd name="connsiteX6" fmla="*/ 17225 w 685542"/>
              <a:gd name="connsiteY6" fmla="*/ 2402746 h 2599099"/>
              <a:gd name="connsiteX7" fmla="*/ 176680 w 685542"/>
              <a:gd name="connsiteY7" fmla="*/ 2016195 h 2599099"/>
              <a:gd name="connsiteX8" fmla="*/ 288719 w 685542"/>
              <a:gd name="connsiteY8" fmla="*/ 1592715 h 2599099"/>
              <a:gd name="connsiteX9" fmla="*/ 374100 w 685542"/>
              <a:gd name="connsiteY9" fmla="*/ 1024751 h 2599099"/>
              <a:gd name="connsiteX10" fmla="*/ 526978 w 685542"/>
              <a:gd name="connsiteY10" fmla="*/ 171419 h 2599099"/>
              <a:gd name="connsiteX11" fmla="*/ 539650 w 685542"/>
              <a:gd name="connsiteY11" fmla="*/ 22097 h 2599099"/>
              <a:gd name="connsiteX12" fmla="*/ 673836 w 685542"/>
              <a:gd name="connsiteY12" fmla="*/ 38834 h 2599099"/>
              <a:gd name="connsiteX13" fmla="*/ 611998 w 685542"/>
              <a:gd name="connsiteY13" fmla="*/ 461920 h 2599099"/>
              <a:gd name="connsiteX14" fmla="*/ 497505 w 685542"/>
              <a:gd name="connsiteY14" fmla="*/ 1617057 h 2599099"/>
              <a:gd name="connsiteX15" fmla="*/ 494075 w 685542"/>
              <a:gd name="connsiteY15" fmla="*/ 2040067 h 2599099"/>
              <a:gd name="connsiteX16" fmla="*/ 532984 w 685542"/>
              <a:gd name="connsiteY16" fmla="*/ 2276896 h 2599099"/>
              <a:gd name="connsiteX17" fmla="*/ 593036 w 685542"/>
              <a:gd name="connsiteY17" fmla="*/ 2469995 h 2599099"/>
              <a:gd name="connsiteX18" fmla="*/ 473116 w 685542"/>
              <a:gd name="connsiteY18" fmla="*/ 2583759 h 2599099"/>
              <a:gd name="connsiteX19" fmla="*/ 364420 w 685542"/>
              <a:gd name="connsiteY19" fmla="*/ 2562035 h 2599099"/>
              <a:gd name="connsiteX20" fmla="*/ 405296 w 685542"/>
              <a:gd name="connsiteY20" fmla="*/ 2415404 h 2599099"/>
              <a:gd name="connsiteX21" fmla="*/ 388220 w 685542"/>
              <a:gd name="connsiteY21" fmla="*/ 2278903 h 2599099"/>
              <a:gd name="connsiteX22" fmla="*/ 323544 w 685542"/>
              <a:gd name="connsiteY22" fmla="*/ 2179970 h 2599099"/>
              <a:gd name="connsiteX0" fmla="*/ 323544 w 685542"/>
              <a:gd name="connsiteY0" fmla="*/ 2179970 h 2599099"/>
              <a:gd name="connsiteX1" fmla="*/ 255304 w 685542"/>
              <a:gd name="connsiteY1" fmla="*/ 2255104 h 2599099"/>
              <a:gd name="connsiteX2" fmla="*/ 210832 w 685542"/>
              <a:gd name="connsiteY2" fmla="*/ 2374485 h 2599099"/>
              <a:gd name="connsiteX3" fmla="*/ 217674 w 685542"/>
              <a:gd name="connsiteY3" fmla="*/ 2473231 h 2599099"/>
              <a:gd name="connsiteX4" fmla="*/ 227909 w 685542"/>
              <a:gd name="connsiteY4" fmla="*/ 2575779 h 2599099"/>
              <a:gd name="connsiteX5" fmla="*/ 73331 w 685542"/>
              <a:gd name="connsiteY5" fmla="*/ 2562131 h 2599099"/>
              <a:gd name="connsiteX6" fmla="*/ 17225 w 685542"/>
              <a:gd name="connsiteY6" fmla="*/ 2402746 h 2599099"/>
              <a:gd name="connsiteX7" fmla="*/ 176680 w 685542"/>
              <a:gd name="connsiteY7" fmla="*/ 2016195 h 2599099"/>
              <a:gd name="connsiteX8" fmla="*/ 288719 w 685542"/>
              <a:gd name="connsiteY8" fmla="*/ 1592715 h 2599099"/>
              <a:gd name="connsiteX9" fmla="*/ 374100 w 685542"/>
              <a:gd name="connsiteY9" fmla="*/ 1024751 h 2599099"/>
              <a:gd name="connsiteX10" fmla="*/ 526978 w 685542"/>
              <a:gd name="connsiteY10" fmla="*/ 171419 h 2599099"/>
              <a:gd name="connsiteX11" fmla="*/ 539650 w 685542"/>
              <a:gd name="connsiteY11" fmla="*/ 22097 h 2599099"/>
              <a:gd name="connsiteX12" fmla="*/ 673836 w 685542"/>
              <a:gd name="connsiteY12" fmla="*/ 38834 h 2599099"/>
              <a:gd name="connsiteX13" fmla="*/ 611998 w 685542"/>
              <a:gd name="connsiteY13" fmla="*/ 461920 h 2599099"/>
              <a:gd name="connsiteX14" fmla="*/ 497505 w 685542"/>
              <a:gd name="connsiteY14" fmla="*/ 1617057 h 2599099"/>
              <a:gd name="connsiteX15" fmla="*/ 494075 w 685542"/>
              <a:gd name="connsiteY15" fmla="*/ 2040067 h 2599099"/>
              <a:gd name="connsiteX16" fmla="*/ 532984 w 685542"/>
              <a:gd name="connsiteY16" fmla="*/ 2276896 h 2599099"/>
              <a:gd name="connsiteX17" fmla="*/ 593036 w 685542"/>
              <a:gd name="connsiteY17" fmla="*/ 2469995 h 2599099"/>
              <a:gd name="connsiteX18" fmla="*/ 473116 w 685542"/>
              <a:gd name="connsiteY18" fmla="*/ 2583759 h 2599099"/>
              <a:gd name="connsiteX19" fmla="*/ 364420 w 685542"/>
              <a:gd name="connsiteY19" fmla="*/ 2562035 h 2599099"/>
              <a:gd name="connsiteX20" fmla="*/ 405296 w 685542"/>
              <a:gd name="connsiteY20" fmla="*/ 2415404 h 2599099"/>
              <a:gd name="connsiteX21" fmla="*/ 388220 w 685542"/>
              <a:gd name="connsiteY21" fmla="*/ 2278903 h 2599099"/>
              <a:gd name="connsiteX22" fmla="*/ 323544 w 685542"/>
              <a:gd name="connsiteY22" fmla="*/ 2179970 h 2599099"/>
              <a:gd name="connsiteX0" fmla="*/ 323544 w 685542"/>
              <a:gd name="connsiteY0" fmla="*/ 2179970 h 2599099"/>
              <a:gd name="connsiteX1" fmla="*/ 255304 w 685542"/>
              <a:gd name="connsiteY1" fmla="*/ 2255104 h 2599099"/>
              <a:gd name="connsiteX2" fmla="*/ 210832 w 685542"/>
              <a:gd name="connsiteY2" fmla="*/ 2374485 h 2599099"/>
              <a:gd name="connsiteX3" fmla="*/ 217674 w 685542"/>
              <a:gd name="connsiteY3" fmla="*/ 2473231 h 2599099"/>
              <a:gd name="connsiteX4" fmla="*/ 227909 w 685542"/>
              <a:gd name="connsiteY4" fmla="*/ 2575779 h 2599099"/>
              <a:gd name="connsiteX5" fmla="*/ 73331 w 685542"/>
              <a:gd name="connsiteY5" fmla="*/ 2562131 h 2599099"/>
              <a:gd name="connsiteX6" fmla="*/ 17225 w 685542"/>
              <a:gd name="connsiteY6" fmla="*/ 2402746 h 2599099"/>
              <a:gd name="connsiteX7" fmla="*/ 176680 w 685542"/>
              <a:gd name="connsiteY7" fmla="*/ 2016195 h 2599099"/>
              <a:gd name="connsiteX8" fmla="*/ 288719 w 685542"/>
              <a:gd name="connsiteY8" fmla="*/ 1592715 h 2599099"/>
              <a:gd name="connsiteX9" fmla="*/ 374100 w 685542"/>
              <a:gd name="connsiteY9" fmla="*/ 1024751 h 2599099"/>
              <a:gd name="connsiteX10" fmla="*/ 526978 w 685542"/>
              <a:gd name="connsiteY10" fmla="*/ 171419 h 2599099"/>
              <a:gd name="connsiteX11" fmla="*/ 539650 w 685542"/>
              <a:gd name="connsiteY11" fmla="*/ 22097 h 2599099"/>
              <a:gd name="connsiteX12" fmla="*/ 673836 w 685542"/>
              <a:gd name="connsiteY12" fmla="*/ 38834 h 2599099"/>
              <a:gd name="connsiteX13" fmla="*/ 611998 w 685542"/>
              <a:gd name="connsiteY13" fmla="*/ 461920 h 2599099"/>
              <a:gd name="connsiteX14" fmla="*/ 497505 w 685542"/>
              <a:gd name="connsiteY14" fmla="*/ 1617057 h 2599099"/>
              <a:gd name="connsiteX15" fmla="*/ 494075 w 685542"/>
              <a:gd name="connsiteY15" fmla="*/ 2040067 h 2599099"/>
              <a:gd name="connsiteX16" fmla="*/ 532984 w 685542"/>
              <a:gd name="connsiteY16" fmla="*/ 2276896 h 2599099"/>
              <a:gd name="connsiteX17" fmla="*/ 593036 w 685542"/>
              <a:gd name="connsiteY17" fmla="*/ 2469995 h 2599099"/>
              <a:gd name="connsiteX18" fmla="*/ 473116 w 685542"/>
              <a:gd name="connsiteY18" fmla="*/ 2583759 h 2599099"/>
              <a:gd name="connsiteX19" fmla="*/ 364420 w 685542"/>
              <a:gd name="connsiteY19" fmla="*/ 2562035 h 2599099"/>
              <a:gd name="connsiteX20" fmla="*/ 405296 w 685542"/>
              <a:gd name="connsiteY20" fmla="*/ 2415404 h 2599099"/>
              <a:gd name="connsiteX21" fmla="*/ 388220 w 685542"/>
              <a:gd name="connsiteY21" fmla="*/ 2278903 h 2599099"/>
              <a:gd name="connsiteX22" fmla="*/ 323544 w 685542"/>
              <a:gd name="connsiteY22" fmla="*/ 2179970 h 2599099"/>
              <a:gd name="connsiteX0" fmla="*/ 323544 w 685542"/>
              <a:gd name="connsiteY0" fmla="*/ 2179970 h 2599099"/>
              <a:gd name="connsiteX1" fmla="*/ 255304 w 685542"/>
              <a:gd name="connsiteY1" fmla="*/ 2255104 h 2599099"/>
              <a:gd name="connsiteX2" fmla="*/ 210832 w 685542"/>
              <a:gd name="connsiteY2" fmla="*/ 2374485 h 2599099"/>
              <a:gd name="connsiteX3" fmla="*/ 217674 w 685542"/>
              <a:gd name="connsiteY3" fmla="*/ 2473231 h 2599099"/>
              <a:gd name="connsiteX4" fmla="*/ 227909 w 685542"/>
              <a:gd name="connsiteY4" fmla="*/ 2575779 h 2599099"/>
              <a:gd name="connsiteX5" fmla="*/ 73331 w 685542"/>
              <a:gd name="connsiteY5" fmla="*/ 2562131 h 2599099"/>
              <a:gd name="connsiteX6" fmla="*/ 17225 w 685542"/>
              <a:gd name="connsiteY6" fmla="*/ 2402746 h 2599099"/>
              <a:gd name="connsiteX7" fmla="*/ 176680 w 685542"/>
              <a:gd name="connsiteY7" fmla="*/ 2016195 h 2599099"/>
              <a:gd name="connsiteX8" fmla="*/ 288719 w 685542"/>
              <a:gd name="connsiteY8" fmla="*/ 1592715 h 2599099"/>
              <a:gd name="connsiteX9" fmla="*/ 374100 w 685542"/>
              <a:gd name="connsiteY9" fmla="*/ 1024751 h 2599099"/>
              <a:gd name="connsiteX10" fmla="*/ 526978 w 685542"/>
              <a:gd name="connsiteY10" fmla="*/ 171419 h 2599099"/>
              <a:gd name="connsiteX11" fmla="*/ 539650 w 685542"/>
              <a:gd name="connsiteY11" fmla="*/ 22097 h 2599099"/>
              <a:gd name="connsiteX12" fmla="*/ 673836 w 685542"/>
              <a:gd name="connsiteY12" fmla="*/ 38834 h 2599099"/>
              <a:gd name="connsiteX13" fmla="*/ 611998 w 685542"/>
              <a:gd name="connsiteY13" fmla="*/ 461920 h 2599099"/>
              <a:gd name="connsiteX14" fmla="*/ 497505 w 685542"/>
              <a:gd name="connsiteY14" fmla="*/ 1617057 h 2599099"/>
              <a:gd name="connsiteX15" fmla="*/ 494075 w 685542"/>
              <a:gd name="connsiteY15" fmla="*/ 2040067 h 2599099"/>
              <a:gd name="connsiteX16" fmla="*/ 532984 w 685542"/>
              <a:gd name="connsiteY16" fmla="*/ 2276896 h 2599099"/>
              <a:gd name="connsiteX17" fmla="*/ 593036 w 685542"/>
              <a:gd name="connsiteY17" fmla="*/ 2469995 h 2599099"/>
              <a:gd name="connsiteX18" fmla="*/ 473116 w 685542"/>
              <a:gd name="connsiteY18" fmla="*/ 2583759 h 2599099"/>
              <a:gd name="connsiteX19" fmla="*/ 364420 w 685542"/>
              <a:gd name="connsiteY19" fmla="*/ 2562035 h 2599099"/>
              <a:gd name="connsiteX20" fmla="*/ 405296 w 685542"/>
              <a:gd name="connsiteY20" fmla="*/ 2415404 h 2599099"/>
              <a:gd name="connsiteX21" fmla="*/ 388220 w 685542"/>
              <a:gd name="connsiteY21" fmla="*/ 2278903 h 2599099"/>
              <a:gd name="connsiteX22" fmla="*/ 323544 w 685542"/>
              <a:gd name="connsiteY22" fmla="*/ 2179970 h 2599099"/>
              <a:gd name="connsiteX0" fmla="*/ 323544 w 685542"/>
              <a:gd name="connsiteY0" fmla="*/ 2179970 h 2599099"/>
              <a:gd name="connsiteX1" fmla="*/ 255304 w 685542"/>
              <a:gd name="connsiteY1" fmla="*/ 2255104 h 2599099"/>
              <a:gd name="connsiteX2" fmla="*/ 210832 w 685542"/>
              <a:gd name="connsiteY2" fmla="*/ 2374485 h 2599099"/>
              <a:gd name="connsiteX3" fmla="*/ 217674 w 685542"/>
              <a:gd name="connsiteY3" fmla="*/ 2473231 h 2599099"/>
              <a:gd name="connsiteX4" fmla="*/ 227909 w 685542"/>
              <a:gd name="connsiteY4" fmla="*/ 2575779 h 2599099"/>
              <a:gd name="connsiteX5" fmla="*/ 73331 w 685542"/>
              <a:gd name="connsiteY5" fmla="*/ 2562131 h 2599099"/>
              <a:gd name="connsiteX6" fmla="*/ 17225 w 685542"/>
              <a:gd name="connsiteY6" fmla="*/ 2402746 h 2599099"/>
              <a:gd name="connsiteX7" fmla="*/ 176680 w 685542"/>
              <a:gd name="connsiteY7" fmla="*/ 2016195 h 2599099"/>
              <a:gd name="connsiteX8" fmla="*/ 288719 w 685542"/>
              <a:gd name="connsiteY8" fmla="*/ 1592715 h 2599099"/>
              <a:gd name="connsiteX9" fmla="*/ 374100 w 685542"/>
              <a:gd name="connsiteY9" fmla="*/ 1024751 h 2599099"/>
              <a:gd name="connsiteX10" fmla="*/ 526978 w 685542"/>
              <a:gd name="connsiteY10" fmla="*/ 171419 h 2599099"/>
              <a:gd name="connsiteX11" fmla="*/ 539650 w 685542"/>
              <a:gd name="connsiteY11" fmla="*/ 22097 h 2599099"/>
              <a:gd name="connsiteX12" fmla="*/ 673836 w 685542"/>
              <a:gd name="connsiteY12" fmla="*/ 38834 h 2599099"/>
              <a:gd name="connsiteX13" fmla="*/ 624671 w 685542"/>
              <a:gd name="connsiteY13" fmla="*/ 471554 h 2599099"/>
              <a:gd name="connsiteX14" fmla="*/ 497505 w 685542"/>
              <a:gd name="connsiteY14" fmla="*/ 1617057 h 2599099"/>
              <a:gd name="connsiteX15" fmla="*/ 494075 w 685542"/>
              <a:gd name="connsiteY15" fmla="*/ 2040067 h 2599099"/>
              <a:gd name="connsiteX16" fmla="*/ 532984 w 685542"/>
              <a:gd name="connsiteY16" fmla="*/ 2276896 h 2599099"/>
              <a:gd name="connsiteX17" fmla="*/ 593036 w 685542"/>
              <a:gd name="connsiteY17" fmla="*/ 2469995 h 2599099"/>
              <a:gd name="connsiteX18" fmla="*/ 473116 w 685542"/>
              <a:gd name="connsiteY18" fmla="*/ 2583759 h 2599099"/>
              <a:gd name="connsiteX19" fmla="*/ 364420 w 685542"/>
              <a:gd name="connsiteY19" fmla="*/ 2562035 h 2599099"/>
              <a:gd name="connsiteX20" fmla="*/ 405296 w 685542"/>
              <a:gd name="connsiteY20" fmla="*/ 2415404 h 2599099"/>
              <a:gd name="connsiteX21" fmla="*/ 388220 w 685542"/>
              <a:gd name="connsiteY21" fmla="*/ 2278903 h 2599099"/>
              <a:gd name="connsiteX22" fmla="*/ 323544 w 685542"/>
              <a:gd name="connsiteY22" fmla="*/ 2179970 h 2599099"/>
              <a:gd name="connsiteX0" fmla="*/ 323544 w 698215"/>
              <a:gd name="connsiteY0" fmla="*/ 2185590 h 2604719"/>
              <a:gd name="connsiteX1" fmla="*/ 255304 w 698215"/>
              <a:gd name="connsiteY1" fmla="*/ 2260724 h 2604719"/>
              <a:gd name="connsiteX2" fmla="*/ 210832 w 698215"/>
              <a:gd name="connsiteY2" fmla="*/ 2380105 h 2604719"/>
              <a:gd name="connsiteX3" fmla="*/ 217674 w 698215"/>
              <a:gd name="connsiteY3" fmla="*/ 2478851 h 2604719"/>
              <a:gd name="connsiteX4" fmla="*/ 227909 w 698215"/>
              <a:gd name="connsiteY4" fmla="*/ 2581399 h 2604719"/>
              <a:gd name="connsiteX5" fmla="*/ 73331 w 698215"/>
              <a:gd name="connsiteY5" fmla="*/ 2567751 h 2604719"/>
              <a:gd name="connsiteX6" fmla="*/ 17225 w 698215"/>
              <a:gd name="connsiteY6" fmla="*/ 2408366 h 2604719"/>
              <a:gd name="connsiteX7" fmla="*/ 176680 w 698215"/>
              <a:gd name="connsiteY7" fmla="*/ 2021815 h 2604719"/>
              <a:gd name="connsiteX8" fmla="*/ 288719 w 698215"/>
              <a:gd name="connsiteY8" fmla="*/ 1598335 h 2604719"/>
              <a:gd name="connsiteX9" fmla="*/ 374100 w 698215"/>
              <a:gd name="connsiteY9" fmla="*/ 1030371 h 2604719"/>
              <a:gd name="connsiteX10" fmla="*/ 526978 w 698215"/>
              <a:gd name="connsiteY10" fmla="*/ 177039 h 2604719"/>
              <a:gd name="connsiteX11" fmla="*/ 539650 w 698215"/>
              <a:gd name="connsiteY11" fmla="*/ 27717 h 2604719"/>
              <a:gd name="connsiteX12" fmla="*/ 686509 w 698215"/>
              <a:gd name="connsiteY12" fmla="*/ 10736 h 2604719"/>
              <a:gd name="connsiteX13" fmla="*/ 624671 w 698215"/>
              <a:gd name="connsiteY13" fmla="*/ 477174 h 2604719"/>
              <a:gd name="connsiteX14" fmla="*/ 497505 w 698215"/>
              <a:gd name="connsiteY14" fmla="*/ 1622677 h 2604719"/>
              <a:gd name="connsiteX15" fmla="*/ 494075 w 698215"/>
              <a:gd name="connsiteY15" fmla="*/ 2045687 h 2604719"/>
              <a:gd name="connsiteX16" fmla="*/ 532984 w 698215"/>
              <a:gd name="connsiteY16" fmla="*/ 2282516 h 2604719"/>
              <a:gd name="connsiteX17" fmla="*/ 593036 w 698215"/>
              <a:gd name="connsiteY17" fmla="*/ 2475615 h 2604719"/>
              <a:gd name="connsiteX18" fmla="*/ 473116 w 698215"/>
              <a:gd name="connsiteY18" fmla="*/ 2589379 h 2604719"/>
              <a:gd name="connsiteX19" fmla="*/ 364420 w 698215"/>
              <a:gd name="connsiteY19" fmla="*/ 2567655 h 2604719"/>
              <a:gd name="connsiteX20" fmla="*/ 405296 w 698215"/>
              <a:gd name="connsiteY20" fmla="*/ 2421024 h 2604719"/>
              <a:gd name="connsiteX21" fmla="*/ 388220 w 698215"/>
              <a:gd name="connsiteY21" fmla="*/ 2284523 h 2604719"/>
              <a:gd name="connsiteX22" fmla="*/ 323544 w 698215"/>
              <a:gd name="connsiteY22" fmla="*/ 2185590 h 2604719"/>
              <a:gd name="connsiteX0" fmla="*/ 323544 w 686509"/>
              <a:gd name="connsiteY0" fmla="*/ 2185590 h 2604719"/>
              <a:gd name="connsiteX1" fmla="*/ 255304 w 686509"/>
              <a:gd name="connsiteY1" fmla="*/ 2260724 h 2604719"/>
              <a:gd name="connsiteX2" fmla="*/ 210832 w 686509"/>
              <a:gd name="connsiteY2" fmla="*/ 2380105 h 2604719"/>
              <a:gd name="connsiteX3" fmla="*/ 217674 w 686509"/>
              <a:gd name="connsiteY3" fmla="*/ 2478851 h 2604719"/>
              <a:gd name="connsiteX4" fmla="*/ 227909 w 686509"/>
              <a:gd name="connsiteY4" fmla="*/ 2581399 h 2604719"/>
              <a:gd name="connsiteX5" fmla="*/ 73331 w 686509"/>
              <a:gd name="connsiteY5" fmla="*/ 2567751 h 2604719"/>
              <a:gd name="connsiteX6" fmla="*/ 17225 w 686509"/>
              <a:gd name="connsiteY6" fmla="*/ 2408366 h 2604719"/>
              <a:gd name="connsiteX7" fmla="*/ 176680 w 686509"/>
              <a:gd name="connsiteY7" fmla="*/ 2021815 h 2604719"/>
              <a:gd name="connsiteX8" fmla="*/ 288719 w 686509"/>
              <a:gd name="connsiteY8" fmla="*/ 1598335 h 2604719"/>
              <a:gd name="connsiteX9" fmla="*/ 374100 w 686509"/>
              <a:gd name="connsiteY9" fmla="*/ 1030371 h 2604719"/>
              <a:gd name="connsiteX10" fmla="*/ 526978 w 686509"/>
              <a:gd name="connsiteY10" fmla="*/ 177039 h 2604719"/>
              <a:gd name="connsiteX11" fmla="*/ 539650 w 686509"/>
              <a:gd name="connsiteY11" fmla="*/ 27717 h 2604719"/>
              <a:gd name="connsiteX12" fmla="*/ 686509 w 686509"/>
              <a:gd name="connsiteY12" fmla="*/ 10736 h 2604719"/>
              <a:gd name="connsiteX13" fmla="*/ 624671 w 686509"/>
              <a:gd name="connsiteY13" fmla="*/ 477174 h 2604719"/>
              <a:gd name="connsiteX14" fmla="*/ 497505 w 686509"/>
              <a:gd name="connsiteY14" fmla="*/ 1622677 h 2604719"/>
              <a:gd name="connsiteX15" fmla="*/ 494075 w 686509"/>
              <a:gd name="connsiteY15" fmla="*/ 2045687 h 2604719"/>
              <a:gd name="connsiteX16" fmla="*/ 532984 w 686509"/>
              <a:gd name="connsiteY16" fmla="*/ 2282516 h 2604719"/>
              <a:gd name="connsiteX17" fmla="*/ 593036 w 686509"/>
              <a:gd name="connsiteY17" fmla="*/ 2475615 h 2604719"/>
              <a:gd name="connsiteX18" fmla="*/ 473116 w 686509"/>
              <a:gd name="connsiteY18" fmla="*/ 2589379 h 2604719"/>
              <a:gd name="connsiteX19" fmla="*/ 364420 w 686509"/>
              <a:gd name="connsiteY19" fmla="*/ 2567655 h 2604719"/>
              <a:gd name="connsiteX20" fmla="*/ 405296 w 686509"/>
              <a:gd name="connsiteY20" fmla="*/ 2421024 h 2604719"/>
              <a:gd name="connsiteX21" fmla="*/ 388220 w 686509"/>
              <a:gd name="connsiteY21" fmla="*/ 2284523 h 2604719"/>
              <a:gd name="connsiteX22" fmla="*/ 323544 w 686509"/>
              <a:gd name="connsiteY22" fmla="*/ 2185590 h 2604719"/>
              <a:gd name="connsiteX0" fmla="*/ 323544 w 686509"/>
              <a:gd name="connsiteY0" fmla="*/ 2175660 h 2594789"/>
              <a:gd name="connsiteX1" fmla="*/ 255304 w 686509"/>
              <a:gd name="connsiteY1" fmla="*/ 2250794 h 2594789"/>
              <a:gd name="connsiteX2" fmla="*/ 210832 w 686509"/>
              <a:gd name="connsiteY2" fmla="*/ 2370175 h 2594789"/>
              <a:gd name="connsiteX3" fmla="*/ 217674 w 686509"/>
              <a:gd name="connsiteY3" fmla="*/ 2468921 h 2594789"/>
              <a:gd name="connsiteX4" fmla="*/ 227909 w 686509"/>
              <a:gd name="connsiteY4" fmla="*/ 2571469 h 2594789"/>
              <a:gd name="connsiteX5" fmla="*/ 73331 w 686509"/>
              <a:gd name="connsiteY5" fmla="*/ 2557821 h 2594789"/>
              <a:gd name="connsiteX6" fmla="*/ 17225 w 686509"/>
              <a:gd name="connsiteY6" fmla="*/ 2398436 h 2594789"/>
              <a:gd name="connsiteX7" fmla="*/ 176680 w 686509"/>
              <a:gd name="connsiteY7" fmla="*/ 2011885 h 2594789"/>
              <a:gd name="connsiteX8" fmla="*/ 288719 w 686509"/>
              <a:gd name="connsiteY8" fmla="*/ 1588405 h 2594789"/>
              <a:gd name="connsiteX9" fmla="*/ 374100 w 686509"/>
              <a:gd name="connsiteY9" fmla="*/ 1020441 h 2594789"/>
              <a:gd name="connsiteX10" fmla="*/ 526978 w 686509"/>
              <a:gd name="connsiteY10" fmla="*/ 167109 h 2594789"/>
              <a:gd name="connsiteX11" fmla="*/ 539650 w 686509"/>
              <a:gd name="connsiteY11" fmla="*/ 17787 h 2594789"/>
              <a:gd name="connsiteX12" fmla="*/ 686509 w 686509"/>
              <a:gd name="connsiteY12" fmla="*/ 806 h 2594789"/>
              <a:gd name="connsiteX13" fmla="*/ 624671 w 686509"/>
              <a:gd name="connsiteY13" fmla="*/ 467244 h 2594789"/>
              <a:gd name="connsiteX14" fmla="*/ 497505 w 686509"/>
              <a:gd name="connsiteY14" fmla="*/ 1612747 h 2594789"/>
              <a:gd name="connsiteX15" fmla="*/ 494075 w 686509"/>
              <a:gd name="connsiteY15" fmla="*/ 2035757 h 2594789"/>
              <a:gd name="connsiteX16" fmla="*/ 532984 w 686509"/>
              <a:gd name="connsiteY16" fmla="*/ 2272586 h 2594789"/>
              <a:gd name="connsiteX17" fmla="*/ 593036 w 686509"/>
              <a:gd name="connsiteY17" fmla="*/ 2465685 h 2594789"/>
              <a:gd name="connsiteX18" fmla="*/ 473116 w 686509"/>
              <a:gd name="connsiteY18" fmla="*/ 2579449 h 2594789"/>
              <a:gd name="connsiteX19" fmla="*/ 364420 w 686509"/>
              <a:gd name="connsiteY19" fmla="*/ 2557725 h 2594789"/>
              <a:gd name="connsiteX20" fmla="*/ 405296 w 686509"/>
              <a:gd name="connsiteY20" fmla="*/ 2411094 h 2594789"/>
              <a:gd name="connsiteX21" fmla="*/ 388220 w 686509"/>
              <a:gd name="connsiteY21" fmla="*/ 2274593 h 2594789"/>
              <a:gd name="connsiteX22" fmla="*/ 323544 w 686509"/>
              <a:gd name="connsiteY22" fmla="*/ 2175660 h 2594789"/>
              <a:gd name="connsiteX0" fmla="*/ 323544 w 686509"/>
              <a:gd name="connsiteY0" fmla="*/ 2175660 h 2594789"/>
              <a:gd name="connsiteX1" fmla="*/ 255304 w 686509"/>
              <a:gd name="connsiteY1" fmla="*/ 2250794 h 2594789"/>
              <a:gd name="connsiteX2" fmla="*/ 210832 w 686509"/>
              <a:gd name="connsiteY2" fmla="*/ 2370175 h 2594789"/>
              <a:gd name="connsiteX3" fmla="*/ 217674 w 686509"/>
              <a:gd name="connsiteY3" fmla="*/ 2468921 h 2594789"/>
              <a:gd name="connsiteX4" fmla="*/ 227909 w 686509"/>
              <a:gd name="connsiteY4" fmla="*/ 2571469 h 2594789"/>
              <a:gd name="connsiteX5" fmla="*/ 73331 w 686509"/>
              <a:gd name="connsiteY5" fmla="*/ 2557821 h 2594789"/>
              <a:gd name="connsiteX6" fmla="*/ 17225 w 686509"/>
              <a:gd name="connsiteY6" fmla="*/ 2398436 h 2594789"/>
              <a:gd name="connsiteX7" fmla="*/ 176680 w 686509"/>
              <a:gd name="connsiteY7" fmla="*/ 2011885 h 2594789"/>
              <a:gd name="connsiteX8" fmla="*/ 288719 w 686509"/>
              <a:gd name="connsiteY8" fmla="*/ 1588405 h 2594789"/>
              <a:gd name="connsiteX9" fmla="*/ 374100 w 686509"/>
              <a:gd name="connsiteY9" fmla="*/ 1020441 h 2594789"/>
              <a:gd name="connsiteX10" fmla="*/ 526978 w 686509"/>
              <a:gd name="connsiteY10" fmla="*/ 167109 h 2594789"/>
              <a:gd name="connsiteX11" fmla="*/ 539650 w 686509"/>
              <a:gd name="connsiteY11" fmla="*/ 17787 h 2594789"/>
              <a:gd name="connsiteX12" fmla="*/ 686509 w 686509"/>
              <a:gd name="connsiteY12" fmla="*/ 806 h 2594789"/>
              <a:gd name="connsiteX13" fmla="*/ 624671 w 686509"/>
              <a:gd name="connsiteY13" fmla="*/ 467244 h 2594789"/>
              <a:gd name="connsiteX14" fmla="*/ 497505 w 686509"/>
              <a:gd name="connsiteY14" fmla="*/ 1612747 h 2594789"/>
              <a:gd name="connsiteX15" fmla="*/ 494075 w 686509"/>
              <a:gd name="connsiteY15" fmla="*/ 2035757 h 2594789"/>
              <a:gd name="connsiteX16" fmla="*/ 532984 w 686509"/>
              <a:gd name="connsiteY16" fmla="*/ 2272586 h 2594789"/>
              <a:gd name="connsiteX17" fmla="*/ 593036 w 686509"/>
              <a:gd name="connsiteY17" fmla="*/ 2465685 h 2594789"/>
              <a:gd name="connsiteX18" fmla="*/ 473116 w 686509"/>
              <a:gd name="connsiteY18" fmla="*/ 2579449 h 2594789"/>
              <a:gd name="connsiteX19" fmla="*/ 364420 w 686509"/>
              <a:gd name="connsiteY19" fmla="*/ 2557725 h 2594789"/>
              <a:gd name="connsiteX20" fmla="*/ 405296 w 686509"/>
              <a:gd name="connsiteY20" fmla="*/ 2411094 h 2594789"/>
              <a:gd name="connsiteX21" fmla="*/ 388220 w 686509"/>
              <a:gd name="connsiteY21" fmla="*/ 2274593 h 2594789"/>
              <a:gd name="connsiteX22" fmla="*/ 323544 w 686509"/>
              <a:gd name="connsiteY22" fmla="*/ 2175660 h 2594789"/>
              <a:gd name="connsiteX0" fmla="*/ 323544 w 686509"/>
              <a:gd name="connsiteY0" fmla="*/ 2178871 h 2598000"/>
              <a:gd name="connsiteX1" fmla="*/ 255304 w 686509"/>
              <a:gd name="connsiteY1" fmla="*/ 2254005 h 2598000"/>
              <a:gd name="connsiteX2" fmla="*/ 210832 w 686509"/>
              <a:gd name="connsiteY2" fmla="*/ 2373386 h 2598000"/>
              <a:gd name="connsiteX3" fmla="*/ 217674 w 686509"/>
              <a:gd name="connsiteY3" fmla="*/ 2472132 h 2598000"/>
              <a:gd name="connsiteX4" fmla="*/ 227909 w 686509"/>
              <a:gd name="connsiteY4" fmla="*/ 2574680 h 2598000"/>
              <a:gd name="connsiteX5" fmla="*/ 73331 w 686509"/>
              <a:gd name="connsiteY5" fmla="*/ 2561032 h 2598000"/>
              <a:gd name="connsiteX6" fmla="*/ 17225 w 686509"/>
              <a:gd name="connsiteY6" fmla="*/ 2401647 h 2598000"/>
              <a:gd name="connsiteX7" fmla="*/ 176680 w 686509"/>
              <a:gd name="connsiteY7" fmla="*/ 2015096 h 2598000"/>
              <a:gd name="connsiteX8" fmla="*/ 288719 w 686509"/>
              <a:gd name="connsiteY8" fmla="*/ 1591616 h 2598000"/>
              <a:gd name="connsiteX9" fmla="*/ 374100 w 686509"/>
              <a:gd name="connsiteY9" fmla="*/ 1023652 h 2598000"/>
              <a:gd name="connsiteX10" fmla="*/ 526978 w 686509"/>
              <a:gd name="connsiteY10" fmla="*/ 170320 h 2598000"/>
              <a:gd name="connsiteX11" fmla="*/ 539650 w 686509"/>
              <a:gd name="connsiteY11" fmla="*/ 1731 h 2598000"/>
              <a:gd name="connsiteX12" fmla="*/ 686509 w 686509"/>
              <a:gd name="connsiteY12" fmla="*/ 4017 h 2598000"/>
              <a:gd name="connsiteX13" fmla="*/ 624671 w 686509"/>
              <a:gd name="connsiteY13" fmla="*/ 470455 h 2598000"/>
              <a:gd name="connsiteX14" fmla="*/ 497505 w 686509"/>
              <a:gd name="connsiteY14" fmla="*/ 1615958 h 2598000"/>
              <a:gd name="connsiteX15" fmla="*/ 494075 w 686509"/>
              <a:gd name="connsiteY15" fmla="*/ 2038968 h 2598000"/>
              <a:gd name="connsiteX16" fmla="*/ 532984 w 686509"/>
              <a:gd name="connsiteY16" fmla="*/ 2275797 h 2598000"/>
              <a:gd name="connsiteX17" fmla="*/ 593036 w 686509"/>
              <a:gd name="connsiteY17" fmla="*/ 2468896 h 2598000"/>
              <a:gd name="connsiteX18" fmla="*/ 473116 w 686509"/>
              <a:gd name="connsiteY18" fmla="*/ 2582660 h 2598000"/>
              <a:gd name="connsiteX19" fmla="*/ 364420 w 686509"/>
              <a:gd name="connsiteY19" fmla="*/ 2560936 h 2598000"/>
              <a:gd name="connsiteX20" fmla="*/ 405296 w 686509"/>
              <a:gd name="connsiteY20" fmla="*/ 2414305 h 2598000"/>
              <a:gd name="connsiteX21" fmla="*/ 388220 w 686509"/>
              <a:gd name="connsiteY21" fmla="*/ 2277804 h 2598000"/>
              <a:gd name="connsiteX22" fmla="*/ 323544 w 686509"/>
              <a:gd name="connsiteY22" fmla="*/ 2178871 h 2598000"/>
              <a:gd name="connsiteX0" fmla="*/ 323544 w 686509"/>
              <a:gd name="connsiteY0" fmla="*/ 2180773 h 2599902"/>
              <a:gd name="connsiteX1" fmla="*/ 255304 w 686509"/>
              <a:gd name="connsiteY1" fmla="*/ 2255907 h 2599902"/>
              <a:gd name="connsiteX2" fmla="*/ 210832 w 686509"/>
              <a:gd name="connsiteY2" fmla="*/ 2375288 h 2599902"/>
              <a:gd name="connsiteX3" fmla="*/ 217674 w 686509"/>
              <a:gd name="connsiteY3" fmla="*/ 2474034 h 2599902"/>
              <a:gd name="connsiteX4" fmla="*/ 227909 w 686509"/>
              <a:gd name="connsiteY4" fmla="*/ 2576582 h 2599902"/>
              <a:gd name="connsiteX5" fmla="*/ 73331 w 686509"/>
              <a:gd name="connsiteY5" fmla="*/ 2562934 h 2599902"/>
              <a:gd name="connsiteX6" fmla="*/ 17225 w 686509"/>
              <a:gd name="connsiteY6" fmla="*/ 2403549 h 2599902"/>
              <a:gd name="connsiteX7" fmla="*/ 176680 w 686509"/>
              <a:gd name="connsiteY7" fmla="*/ 2016998 h 2599902"/>
              <a:gd name="connsiteX8" fmla="*/ 288719 w 686509"/>
              <a:gd name="connsiteY8" fmla="*/ 1593518 h 2599902"/>
              <a:gd name="connsiteX9" fmla="*/ 374100 w 686509"/>
              <a:gd name="connsiteY9" fmla="*/ 1025554 h 2599902"/>
              <a:gd name="connsiteX10" fmla="*/ 526978 w 686509"/>
              <a:gd name="connsiteY10" fmla="*/ 172222 h 2599902"/>
              <a:gd name="connsiteX11" fmla="*/ 539650 w 686509"/>
              <a:gd name="connsiteY11" fmla="*/ 3633 h 2599902"/>
              <a:gd name="connsiteX12" fmla="*/ 686509 w 686509"/>
              <a:gd name="connsiteY12" fmla="*/ 5919 h 2599902"/>
              <a:gd name="connsiteX13" fmla="*/ 624671 w 686509"/>
              <a:gd name="connsiteY13" fmla="*/ 472357 h 2599902"/>
              <a:gd name="connsiteX14" fmla="*/ 497505 w 686509"/>
              <a:gd name="connsiteY14" fmla="*/ 1617860 h 2599902"/>
              <a:gd name="connsiteX15" fmla="*/ 494075 w 686509"/>
              <a:gd name="connsiteY15" fmla="*/ 2040870 h 2599902"/>
              <a:gd name="connsiteX16" fmla="*/ 532984 w 686509"/>
              <a:gd name="connsiteY16" fmla="*/ 2277699 h 2599902"/>
              <a:gd name="connsiteX17" fmla="*/ 593036 w 686509"/>
              <a:gd name="connsiteY17" fmla="*/ 2470798 h 2599902"/>
              <a:gd name="connsiteX18" fmla="*/ 473116 w 686509"/>
              <a:gd name="connsiteY18" fmla="*/ 2584562 h 2599902"/>
              <a:gd name="connsiteX19" fmla="*/ 364420 w 686509"/>
              <a:gd name="connsiteY19" fmla="*/ 2562838 h 2599902"/>
              <a:gd name="connsiteX20" fmla="*/ 405296 w 686509"/>
              <a:gd name="connsiteY20" fmla="*/ 2416207 h 2599902"/>
              <a:gd name="connsiteX21" fmla="*/ 388220 w 686509"/>
              <a:gd name="connsiteY21" fmla="*/ 2279706 h 2599902"/>
              <a:gd name="connsiteX22" fmla="*/ 323544 w 686509"/>
              <a:gd name="connsiteY22" fmla="*/ 2180773 h 2599902"/>
              <a:gd name="connsiteX0" fmla="*/ 322488 w 685453"/>
              <a:gd name="connsiteY0" fmla="*/ 2180773 h 2599902"/>
              <a:gd name="connsiteX1" fmla="*/ 254248 w 685453"/>
              <a:gd name="connsiteY1" fmla="*/ 2255907 h 2599902"/>
              <a:gd name="connsiteX2" fmla="*/ 209776 w 685453"/>
              <a:gd name="connsiteY2" fmla="*/ 2375288 h 2599902"/>
              <a:gd name="connsiteX3" fmla="*/ 216618 w 685453"/>
              <a:gd name="connsiteY3" fmla="*/ 2474034 h 2599902"/>
              <a:gd name="connsiteX4" fmla="*/ 226853 w 685453"/>
              <a:gd name="connsiteY4" fmla="*/ 2576582 h 2599902"/>
              <a:gd name="connsiteX5" fmla="*/ 72275 w 685453"/>
              <a:gd name="connsiteY5" fmla="*/ 2562934 h 2599902"/>
              <a:gd name="connsiteX6" fmla="*/ 16169 w 685453"/>
              <a:gd name="connsiteY6" fmla="*/ 2403549 h 2599902"/>
              <a:gd name="connsiteX7" fmla="*/ 169288 w 685453"/>
              <a:gd name="connsiteY7" fmla="*/ 2041082 h 2599902"/>
              <a:gd name="connsiteX8" fmla="*/ 287663 w 685453"/>
              <a:gd name="connsiteY8" fmla="*/ 1593518 h 2599902"/>
              <a:gd name="connsiteX9" fmla="*/ 373044 w 685453"/>
              <a:gd name="connsiteY9" fmla="*/ 1025554 h 2599902"/>
              <a:gd name="connsiteX10" fmla="*/ 525922 w 685453"/>
              <a:gd name="connsiteY10" fmla="*/ 172222 h 2599902"/>
              <a:gd name="connsiteX11" fmla="*/ 538594 w 685453"/>
              <a:gd name="connsiteY11" fmla="*/ 3633 h 2599902"/>
              <a:gd name="connsiteX12" fmla="*/ 685453 w 685453"/>
              <a:gd name="connsiteY12" fmla="*/ 5919 h 2599902"/>
              <a:gd name="connsiteX13" fmla="*/ 623615 w 685453"/>
              <a:gd name="connsiteY13" fmla="*/ 472357 h 2599902"/>
              <a:gd name="connsiteX14" fmla="*/ 496449 w 685453"/>
              <a:gd name="connsiteY14" fmla="*/ 1617860 h 2599902"/>
              <a:gd name="connsiteX15" fmla="*/ 493019 w 685453"/>
              <a:gd name="connsiteY15" fmla="*/ 2040870 h 2599902"/>
              <a:gd name="connsiteX16" fmla="*/ 531928 w 685453"/>
              <a:gd name="connsiteY16" fmla="*/ 2277699 h 2599902"/>
              <a:gd name="connsiteX17" fmla="*/ 591980 w 685453"/>
              <a:gd name="connsiteY17" fmla="*/ 2470798 h 2599902"/>
              <a:gd name="connsiteX18" fmla="*/ 472060 w 685453"/>
              <a:gd name="connsiteY18" fmla="*/ 2584562 h 2599902"/>
              <a:gd name="connsiteX19" fmla="*/ 363364 w 685453"/>
              <a:gd name="connsiteY19" fmla="*/ 2562838 h 2599902"/>
              <a:gd name="connsiteX20" fmla="*/ 404240 w 685453"/>
              <a:gd name="connsiteY20" fmla="*/ 2416207 h 2599902"/>
              <a:gd name="connsiteX21" fmla="*/ 387164 w 685453"/>
              <a:gd name="connsiteY21" fmla="*/ 2279706 h 2599902"/>
              <a:gd name="connsiteX22" fmla="*/ 322488 w 685453"/>
              <a:gd name="connsiteY22" fmla="*/ 2180773 h 2599902"/>
              <a:gd name="connsiteX0" fmla="*/ 322488 w 685453"/>
              <a:gd name="connsiteY0" fmla="*/ 2180773 h 2599902"/>
              <a:gd name="connsiteX1" fmla="*/ 254248 w 685453"/>
              <a:gd name="connsiteY1" fmla="*/ 2255907 h 2599902"/>
              <a:gd name="connsiteX2" fmla="*/ 209776 w 685453"/>
              <a:gd name="connsiteY2" fmla="*/ 2375288 h 2599902"/>
              <a:gd name="connsiteX3" fmla="*/ 216618 w 685453"/>
              <a:gd name="connsiteY3" fmla="*/ 2474034 h 2599902"/>
              <a:gd name="connsiteX4" fmla="*/ 226853 w 685453"/>
              <a:gd name="connsiteY4" fmla="*/ 2576582 h 2599902"/>
              <a:gd name="connsiteX5" fmla="*/ 72275 w 685453"/>
              <a:gd name="connsiteY5" fmla="*/ 2562934 h 2599902"/>
              <a:gd name="connsiteX6" fmla="*/ 16169 w 685453"/>
              <a:gd name="connsiteY6" fmla="*/ 2403549 h 2599902"/>
              <a:gd name="connsiteX7" fmla="*/ 169288 w 685453"/>
              <a:gd name="connsiteY7" fmla="*/ 2041082 h 2599902"/>
              <a:gd name="connsiteX8" fmla="*/ 287663 w 685453"/>
              <a:gd name="connsiteY8" fmla="*/ 1593518 h 2599902"/>
              <a:gd name="connsiteX9" fmla="*/ 392498 w 685453"/>
              <a:gd name="connsiteY9" fmla="*/ 989639 h 2599902"/>
              <a:gd name="connsiteX10" fmla="*/ 525922 w 685453"/>
              <a:gd name="connsiteY10" fmla="*/ 172222 h 2599902"/>
              <a:gd name="connsiteX11" fmla="*/ 538594 w 685453"/>
              <a:gd name="connsiteY11" fmla="*/ 3633 h 2599902"/>
              <a:gd name="connsiteX12" fmla="*/ 685453 w 685453"/>
              <a:gd name="connsiteY12" fmla="*/ 5919 h 2599902"/>
              <a:gd name="connsiteX13" fmla="*/ 623615 w 685453"/>
              <a:gd name="connsiteY13" fmla="*/ 472357 h 2599902"/>
              <a:gd name="connsiteX14" fmla="*/ 496449 w 685453"/>
              <a:gd name="connsiteY14" fmla="*/ 1617860 h 2599902"/>
              <a:gd name="connsiteX15" fmla="*/ 493019 w 685453"/>
              <a:gd name="connsiteY15" fmla="*/ 2040870 h 2599902"/>
              <a:gd name="connsiteX16" fmla="*/ 531928 w 685453"/>
              <a:gd name="connsiteY16" fmla="*/ 2277699 h 2599902"/>
              <a:gd name="connsiteX17" fmla="*/ 591980 w 685453"/>
              <a:gd name="connsiteY17" fmla="*/ 2470798 h 2599902"/>
              <a:gd name="connsiteX18" fmla="*/ 472060 w 685453"/>
              <a:gd name="connsiteY18" fmla="*/ 2584562 h 2599902"/>
              <a:gd name="connsiteX19" fmla="*/ 363364 w 685453"/>
              <a:gd name="connsiteY19" fmla="*/ 2562838 h 2599902"/>
              <a:gd name="connsiteX20" fmla="*/ 404240 w 685453"/>
              <a:gd name="connsiteY20" fmla="*/ 2416207 h 2599902"/>
              <a:gd name="connsiteX21" fmla="*/ 387164 w 685453"/>
              <a:gd name="connsiteY21" fmla="*/ 2279706 h 2599902"/>
              <a:gd name="connsiteX22" fmla="*/ 322488 w 685453"/>
              <a:gd name="connsiteY22" fmla="*/ 2180773 h 2599902"/>
              <a:gd name="connsiteX0" fmla="*/ 322488 w 685453"/>
              <a:gd name="connsiteY0" fmla="*/ 2180773 h 2599902"/>
              <a:gd name="connsiteX1" fmla="*/ 254248 w 685453"/>
              <a:gd name="connsiteY1" fmla="*/ 2255907 h 2599902"/>
              <a:gd name="connsiteX2" fmla="*/ 209776 w 685453"/>
              <a:gd name="connsiteY2" fmla="*/ 2375288 h 2599902"/>
              <a:gd name="connsiteX3" fmla="*/ 216618 w 685453"/>
              <a:gd name="connsiteY3" fmla="*/ 2474034 h 2599902"/>
              <a:gd name="connsiteX4" fmla="*/ 226853 w 685453"/>
              <a:gd name="connsiteY4" fmla="*/ 2576582 h 2599902"/>
              <a:gd name="connsiteX5" fmla="*/ 72275 w 685453"/>
              <a:gd name="connsiteY5" fmla="*/ 2562934 h 2599902"/>
              <a:gd name="connsiteX6" fmla="*/ 16169 w 685453"/>
              <a:gd name="connsiteY6" fmla="*/ 2403549 h 2599902"/>
              <a:gd name="connsiteX7" fmla="*/ 169288 w 685453"/>
              <a:gd name="connsiteY7" fmla="*/ 2041082 h 2599902"/>
              <a:gd name="connsiteX8" fmla="*/ 287663 w 685453"/>
              <a:gd name="connsiteY8" fmla="*/ 1593518 h 2599902"/>
              <a:gd name="connsiteX9" fmla="*/ 392498 w 685453"/>
              <a:gd name="connsiteY9" fmla="*/ 989639 h 2599902"/>
              <a:gd name="connsiteX10" fmla="*/ 525922 w 685453"/>
              <a:gd name="connsiteY10" fmla="*/ 172222 h 2599902"/>
              <a:gd name="connsiteX11" fmla="*/ 538594 w 685453"/>
              <a:gd name="connsiteY11" fmla="*/ 3633 h 2599902"/>
              <a:gd name="connsiteX12" fmla="*/ 685453 w 685453"/>
              <a:gd name="connsiteY12" fmla="*/ 5919 h 2599902"/>
              <a:gd name="connsiteX13" fmla="*/ 623615 w 685453"/>
              <a:gd name="connsiteY13" fmla="*/ 472357 h 2599902"/>
              <a:gd name="connsiteX14" fmla="*/ 496449 w 685453"/>
              <a:gd name="connsiteY14" fmla="*/ 1617860 h 2599902"/>
              <a:gd name="connsiteX15" fmla="*/ 493019 w 685453"/>
              <a:gd name="connsiteY15" fmla="*/ 2040870 h 2599902"/>
              <a:gd name="connsiteX16" fmla="*/ 531928 w 685453"/>
              <a:gd name="connsiteY16" fmla="*/ 2277699 h 2599902"/>
              <a:gd name="connsiteX17" fmla="*/ 591980 w 685453"/>
              <a:gd name="connsiteY17" fmla="*/ 2470798 h 2599902"/>
              <a:gd name="connsiteX18" fmla="*/ 472060 w 685453"/>
              <a:gd name="connsiteY18" fmla="*/ 2584562 h 2599902"/>
              <a:gd name="connsiteX19" fmla="*/ 363364 w 685453"/>
              <a:gd name="connsiteY19" fmla="*/ 2562838 h 2599902"/>
              <a:gd name="connsiteX20" fmla="*/ 404240 w 685453"/>
              <a:gd name="connsiteY20" fmla="*/ 2416207 h 2599902"/>
              <a:gd name="connsiteX21" fmla="*/ 387164 w 685453"/>
              <a:gd name="connsiteY21" fmla="*/ 2279706 h 2599902"/>
              <a:gd name="connsiteX22" fmla="*/ 322488 w 685453"/>
              <a:gd name="connsiteY22" fmla="*/ 2180773 h 2599902"/>
              <a:gd name="connsiteX0" fmla="*/ 322488 w 685453"/>
              <a:gd name="connsiteY0" fmla="*/ 2180773 h 2599902"/>
              <a:gd name="connsiteX1" fmla="*/ 254248 w 685453"/>
              <a:gd name="connsiteY1" fmla="*/ 2255907 h 2599902"/>
              <a:gd name="connsiteX2" fmla="*/ 209776 w 685453"/>
              <a:gd name="connsiteY2" fmla="*/ 2375288 h 2599902"/>
              <a:gd name="connsiteX3" fmla="*/ 216618 w 685453"/>
              <a:gd name="connsiteY3" fmla="*/ 2474034 h 2599902"/>
              <a:gd name="connsiteX4" fmla="*/ 226853 w 685453"/>
              <a:gd name="connsiteY4" fmla="*/ 2576582 h 2599902"/>
              <a:gd name="connsiteX5" fmla="*/ 72275 w 685453"/>
              <a:gd name="connsiteY5" fmla="*/ 2562934 h 2599902"/>
              <a:gd name="connsiteX6" fmla="*/ 16169 w 685453"/>
              <a:gd name="connsiteY6" fmla="*/ 2403549 h 2599902"/>
              <a:gd name="connsiteX7" fmla="*/ 169288 w 685453"/>
              <a:gd name="connsiteY7" fmla="*/ 2041082 h 2599902"/>
              <a:gd name="connsiteX8" fmla="*/ 287663 w 685453"/>
              <a:gd name="connsiteY8" fmla="*/ 1593518 h 2599902"/>
              <a:gd name="connsiteX9" fmla="*/ 392498 w 685453"/>
              <a:gd name="connsiteY9" fmla="*/ 989639 h 2599902"/>
              <a:gd name="connsiteX10" fmla="*/ 500911 w 685453"/>
              <a:gd name="connsiteY10" fmla="*/ 273629 h 2599902"/>
              <a:gd name="connsiteX11" fmla="*/ 538594 w 685453"/>
              <a:gd name="connsiteY11" fmla="*/ 3633 h 2599902"/>
              <a:gd name="connsiteX12" fmla="*/ 685453 w 685453"/>
              <a:gd name="connsiteY12" fmla="*/ 5919 h 2599902"/>
              <a:gd name="connsiteX13" fmla="*/ 623615 w 685453"/>
              <a:gd name="connsiteY13" fmla="*/ 472357 h 2599902"/>
              <a:gd name="connsiteX14" fmla="*/ 496449 w 685453"/>
              <a:gd name="connsiteY14" fmla="*/ 1617860 h 2599902"/>
              <a:gd name="connsiteX15" fmla="*/ 493019 w 685453"/>
              <a:gd name="connsiteY15" fmla="*/ 2040870 h 2599902"/>
              <a:gd name="connsiteX16" fmla="*/ 531928 w 685453"/>
              <a:gd name="connsiteY16" fmla="*/ 2277699 h 2599902"/>
              <a:gd name="connsiteX17" fmla="*/ 591980 w 685453"/>
              <a:gd name="connsiteY17" fmla="*/ 2470798 h 2599902"/>
              <a:gd name="connsiteX18" fmla="*/ 472060 w 685453"/>
              <a:gd name="connsiteY18" fmla="*/ 2584562 h 2599902"/>
              <a:gd name="connsiteX19" fmla="*/ 363364 w 685453"/>
              <a:gd name="connsiteY19" fmla="*/ 2562838 h 2599902"/>
              <a:gd name="connsiteX20" fmla="*/ 404240 w 685453"/>
              <a:gd name="connsiteY20" fmla="*/ 2416207 h 2599902"/>
              <a:gd name="connsiteX21" fmla="*/ 387164 w 685453"/>
              <a:gd name="connsiteY21" fmla="*/ 2279706 h 2599902"/>
              <a:gd name="connsiteX22" fmla="*/ 322488 w 685453"/>
              <a:gd name="connsiteY22" fmla="*/ 2180773 h 2599902"/>
              <a:gd name="connsiteX0" fmla="*/ 322488 w 685453"/>
              <a:gd name="connsiteY0" fmla="*/ 2180773 h 2599902"/>
              <a:gd name="connsiteX1" fmla="*/ 254248 w 685453"/>
              <a:gd name="connsiteY1" fmla="*/ 2255907 h 2599902"/>
              <a:gd name="connsiteX2" fmla="*/ 209776 w 685453"/>
              <a:gd name="connsiteY2" fmla="*/ 2375288 h 2599902"/>
              <a:gd name="connsiteX3" fmla="*/ 216618 w 685453"/>
              <a:gd name="connsiteY3" fmla="*/ 2474034 h 2599902"/>
              <a:gd name="connsiteX4" fmla="*/ 226853 w 685453"/>
              <a:gd name="connsiteY4" fmla="*/ 2576582 h 2599902"/>
              <a:gd name="connsiteX5" fmla="*/ 72275 w 685453"/>
              <a:gd name="connsiteY5" fmla="*/ 2562934 h 2599902"/>
              <a:gd name="connsiteX6" fmla="*/ 16169 w 685453"/>
              <a:gd name="connsiteY6" fmla="*/ 2403549 h 2599902"/>
              <a:gd name="connsiteX7" fmla="*/ 169288 w 685453"/>
              <a:gd name="connsiteY7" fmla="*/ 2041082 h 2599902"/>
              <a:gd name="connsiteX8" fmla="*/ 287663 w 685453"/>
              <a:gd name="connsiteY8" fmla="*/ 1593518 h 2599902"/>
              <a:gd name="connsiteX9" fmla="*/ 392498 w 685453"/>
              <a:gd name="connsiteY9" fmla="*/ 989639 h 2599902"/>
              <a:gd name="connsiteX10" fmla="*/ 500911 w 685453"/>
              <a:gd name="connsiteY10" fmla="*/ 273629 h 2599902"/>
              <a:gd name="connsiteX11" fmla="*/ 538594 w 685453"/>
              <a:gd name="connsiteY11" fmla="*/ 3633 h 2599902"/>
              <a:gd name="connsiteX12" fmla="*/ 685453 w 685453"/>
              <a:gd name="connsiteY12" fmla="*/ 5919 h 2599902"/>
              <a:gd name="connsiteX13" fmla="*/ 623615 w 685453"/>
              <a:gd name="connsiteY13" fmla="*/ 472357 h 2599902"/>
              <a:gd name="connsiteX14" fmla="*/ 496449 w 685453"/>
              <a:gd name="connsiteY14" fmla="*/ 1617860 h 2599902"/>
              <a:gd name="connsiteX15" fmla="*/ 493019 w 685453"/>
              <a:gd name="connsiteY15" fmla="*/ 2040870 h 2599902"/>
              <a:gd name="connsiteX16" fmla="*/ 531928 w 685453"/>
              <a:gd name="connsiteY16" fmla="*/ 2277699 h 2599902"/>
              <a:gd name="connsiteX17" fmla="*/ 591980 w 685453"/>
              <a:gd name="connsiteY17" fmla="*/ 2470798 h 2599902"/>
              <a:gd name="connsiteX18" fmla="*/ 472060 w 685453"/>
              <a:gd name="connsiteY18" fmla="*/ 2584562 h 2599902"/>
              <a:gd name="connsiteX19" fmla="*/ 363364 w 685453"/>
              <a:gd name="connsiteY19" fmla="*/ 2562838 h 2599902"/>
              <a:gd name="connsiteX20" fmla="*/ 404240 w 685453"/>
              <a:gd name="connsiteY20" fmla="*/ 2416207 h 2599902"/>
              <a:gd name="connsiteX21" fmla="*/ 387164 w 685453"/>
              <a:gd name="connsiteY21" fmla="*/ 2279706 h 2599902"/>
              <a:gd name="connsiteX22" fmla="*/ 322488 w 685453"/>
              <a:gd name="connsiteY22" fmla="*/ 2180773 h 2599902"/>
              <a:gd name="connsiteX0" fmla="*/ 322488 w 685453"/>
              <a:gd name="connsiteY0" fmla="*/ 2180773 h 2599902"/>
              <a:gd name="connsiteX1" fmla="*/ 254248 w 685453"/>
              <a:gd name="connsiteY1" fmla="*/ 2255907 h 2599902"/>
              <a:gd name="connsiteX2" fmla="*/ 209776 w 685453"/>
              <a:gd name="connsiteY2" fmla="*/ 2375288 h 2599902"/>
              <a:gd name="connsiteX3" fmla="*/ 216618 w 685453"/>
              <a:gd name="connsiteY3" fmla="*/ 2474034 h 2599902"/>
              <a:gd name="connsiteX4" fmla="*/ 226853 w 685453"/>
              <a:gd name="connsiteY4" fmla="*/ 2576582 h 2599902"/>
              <a:gd name="connsiteX5" fmla="*/ 72275 w 685453"/>
              <a:gd name="connsiteY5" fmla="*/ 2562934 h 2599902"/>
              <a:gd name="connsiteX6" fmla="*/ 16169 w 685453"/>
              <a:gd name="connsiteY6" fmla="*/ 2403549 h 2599902"/>
              <a:gd name="connsiteX7" fmla="*/ 169288 w 685453"/>
              <a:gd name="connsiteY7" fmla="*/ 2041082 h 2599902"/>
              <a:gd name="connsiteX8" fmla="*/ 287663 w 685453"/>
              <a:gd name="connsiteY8" fmla="*/ 1593518 h 2599902"/>
              <a:gd name="connsiteX9" fmla="*/ 392498 w 685453"/>
              <a:gd name="connsiteY9" fmla="*/ 989639 h 2599902"/>
              <a:gd name="connsiteX10" fmla="*/ 500911 w 685453"/>
              <a:gd name="connsiteY10" fmla="*/ 273629 h 2599902"/>
              <a:gd name="connsiteX11" fmla="*/ 538594 w 685453"/>
              <a:gd name="connsiteY11" fmla="*/ 3633 h 2599902"/>
              <a:gd name="connsiteX12" fmla="*/ 685453 w 685453"/>
              <a:gd name="connsiteY12" fmla="*/ 5919 h 2599902"/>
              <a:gd name="connsiteX13" fmla="*/ 623615 w 685453"/>
              <a:gd name="connsiteY13" fmla="*/ 472357 h 2599902"/>
              <a:gd name="connsiteX14" fmla="*/ 496449 w 685453"/>
              <a:gd name="connsiteY14" fmla="*/ 1617860 h 2599902"/>
              <a:gd name="connsiteX15" fmla="*/ 493019 w 685453"/>
              <a:gd name="connsiteY15" fmla="*/ 2040870 h 2599902"/>
              <a:gd name="connsiteX16" fmla="*/ 531928 w 685453"/>
              <a:gd name="connsiteY16" fmla="*/ 2277699 h 2599902"/>
              <a:gd name="connsiteX17" fmla="*/ 591980 w 685453"/>
              <a:gd name="connsiteY17" fmla="*/ 2470798 h 2599902"/>
              <a:gd name="connsiteX18" fmla="*/ 472060 w 685453"/>
              <a:gd name="connsiteY18" fmla="*/ 2584562 h 2599902"/>
              <a:gd name="connsiteX19" fmla="*/ 363364 w 685453"/>
              <a:gd name="connsiteY19" fmla="*/ 2562838 h 2599902"/>
              <a:gd name="connsiteX20" fmla="*/ 404240 w 685453"/>
              <a:gd name="connsiteY20" fmla="*/ 2416207 h 2599902"/>
              <a:gd name="connsiteX21" fmla="*/ 387164 w 685453"/>
              <a:gd name="connsiteY21" fmla="*/ 2279706 h 2599902"/>
              <a:gd name="connsiteX22" fmla="*/ 322488 w 685453"/>
              <a:gd name="connsiteY22" fmla="*/ 2180773 h 2599902"/>
              <a:gd name="connsiteX0" fmla="*/ 314150 w 685453"/>
              <a:gd name="connsiteY0" fmla="*/ 2256828 h 2599902"/>
              <a:gd name="connsiteX1" fmla="*/ 254248 w 685453"/>
              <a:gd name="connsiteY1" fmla="*/ 2255907 h 2599902"/>
              <a:gd name="connsiteX2" fmla="*/ 209776 w 685453"/>
              <a:gd name="connsiteY2" fmla="*/ 2375288 h 2599902"/>
              <a:gd name="connsiteX3" fmla="*/ 216618 w 685453"/>
              <a:gd name="connsiteY3" fmla="*/ 2474034 h 2599902"/>
              <a:gd name="connsiteX4" fmla="*/ 226853 w 685453"/>
              <a:gd name="connsiteY4" fmla="*/ 2576582 h 2599902"/>
              <a:gd name="connsiteX5" fmla="*/ 72275 w 685453"/>
              <a:gd name="connsiteY5" fmla="*/ 2562934 h 2599902"/>
              <a:gd name="connsiteX6" fmla="*/ 16169 w 685453"/>
              <a:gd name="connsiteY6" fmla="*/ 2403549 h 2599902"/>
              <a:gd name="connsiteX7" fmla="*/ 169288 w 685453"/>
              <a:gd name="connsiteY7" fmla="*/ 2041082 h 2599902"/>
              <a:gd name="connsiteX8" fmla="*/ 287663 w 685453"/>
              <a:gd name="connsiteY8" fmla="*/ 1593518 h 2599902"/>
              <a:gd name="connsiteX9" fmla="*/ 392498 w 685453"/>
              <a:gd name="connsiteY9" fmla="*/ 989639 h 2599902"/>
              <a:gd name="connsiteX10" fmla="*/ 500911 w 685453"/>
              <a:gd name="connsiteY10" fmla="*/ 273629 h 2599902"/>
              <a:gd name="connsiteX11" fmla="*/ 538594 w 685453"/>
              <a:gd name="connsiteY11" fmla="*/ 3633 h 2599902"/>
              <a:gd name="connsiteX12" fmla="*/ 685453 w 685453"/>
              <a:gd name="connsiteY12" fmla="*/ 5919 h 2599902"/>
              <a:gd name="connsiteX13" fmla="*/ 623615 w 685453"/>
              <a:gd name="connsiteY13" fmla="*/ 472357 h 2599902"/>
              <a:gd name="connsiteX14" fmla="*/ 496449 w 685453"/>
              <a:gd name="connsiteY14" fmla="*/ 1617860 h 2599902"/>
              <a:gd name="connsiteX15" fmla="*/ 493019 w 685453"/>
              <a:gd name="connsiteY15" fmla="*/ 2040870 h 2599902"/>
              <a:gd name="connsiteX16" fmla="*/ 531928 w 685453"/>
              <a:gd name="connsiteY16" fmla="*/ 2277699 h 2599902"/>
              <a:gd name="connsiteX17" fmla="*/ 591980 w 685453"/>
              <a:gd name="connsiteY17" fmla="*/ 2470798 h 2599902"/>
              <a:gd name="connsiteX18" fmla="*/ 472060 w 685453"/>
              <a:gd name="connsiteY18" fmla="*/ 2584562 h 2599902"/>
              <a:gd name="connsiteX19" fmla="*/ 363364 w 685453"/>
              <a:gd name="connsiteY19" fmla="*/ 2562838 h 2599902"/>
              <a:gd name="connsiteX20" fmla="*/ 404240 w 685453"/>
              <a:gd name="connsiteY20" fmla="*/ 2416207 h 2599902"/>
              <a:gd name="connsiteX21" fmla="*/ 387164 w 685453"/>
              <a:gd name="connsiteY21" fmla="*/ 2279706 h 2599902"/>
              <a:gd name="connsiteX22" fmla="*/ 314150 w 685453"/>
              <a:gd name="connsiteY22" fmla="*/ 2256828 h 2599902"/>
              <a:gd name="connsiteX0" fmla="*/ 314150 w 685453"/>
              <a:gd name="connsiteY0" fmla="*/ 2256828 h 2599902"/>
              <a:gd name="connsiteX1" fmla="*/ 209776 w 685453"/>
              <a:gd name="connsiteY1" fmla="*/ 2375288 h 2599902"/>
              <a:gd name="connsiteX2" fmla="*/ 216618 w 685453"/>
              <a:gd name="connsiteY2" fmla="*/ 2474034 h 2599902"/>
              <a:gd name="connsiteX3" fmla="*/ 226853 w 685453"/>
              <a:gd name="connsiteY3" fmla="*/ 2576582 h 2599902"/>
              <a:gd name="connsiteX4" fmla="*/ 72275 w 685453"/>
              <a:gd name="connsiteY4" fmla="*/ 2562934 h 2599902"/>
              <a:gd name="connsiteX5" fmla="*/ 16169 w 685453"/>
              <a:gd name="connsiteY5" fmla="*/ 2403549 h 2599902"/>
              <a:gd name="connsiteX6" fmla="*/ 169288 w 685453"/>
              <a:gd name="connsiteY6" fmla="*/ 2041082 h 2599902"/>
              <a:gd name="connsiteX7" fmla="*/ 287663 w 685453"/>
              <a:gd name="connsiteY7" fmla="*/ 1593518 h 2599902"/>
              <a:gd name="connsiteX8" fmla="*/ 392498 w 685453"/>
              <a:gd name="connsiteY8" fmla="*/ 989639 h 2599902"/>
              <a:gd name="connsiteX9" fmla="*/ 500911 w 685453"/>
              <a:gd name="connsiteY9" fmla="*/ 273629 h 2599902"/>
              <a:gd name="connsiteX10" fmla="*/ 538594 w 685453"/>
              <a:gd name="connsiteY10" fmla="*/ 3633 h 2599902"/>
              <a:gd name="connsiteX11" fmla="*/ 685453 w 685453"/>
              <a:gd name="connsiteY11" fmla="*/ 5919 h 2599902"/>
              <a:gd name="connsiteX12" fmla="*/ 623615 w 685453"/>
              <a:gd name="connsiteY12" fmla="*/ 472357 h 2599902"/>
              <a:gd name="connsiteX13" fmla="*/ 496449 w 685453"/>
              <a:gd name="connsiteY13" fmla="*/ 1617860 h 2599902"/>
              <a:gd name="connsiteX14" fmla="*/ 493019 w 685453"/>
              <a:gd name="connsiteY14" fmla="*/ 2040870 h 2599902"/>
              <a:gd name="connsiteX15" fmla="*/ 531928 w 685453"/>
              <a:gd name="connsiteY15" fmla="*/ 2277699 h 2599902"/>
              <a:gd name="connsiteX16" fmla="*/ 591980 w 685453"/>
              <a:gd name="connsiteY16" fmla="*/ 2470798 h 2599902"/>
              <a:gd name="connsiteX17" fmla="*/ 472060 w 685453"/>
              <a:gd name="connsiteY17" fmla="*/ 2584562 h 2599902"/>
              <a:gd name="connsiteX18" fmla="*/ 363364 w 685453"/>
              <a:gd name="connsiteY18" fmla="*/ 2562838 h 2599902"/>
              <a:gd name="connsiteX19" fmla="*/ 404240 w 685453"/>
              <a:gd name="connsiteY19" fmla="*/ 2416207 h 2599902"/>
              <a:gd name="connsiteX20" fmla="*/ 387164 w 685453"/>
              <a:gd name="connsiteY20" fmla="*/ 2279706 h 2599902"/>
              <a:gd name="connsiteX21" fmla="*/ 314150 w 685453"/>
              <a:gd name="connsiteY21" fmla="*/ 2256828 h 2599902"/>
              <a:gd name="connsiteX0" fmla="*/ 314150 w 685453"/>
              <a:gd name="connsiteY0" fmla="*/ 2256828 h 2599902"/>
              <a:gd name="connsiteX1" fmla="*/ 209776 w 685453"/>
              <a:gd name="connsiteY1" fmla="*/ 2375288 h 2599902"/>
              <a:gd name="connsiteX2" fmla="*/ 216618 w 685453"/>
              <a:gd name="connsiteY2" fmla="*/ 2474034 h 2599902"/>
              <a:gd name="connsiteX3" fmla="*/ 226853 w 685453"/>
              <a:gd name="connsiteY3" fmla="*/ 2576582 h 2599902"/>
              <a:gd name="connsiteX4" fmla="*/ 72275 w 685453"/>
              <a:gd name="connsiteY4" fmla="*/ 2562934 h 2599902"/>
              <a:gd name="connsiteX5" fmla="*/ 16169 w 685453"/>
              <a:gd name="connsiteY5" fmla="*/ 2403549 h 2599902"/>
              <a:gd name="connsiteX6" fmla="*/ 169288 w 685453"/>
              <a:gd name="connsiteY6" fmla="*/ 2041082 h 2599902"/>
              <a:gd name="connsiteX7" fmla="*/ 287663 w 685453"/>
              <a:gd name="connsiteY7" fmla="*/ 1593518 h 2599902"/>
              <a:gd name="connsiteX8" fmla="*/ 392498 w 685453"/>
              <a:gd name="connsiteY8" fmla="*/ 989639 h 2599902"/>
              <a:gd name="connsiteX9" fmla="*/ 500911 w 685453"/>
              <a:gd name="connsiteY9" fmla="*/ 273629 h 2599902"/>
              <a:gd name="connsiteX10" fmla="*/ 538594 w 685453"/>
              <a:gd name="connsiteY10" fmla="*/ 3633 h 2599902"/>
              <a:gd name="connsiteX11" fmla="*/ 685453 w 685453"/>
              <a:gd name="connsiteY11" fmla="*/ 5919 h 2599902"/>
              <a:gd name="connsiteX12" fmla="*/ 623615 w 685453"/>
              <a:gd name="connsiteY12" fmla="*/ 472357 h 2599902"/>
              <a:gd name="connsiteX13" fmla="*/ 496449 w 685453"/>
              <a:gd name="connsiteY13" fmla="*/ 1617860 h 2599902"/>
              <a:gd name="connsiteX14" fmla="*/ 493019 w 685453"/>
              <a:gd name="connsiteY14" fmla="*/ 2040870 h 2599902"/>
              <a:gd name="connsiteX15" fmla="*/ 531928 w 685453"/>
              <a:gd name="connsiteY15" fmla="*/ 2277699 h 2599902"/>
              <a:gd name="connsiteX16" fmla="*/ 591980 w 685453"/>
              <a:gd name="connsiteY16" fmla="*/ 2470798 h 2599902"/>
              <a:gd name="connsiteX17" fmla="*/ 472060 w 685453"/>
              <a:gd name="connsiteY17" fmla="*/ 2584562 h 2599902"/>
              <a:gd name="connsiteX18" fmla="*/ 363364 w 685453"/>
              <a:gd name="connsiteY18" fmla="*/ 2562838 h 2599902"/>
              <a:gd name="connsiteX19" fmla="*/ 404240 w 685453"/>
              <a:gd name="connsiteY19" fmla="*/ 2416207 h 2599902"/>
              <a:gd name="connsiteX20" fmla="*/ 376047 w 685453"/>
              <a:gd name="connsiteY20" fmla="*/ 2309283 h 2599902"/>
              <a:gd name="connsiteX21" fmla="*/ 314150 w 685453"/>
              <a:gd name="connsiteY21" fmla="*/ 2256828 h 2599902"/>
              <a:gd name="connsiteX0" fmla="*/ 303034 w 685453"/>
              <a:gd name="connsiteY0" fmla="*/ 2256828 h 2599902"/>
              <a:gd name="connsiteX1" fmla="*/ 209776 w 685453"/>
              <a:gd name="connsiteY1" fmla="*/ 2375288 h 2599902"/>
              <a:gd name="connsiteX2" fmla="*/ 216618 w 685453"/>
              <a:gd name="connsiteY2" fmla="*/ 2474034 h 2599902"/>
              <a:gd name="connsiteX3" fmla="*/ 226853 w 685453"/>
              <a:gd name="connsiteY3" fmla="*/ 2576582 h 2599902"/>
              <a:gd name="connsiteX4" fmla="*/ 72275 w 685453"/>
              <a:gd name="connsiteY4" fmla="*/ 2562934 h 2599902"/>
              <a:gd name="connsiteX5" fmla="*/ 16169 w 685453"/>
              <a:gd name="connsiteY5" fmla="*/ 2403549 h 2599902"/>
              <a:gd name="connsiteX6" fmla="*/ 169288 w 685453"/>
              <a:gd name="connsiteY6" fmla="*/ 2041082 h 2599902"/>
              <a:gd name="connsiteX7" fmla="*/ 287663 w 685453"/>
              <a:gd name="connsiteY7" fmla="*/ 1593518 h 2599902"/>
              <a:gd name="connsiteX8" fmla="*/ 392498 w 685453"/>
              <a:gd name="connsiteY8" fmla="*/ 989639 h 2599902"/>
              <a:gd name="connsiteX9" fmla="*/ 500911 w 685453"/>
              <a:gd name="connsiteY9" fmla="*/ 273629 h 2599902"/>
              <a:gd name="connsiteX10" fmla="*/ 538594 w 685453"/>
              <a:gd name="connsiteY10" fmla="*/ 3633 h 2599902"/>
              <a:gd name="connsiteX11" fmla="*/ 685453 w 685453"/>
              <a:gd name="connsiteY11" fmla="*/ 5919 h 2599902"/>
              <a:gd name="connsiteX12" fmla="*/ 623615 w 685453"/>
              <a:gd name="connsiteY12" fmla="*/ 472357 h 2599902"/>
              <a:gd name="connsiteX13" fmla="*/ 496449 w 685453"/>
              <a:gd name="connsiteY13" fmla="*/ 1617860 h 2599902"/>
              <a:gd name="connsiteX14" fmla="*/ 493019 w 685453"/>
              <a:gd name="connsiteY14" fmla="*/ 2040870 h 2599902"/>
              <a:gd name="connsiteX15" fmla="*/ 531928 w 685453"/>
              <a:gd name="connsiteY15" fmla="*/ 2277699 h 2599902"/>
              <a:gd name="connsiteX16" fmla="*/ 591980 w 685453"/>
              <a:gd name="connsiteY16" fmla="*/ 2470798 h 2599902"/>
              <a:gd name="connsiteX17" fmla="*/ 472060 w 685453"/>
              <a:gd name="connsiteY17" fmla="*/ 2584562 h 2599902"/>
              <a:gd name="connsiteX18" fmla="*/ 363364 w 685453"/>
              <a:gd name="connsiteY18" fmla="*/ 2562838 h 2599902"/>
              <a:gd name="connsiteX19" fmla="*/ 404240 w 685453"/>
              <a:gd name="connsiteY19" fmla="*/ 2416207 h 2599902"/>
              <a:gd name="connsiteX20" fmla="*/ 376047 w 685453"/>
              <a:gd name="connsiteY20" fmla="*/ 2309283 h 2599902"/>
              <a:gd name="connsiteX21" fmla="*/ 303034 w 685453"/>
              <a:gd name="connsiteY21" fmla="*/ 2256828 h 2599902"/>
              <a:gd name="connsiteX0" fmla="*/ 303034 w 685453"/>
              <a:gd name="connsiteY0" fmla="*/ 2256828 h 2599902"/>
              <a:gd name="connsiteX1" fmla="*/ 209776 w 685453"/>
              <a:gd name="connsiteY1" fmla="*/ 2375288 h 2599902"/>
              <a:gd name="connsiteX2" fmla="*/ 216618 w 685453"/>
              <a:gd name="connsiteY2" fmla="*/ 2474034 h 2599902"/>
              <a:gd name="connsiteX3" fmla="*/ 226853 w 685453"/>
              <a:gd name="connsiteY3" fmla="*/ 2576582 h 2599902"/>
              <a:gd name="connsiteX4" fmla="*/ 72275 w 685453"/>
              <a:gd name="connsiteY4" fmla="*/ 2562934 h 2599902"/>
              <a:gd name="connsiteX5" fmla="*/ 16169 w 685453"/>
              <a:gd name="connsiteY5" fmla="*/ 2403549 h 2599902"/>
              <a:gd name="connsiteX6" fmla="*/ 169288 w 685453"/>
              <a:gd name="connsiteY6" fmla="*/ 2041082 h 2599902"/>
              <a:gd name="connsiteX7" fmla="*/ 287663 w 685453"/>
              <a:gd name="connsiteY7" fmla="*/ 1593518 h 2599902"/>
              <a:gd name="connsiteX8" fmla="*/ 392498 w 685453"/>
              <a:gd name="connsiteY8" fmla="*/ 989639 h 2599902"/>
              <a:gd name="connsiteX9" fmla="*/ 500911 w 685453"/>
              <a:gd name="connsiteY9" fmla="*/ 273629 h 2599902"/>
              <a:gd name="connsiteX10" fmla="*/ 538594 w 685453"/>
              <a:gd name="connsiteY10" fmla="*/ 3633 h 2599902"/>
              <a:gd name="connsiteX11" fmla="*/ 685453 w 685453"/>
              <a:gd name="connsiteY11" fmla="*/ 5919 h 2599902"/>
              <a:gd name="connsiteX12" fmla="*/ 623615 w 685453"/>
              <a:gd name="connsiteY12" fmla="*/ 472357 h 2599902"/>
              <a:gd name="connsiteX13" fmla="*/ 496449 w 685453"/>
              <a:gd name="connsiteY13" fmla="*/ 1617860 h 2599902"/>
              <a:gd name="connsiteX14" fmla="*/ 493019 w 685453"/>
              <a:gd name="connsiteY14" fmla="*/ 2040870 h 2599902"/>
              <a:gd name="connsiteX15" fmla="*/ 531928 w 685453"/>
              <a:gd name="connsiteY15" fmla="*/ 2277699 h 2599902"/>
              <a:gd name="connsiteX16" fmla="*/ 591980 w 685453"/>
              <a:gd name="connsiteY16" fmla="*/ 2470798 h 2599902"/>
              <a:gd name="connsiteX17" fmla="*/ 472060 w 685453"/>
              <a:gd name="connsiteY17" fmla="*/ 2584562 h 2599902"/>
              <a:gd name="connsiteX18" fmla="*/ 363364 w 685453"/>
              <a:gd name="connsiteY18" fmla="*/ 2562838 h 2599902"/>
              <a:gd name="connsiteX19" fmla="*/ 404240 w 685453"/>
              <a:gd name="connsiteY19" fmla="*/ 2416207 h 2599902"/>
              <a:gd name="connsiteX20" fmla="*/ 376047 w 685453"/>
              <a:gd name="connsiteY20" fmla="*/ 2309283 h 2599902"/>
              <a:gd name="connsiteX21" fmla="*/ 303034 w 685453"/>
              <a:gd name="connsiteY21" fmla="*/ 2256828 h 2599902"/>
              <a:gd name="connsiteX0" fmla="*/ 303034 w 685453"/>
              <a:gd name="connsiteY0" fmla="*/ 2256828 h 2599902"/>
              <a:gd name="connsiteX1" fmla="*/ 209776 w 685453"/>
              <a:gd name="connsiteY1" fmla="*/ 2375288 h 2599902"/>
              <a:gd name="connsiteX2" fmla="*/ 216618 w 685453"/>
              <a:gd name="connsiteY2" fmla="*/ 2474034 h 2599902"/>
              <a:gd name="connsiteX3" fmla="*/ 226853 w 685453"/>
              <a:gd name="connsiteY3" fmla="*/ 2576582 h 2599902"/>
              <a:gd name="connsiteX4" fmla="*/ 72275 w 685453"/>
              <a:gd name="connsiteY4" fmla="*/ 2562934 h 2599902"/>
              <a:gd name="connsiteX5" fmla="*/ 16169 w 685453"/>
              <a:gd name="connsiteY5" fmla="*/ 2403549 h 2599902"/>
              <a:gd name="connsiteX6" fmla="*/ 169288 w 685453"/>
              <a:gd name="connsiteY6" fmla="*/ 2041082 h 2599902"/>
              <a:gd name="connsiteX7" fmla="*/ 287663 w 685453"/>
              <a:gd name="connsiteY7" fmla="*/ 1593518 h 2599902"/>
              <a:gd name="connsiteX8" fmla="*/ 392498 w 685453"/>
              <a:gd name="connsiteY8" fmla="*/ 989639 h 2599902"/>
              <a:gd name="connsiteX9" fmla="*/ 500911 w 685453"/>
              <a:gd name="connsiteY9" fmla="*/ 273629 h 2599902"/>
              <a:gd name="connsiteX10" fmla="*/ 538594 w 685453"/>
              <a:gd name="connsiteY10" fmla="*/ 3633 h 2599902"/>
              <a:gd name="connsiteX11" fmla="*/ 685453 w 685453"/>
              <a:gd name="connsiteY11" fmla="*/ 5919 h 2599902"/>
              <a:gd name="connsiteX12" fmla="*/ 623615 w 685453"/>
              <a:gd name="connsiteY12" fmla="*/ 472357 h 2599902"/>
              <a:gd name="connsiteX13" fmla="*/ 496449 w 685453"/>
              <a:gd name="connsiteY13" fmla="*/ 1617860 h 2599902"/>
              <a:gd name="connsiteX14" fmla="*/ 493019 w 685453"/>
              <a:gd name="connsiteY14" fmla="*/ 2040870 h 2599902"/>
              <a:gd name="connsiteX15" fmla="*/ 531928 w 685453"/>
              <a:gd name="connsiteY15" fmla="*/ 2277699 h 2599902"/>
              <a:gd name="connsiteX16" fmla="*/ 591980 w 685453"/>
              <a:gd name="connsiteY16" fmla="*/ 2470798 h 2599902"/>
              <a:gd name="connsiteX17" fmla="*/ 472060 w 685453"/>
              <a:gd name="connsiteY17" fmla="*/ 2584562 h 2599902"/>
              <a:gd name="connsiteX18" fmla="*/ 363364 w 685453"/>
              <a:gd name="connsiteY18" fmla="*/ 2562838 h 2599902"/>
              <a:gd name="connsiteX19" fmla="*/ 404240 w 685453"/>
              <a:gd name="connsiteY19" fmla="*/ 2416207 h 2599902"/>
              <a:gd name="connsiteX20" fmla="*/ 376047 w 685453"/>
              <a:gd name="connsiteY20" fmla="*/ 2309283 h 2599902"/>
              <a:gd name="connsiteX21" fmla="*/ 303034 w 685453"/>
              <a:gd name="connsiteY21" fmla="*/ 2256828 h 2599902"/>
              <a:gd name="connsiteX0" fmla="*/ 303034 w 685453"/>
              <a:gd name="connsiteY0" fmla="*/ 2256828 h 2599902"/>
              <a:gd name="connsiteX1" fmla="*/ 209776 w 685453"/>
              <a:gd name="connsiteY1" fmla="*/ 2375288 h 2599902"/>
              <a:gd name="connsiteX2" fmla="*/ 216618 w 685453"/>
              <a:gd name="connsiteY2" fmla="*/ 2474034 h 2599902"/>
              <a:gd name="connsiteX3" fmla="*/ 226853 w 685453"/>
              <a:gd name="connsiteY3" fmla="*/ 2576582 h 2599902"/>
              <a:gd name="connsiteX4" fmla="*/ 72275 w 685453"/>
              <a:gd name="connsiteY4" fmla="*/ 2562934 h 2599902"/>
              <a:gd name="connsiteX5" fmla="*/ 16169 w 685453"/>
              <a:gd name="connsiteY5" fmla="*/ 2403549 h 2599902"/>
              <a:gd name="connsiteX6" fmla="*/ 169288 w 685453"/>
              <a:gd name="connsiteY6" fmla="*/ 2041082 h 2599902"/>
              <a:gd name="connsiteX7" fmla="*/ 287663 w 685453"/>
              <a:gd name="connsiteY7" fmla="*/ 1593518 h 2599902"/>
              <a:gd name="connsiteX8" fmla="*/ 392498 w 685453"/>
              <a:gd name="connsiteY8" fmla="*/ 989639 h 2599902"/>
              <a:gd name="connsiteX9" fmla="*/ 500911 w 685453"/>
              <a:gd name="connsiteY9" fmla="*/ 273629 h 2599902"/>
              <a:gd name="connsiteX10" fmla="*/ 538594 w 685453"/>
              <a:gd name="connsiteY10" fmla="*/ 3633 h 2599902"/>
              <a:gd name="connsiteX11" fmla="*/ 685453 w 685453"/>
              <a:gd name="connsiteY11" fmla="*/ 5919 h 2599902"/>
              <a:gd name="connsiteX12" fmla="*/ 623615 w 685453"/>
              <a:gd name="connsiteY12" fmla="*/ 472357 h 2599902"/>
              <a:gd name="connsiteX13" fmla="*/ 496449 w 685453"/>
              <a:gd name="connsiteY13" fmla="*/ 1617860 h 2599902"/>
              <a:gd name="connsiteX14" fmla="*/ 493019 w 685453"/>
              <a:gd name="connsiteY14" fmla="*/ 2040870 h 2599902"/>
              <a:gd name="connsiteX15" fmla="*/ 531928 w 685453"/>
              <a:gd name="connsiteY15" fmla="*/ 2277699 h 2599902"/>
              <a:gd name="connsiteX16" fmla="*/ 591980 w 685453"/>
              <a:gd name="connsiteY16" fmla="*/ 2470798 h 2599902"/>
              <a:gd name="connsiteX17" fmla="*/ 472060 w 685453"/>
              <a:gd name="connsiteY17" fmla="*/ 2584562 h 2599902"/>
              <a:gd name="connsiteX18" fmla="*/ 363364 w 685453"/>
              <a:gd name="connsiteY18" fmla="*/ 2562838 h 2599902"/>
              <a:gd name="connsiteX19" fmla="*/ 409799 w 685453"/>
              <a:gd name="connsiteY19" fmla="*/ 2433108 h 2599902"/>
              <a:gd name="connsiteX20" fmla="*/ 376047 w 685453"/>
              <a:gd name="connsiteY20" fmla="*/ 2309283 h 2599902"/>
              <a:gd name="connsiteX21" fmla="*/ 303034 w 685453"/>
              <a:gd name="connsiteY21" fmla="*/ 2256828 h 2599902"/>
              <a:gd name="connsiteX0" fmla="*/ 303034 w 685453"/>
              <a:gd name="connsiteY0" fmla="*/ 2256828 h 2602367"/>
              <a:gd name="connsiteX1" fmla="*/ 209776 w 685453"/>
              <a:gd name="connsiteY1" fmla="*/ 2375288 h 2602367"/>
              <a:gd name="connsiteX2" fmla="*/ 216618 w 685453"/>
              <a:gd name="connsiteY2" fmla="*/ 2474034 h 2602367"/>
              <a:gd name="connsiteX3" fmla="*/ 226853 w 685453"/>
              <a:gd name="connsiteY3" fmla="*/ 2576582 h 2602367"/>
              <a:gd name="connsiteX4" fmla="*/ 72275 w 685453"/>
              <a:gd name="connsiteY4" fmla="*/ 2562934 h 2602367"/>
              <a:gd name="connsiteX5" fmla="*/ 16169 w 685453"/>
              <a:gd name="connsiteY5" fmla="*/ 2403549 h 2602367"/>
              <a:gd name="connsiteX6" fmla="*/ 169288 w 685453"/>
              <a:gd name="connsiteY6" fmla="*/ 2041082 h 2602367"/>
              <a:gd name="connsiteX7" fmla="*/ 287663 w 685453"/>
              <a:gd name="connsiteY7" fmla="*/ 1593518 h 2602367"/>
              <a:gd name="connsiteX8" fmla="*/ 392498 w 685453"/>
              <a:gd name="connsiteY8" fmla="*/ 989639 h 2602367"/>
              <a:gd name="connsiteX9" fmla="*/ 500911 w 685453"/>
              <a:gd name="connsiteY9" fmla="*/ 273629 h 2602367"/>
              <a:gd name="connsiteX10" fmla="*/ 538594 w 685453"/>
              <a:gd name="connsiteY10" fmla="*/ 3633 h 2602367"/>
              <a:gd name="connsiteX11" fmla="*/ 685453 w 685453"/>
              <a:gd name="connsiteY11" fmla="*/ 5919 h 2602367"/>
              <a:gd name="connsiteX12" fmla="*/ 623615 w 685453"/>
              <a:gd name="connsiteY12" fmla="*/ 472357 h 2602367"/>
              <a:gd name="connsiteX13" fmla="*/ 496449 w 685453"/>
              <a:gd name="connsiteY13" fmla="*/ 1617860 h 2602367"/>
              <a:gd name="connsiteX14" fmla="*/ 493019 w 685453"/>
              <a:gd name="connsiteY14" fmla="*/ 2040870 h 2602367"/>
              <a:gd name="connsiteX15" fmla="*/ 531928 w 685453"/>
              <a:gd name="connsiteY15" fmla="*/ 2277699 h 2602367"/>
              <a:gd name="connsiteX16" fmla="*/ 600318 w 685453"/>
              <a:gd name="connsiteY16" fmla="*/ 2456009 h 2602367"/>
              <a:gd name="connsiteX17" fmla="*/ 472060 w 685453"/>
              <a:gd name="connsiteY17" fmla="*/ 2584562 h 2602367"/>
              <a:gd name="connsiteX18" fmla="*/ 363364 w 685453"/>
              <a:gd name="connsiteY18" fmla="*/ 2562838 h 2602367"/>
              <a:gd name="connsiteX19" fmla="*/ 409799 w 685453"/>
              <a:gd name="connsiteY19" fmla="*/ 2433108 h 2602367"/>
              <a:gd name="connsiteX20" fmla="*/ 376047 w 685453"/>
              <a:gd name="connsiteY20" fmla="*/ 2309283 h 2602367"/>
              <a:gd name="connsiteX21" fmla="*/ 303034 w 685453"/>
              <a:gd name="connsiteY21" fmla="*/ 2256828 h 2602367"/>
              <a:gd name="connsiteX0" fmla="*/ 303034 w 685453"/>
              <a:gd name="connsiteY0" fmla="*/ 2256828 h 2602367"/>
              <a:gd name="connsiteX1" fmla="*/ 209776 w 685453"/>
              <a:gd name="connsiteY1" fmla="*/ 2375288 h 2602367"/>
              <a:gd name="connsiteX2" fmla="*/ 216618 w 685453"/>
              <a:gd name="connsiteY2" fmla="*/ 2474034 h 2602367"/>
              <a:gd name="connsiteX3" fmla="*/ 226853 w 685453"/>
              <a:gd name="connsiteY3" fmla="*/ 2576582 h 2602367"/>
              <a:gd name="connsiteX4" fmla="*/ 72275 w 685453"/>
              <a:gd name="connsiteY4" fmla="*/ 2562934 h 2602367"/>
              <a:gd name="connsiteX5" fmla="*/ 16169 w 685453"/>
              <a:gd name="connsiteY5" fmla="*/ 2403549 h 2602367"/>
              <a:gd name="connsiteX6" fmla="*/ 169288 w 685453"/>
              <a:gd name="connsiteY6" fmla="*/ 2041082 h 2602367"/>
              <a:gd name="connsiteX7" fmla="*/ 287663 w 685453"/>
              <a:gd name="connsiteY7" fmla="*/ 1593518 h 2602367"/>
              <a:gd name="connsiteX8" fmla="*/ 392498 w 685453"/>
              <a:gd name="connsiteY8" fmla="*/ 989639 h 2602367"/>
              <a:gd name="connsiteX9" fmla="*/ 500911 w 685453"/>
              <a:gd name="connsiteY9" fmla="*/ 273629 h 2602367"/>
              <a:gd name="connsiteX10" fmla="*/ 538594 w 685453"/>
              <a:gd name="connsiteY10" fmla="*/ 3633 h 2602367"/>
              <a:gd name="connsiteX11" fmla="*/ 685453 w 685453"/>
              <a:gd name="connsiteY11" fmla="*/ 5919 h 2602367"/>
              <a:gd name="connsiteX12" fmla="*/ 623615 w 685453"/>
              <a:gd name="connsiteY12" fmla="*/ 472357 h 2602367"/>
              <a:gd name="connsiteX13" fmla="*/ 496449 w 685453"/>
              <a:gd name="connsiteY13" fmla="*/ 1617860 h 2602367"/>
              <a:gd name="connsiteX14" fmla="*/ 493019 w 685453"/>
              <a:gd name="connsiteY14" fmla="*/ 2040870 h 2602367"/>
              <a:gd name="connsiteX15" fmla="*/ 531928 w 685453"/>
              <a:gd name="connsiteY15" fmla="*/ 2277699 h 2602367"/>
              <a:gd name="connsiteX16" fmla="*/ 600318 w 685453"/>
              <a:gd name="connsiteY16" fmla="*/ 2456009 h 2602367"/>
              <a:gd name="connsiteX17" fmla="*/ 472060 w 685453"/>
              <a:gd name="connsiteY17" fmla="*/ 2584562 h 2602367"/>
              <a:gd name="connsiteX18" fmla="*/ 363364 w 685453"/>
              <a:gd name="connsiteY18" fmla="*/ 2562838 h 2602367"/>
              <a:gd name="connsiteX19" fmla="*/ 409799 w 685453"/>
              <a:gd name="connsiteY19" fmla="*/ 2433108 h 2602367"/>
              <a:gd name="connsiteX20" fmla="*/ 376047 w 685453"/>
              <a:gd name="connsiteY20" fmla="*/ 2309283 h 2602367"/>
              <a:gd name="connsiteX21" fmla="*/ 303034 w 685453"/>
              <a:gd name="connsiteY21" fmla="*/ 2256828 h 2602367"/>
              <a:gd name="connsiteX0" fmla="*/ 303034 w 685453"/>
              <a:gd name="connsiteY0" fmla="*/ 2256828 h 2602367"/>
              <a:gd name="connsiteX1" fmla="*/ 209776 w 685453"/>
              <a:gd name="connsiteY1" fmla="*/ 2375288 h 2602367"/>
              <a:gd name="connsiteX2" fmla="*/ 216618 w 685453"/>
              <a:gd name="connsiteY2" fmla="*/ 2474034 h 2602367"/>
              <a:gd name="connsiteX3" fmla="*/ 226853 w 685453"/>
              <a:gd name="connsiteY3" fmla="*/ 2576582 h 2602367"/>
              <a:gd name="connsiteX4" fmla="*/ 72275 w 685453"/>
              <a:gd name="connsiteY4" fmla="*/ 2562934 h 2602367"/>
              <a:gd name="connsiteX5" fmla="*/ 16169 w 685453"/>
              <a:gd name="connsiteY5" fmla="*/ 2403549 h 2602367"/>
              <a:gd name="connsiteX6" fmla="*/ 169288 w 685453"/>
              <a:gd name="connsiteY6" fmla="*/ 2053758 h 2602367"/>
              <a:gd name="connsiteX7" fmla="*/ 287663 w 685453"/>
              <a:gd name="connsiteY7" fmla="*/ 1593518 h 2602367"/>
              <a:gd name="connsiteX8" fmla="*/ 392498 w 685453"/>
              <a:gd name="connsiteY8" fmla="*/ 989639 h 2602367"/>
              <a:gd name="connsiteX9" fmla="*/ 500911 w 685453"/>
              <a:gd name="connsiteY9" fmla="*/ 273629 h 2602367"/>
              <a:gd name="connsiteX10" fmla="*/ 538594 w 685453"/>
              <a:gd name="connsiteY10" fmla="*/ 3633 h 2602367"/>
              <a:gd name="connsiteX11" fmla="*/ 685453 w 685453"/>
              <a:gd name="connsiteY11" fmla="*/ 5919 h 2602367"/>
              <a:gd name="connsiteX12" fmla="*/ 623615 w 685453"/>
              <a:gd name="connsiteY12" fmla="*/ 472357 h 2602367"/>
              <a:gd name="connsiteX13" fmla="*/ 496449 w 685453"/>
              <a:gd name="connsiteY13" fmla="*/ 1617860 h 2602367"/>
              <a:gd name="connsiteX14" fmla="*/ 493019 w 685453"/>
              <a:gd name="connsiteY14" fmla="*/ 2040870 h 2602367"/>
              <a:gd name="connsiteX15" fmla="*/ 531928 w 685453"/>
              <a:gd name="connsiteY15" fmla="*/ 2277699 h 2602367"/>
              <a:gd name="connsiteX16" fmla="*/ 600318 w 685453"/>
              <a:gd name="connsiteY16" fmla="*/ 2456009 h 2602367"/>
              <a:gd name="connsiteX17" fmla="*/ 472060 w 685453"/>
              <a:gd name="connsiteY17" fmla="*/ 2584562 h 2602367"/>
              <a:gd name="connsiteX18" fmla="*/ 363364 w 685453"/>
              <a:gd name="connsiteY18" fmla="*/ 2562838 h 2602367"/>
              <a:gd name="connsiteX19" fmla="*/ 409799 w 685453"/>
              <a:gd name="connsiteY19" fmla="*/ 2433108 h 2602367"/>
              <a:gd name="connsiteX20" fmla="*/ 376047 w 685453"/>
              <a:gd name="connsiteY20" fmla="*/ 2309283 h 2602367"/>
              <a:gd name="connsiteX21" fmla="*/ 303034 w 685453"/>
              <a:gd name="connsiteY21" fmla="*/ 2256828 h 2602367"/>
              <a:gd name="connsiteX0" fmla="*/ 314151 w 696570"/>
              <a:gd name="connsiteY0" fmla="*/ 2256828 h 2602367"/>
              <a:gd name="connsiteX1" fmla="*/ 220893 w 696570"/>
              <a:gd name="connsiteY1" fmla="*/ 2375288 h 2602367"/>
              <a:gd name="connsiteX2" fmla="*/ 227735 w 696570"/>
              <a:gd name="connsiteY2" fmla="*/ 2474034 h 2602367"/>
              <a:gd name="connsiteX3" fmla="*/ 237970 w 696570"/>
              <a:gd name="connsiteY3" fmla="*/ 2576582 h 2602367"/>
              <a:gd name="connsiteX4" fmla="*/ 83392 w 696570"/>
              <a:gd name="connsiteY4" fmla="*/ 2562934 h 2602367"/>
              <a:gd name="connsiteX5" fmla="*/ 16169 w 696570"/>
              <a:gd name="connsiteY5" fmla="*/ 2397211 h 2602367"/>
              <a:gd name="connsiteX6" fmla="*/ 180405 w 696570"/>
              <a:gd name="connsiteY6" fmla="*/ 2053758 h 2602367"/>
              <a:gd name="connsiteX7" fmla="*/ 298780 w 696570"/>
              <a:gd name="connsiteY7" fmla="*/ 1593518 h 2602367"/>
              <a:gd name="connsiteX8" fmla="*/ 403615 w 696570"/>
              <a:gd name="connsiteY8" fmla="*/ 989639 h 2602367"/>
              <a:gd name="connsiteX9" fmla="*/ 512028 w 696570"/>
              <a:gd name="connsiteY9" fmla="*/ 273629 h 2602367"/>
              <a:gd name="connsiteX10" fmla="*/ 549711 w 696570"/>
              <a:gd name="connsiteY10" fmla="*/ 3633 h 2602367"/>
              <a:gd name="connsiteX11" fmla="*/ 696570 w 696570"/>
              <a:gd name="connsiteY11" fmla="*/ 5919 h 2602367"/>
              <a:gd name="connsiteX12" fmla="*/ 634732 w 696570"/>
              <a:gd name="connsiteY12" fmla="*/ 472357 h 2602367"/>
              <a:gd name="connsiteX13" fmla="*/ 507566 w 696570"/>
              <a:gd name="connsiteY13" fmla="*/ 1617860 h 2602367"/>
              <a:gd name="connsiteX14" fmla="*/ 504136 w 696570"/>
              <a:gd name="connsiteY14" fmla="*/ 2040870 h 2602367"/>
              <a:gd name="connsiteX15" fmla="*/ 543045 w 696570"/>
              <a:gd name="connsiteY15" fmla="*/ 2277699 h 2602367"/>
              <a:gd name="connsiteX16" fmla="*/ 611435 w 696570"/>
              <a:gd name="connsiteY16" fmla="*/ 2456009 h 2602367"/>
              <a:gd name="connsiteX17" fmla="*/ 483177 w 696570"/>
              <a:gd name="connsiteY17" fmla="*/ 2584562 h 2602367"/>
              <a:gd name="connsiteX18" fmla="*/ 374481 w 696570"/>
              <a:gd name="connsiteY18" fmla="*/ 2562838 h 2602367"/>
              <a:gd name="connsiteX19" fmla="*/ 420916 w 696570"/>
              <a:gd name="connsiteY19" fmla="*/ 2433108 h 2602367"/>
              <a:gd name="connsiteX20" fmla="*/ 387164 w 696570"/>
              <a:gd name="connsiteY20" fmla="*/ 2309283 h 2602367"/>
              <a:gd name="connsiteX21" fmla="*/ 314151 w 696570"/>
              <a:gd name="connsiteY21" fmla="*/ 2256828 h 2602367"/>
              <a:gd name="connsiteX0" fmla="*/ 314151 w 696570"/>
              <a:gd name="connsiteY0" fmla="*/ 2256828 h 2602367"/>
              <a:gd name="connsiteX1" fmla="*/ 220893 w 696570"/>
              <a:gd name="connsiteY1" fmla="*/ 2375288 h 2602367"/>
              <a:gd name="connsiteX2" fmla="*/ 227735 w 696570"/>
              <a:gd name="connsiteY2" fmla="*/ 2474034 h 2602367"/>
              <a:gd name="connsiteX3" fmla="*/ 237970 w 696570"/>
              <a:gd name="connsiteY3" fmla="*/ 2576582 h 2602367"/>
              <a:gd name="connsiteX4" fmla="*/ 83392 w 696570"/>
              <a:gd name="connsiteY4" fmla="*/ 2562934 h 2602367"/>
              <a:gd name="connsiteX5" fmla="*/ 16169 w 696570"/>
              <a:gd name="connsiteY5" fmla="*/ 2397211 h 2602367"/>
              <a:gd name="connsiteX6" fmla="*/ 180405 w 696570"/>
              <a:gd name="connsiteY6" fmla="*/ 2053758 h 2602367"/>
              <a:gd name="connsiteX7" fmla="*/ 298780 w 696570"/>
              <a:gd name="connsiteY7" fmla="*/ 1593518 h 2602367"/>
              <a:gd name="connsiteX8" fmla="*/ 391881 w 696570"/>
              <a:gd name="connsiteY8" fmla="*/ 967339 h 2602367"/>
              <a:gd name="connsiteX9" fmla="*/ 512028 w 696570"/>
              <a:gd name="connsiteY9" fmla="*/ 273629 h 2602367"/>
              <a:gd name="connsiteX10" fmla="*/ 549711 w 696570"/>
              <a:gd name="connsiteY10" fmla="*/ 3633 h 2602367"/>
              <a:gd name="connsiteX11" fmla="*/ 696570 w 696570"/>
              <a:gd name="connsiteY11" fmla="*/ 5919 h 2602367"/>
              <a:gd name="connsiteX12" fmla="*/ 634732 w 696570"/>
              <a:gd name="connsiteY12" fmla="*/ 472357 h 2602367"/>
              <a:gd name="connsiteX13" fmla="*/ 507566 w 696570"/>
              <a:gd name="connsiteY13" fmla="*/ 1617860 h 2602367"/>
              <a:gd name="connsiteX14" fmla="*/ 504136 w 696570"/>
              <a:gd name="connsiteY14" fmla="*/ 2040870 h 2602367"/>
              <a:gd name="connsiteX15" fmla="*/ 543045 w 696570"/>
              <a:gd name="connsiteY15" fmla="*/ 2277699 h 2602367"/>
              <a:gd name="connsiteX16" fmla="*/ 611435 w 696570"/>
              <a:gd name="connsiteY16" fmla="*/ 2456009 h 2602367"/>
              <a:gd name="connsiteX17" fmla="*/ 483177 w 696570"/>
              <a:gd name="connsiteY17" fmla="*/ 2584562 h 2602367"/>
              <a:gd name="connsiteX18" fmla="*/ 374481 w 696570"/>
              <a:gd name="connsiteY18" fmla="*/ 2562838 h 2602367"/>
              <a:gd name="connsiteX19" fmla="*/ 420916 w 696570"/>
              <a:gd name="connsiteY19" fmla="*/ 2433108 h 2602367"/>
              <a:gd name="connsiteX20" fmla="*/ 387164 w 696570"/>
              <a:gd name="connsiteY20" fmla="*/ 2309283 h 2602367"/>
              <a:gd name="connsiteX21" fmla="*/ 314151 w 696570"/>
              <a:gd name="connsiteY21" fmla="*/ 2256828 h 2602367"/>
              <a:gd name="connsiteX0" fmla="*/ 314151 w 696570"/>
              <a:gd name="connsiteY0" fmla="*/ 2256828 h 2602367"/>
              <a:gd name="connsiteX1" fmla="*/ 220893 w 696570"/>
              <a:gd name="connsiteY1" fmla="*/ 2375288 h 2602367"/>
              <a:gd name="connsiteX2" fmla="*/ 227735 w 696570"/>
              <a:gd name="connsiteY2" fmla="*/ 2474034 h 2602367"/>
              <a:gd name="connsiteX3" fmla="*/ 237970 w 696570"/>
              <a:gd name="connsiteY3" fmla="*/ 2576582 h 2602367"/>
              <a:gd name="connsiteX4" fmla="*/ 83392 w 696570"/>
              <a:gd name="connsiteY4" fmla="*/ 2562934 h 2602367"/>
              <a:gd name="connsiteX5" fmla="*/ 16169 w 696570"/>
              <a:gd name="connsiteY5" fmla="*/ 2397211 h 2602367"/>
              <a:gd name="connsiteX6" fmla="*/ 180405 w 696570"/>
              <a:gd name="connsiteY6" fmla="*/ 2053758 h 2602367"/>
              <a:gd name="connsiteX7" fmla="*/ 298780 w 696570"/>
              <a:gd name="connsiteY7" fmla="*/ 1593518 h 2602367"/>
              <a:gd name="connsiteX8" fmla="*/ 391881 w 696570"/>
              <a:gd name="connsiteY8" fmla="*/ 967339 h 2602367"/>
              <a:gd name="connsiteX9" fmla="*/ 512028 w 696570"/>
              <a:gd name="connsiteY9" fmla="*/ 273629 h 2602367"/>
              <a:gd name="connsiteX10" fmla="*/ 549711 w 696570"/>
              <a:gd name="connsiteY10" fmla="*/ 3633 h 2602367"/>
              <a:gd name="connsiteX11" fmla="*/ 696570 w 696570"/>
              <a:gd name="connsiteY11" fmla="*/ 5919 h 2602367"/>
              <a:gd name="connsiteX12" fmla="*/ 634732 w 696570"/>
              <a:gd name="connsiteY12" fmla="*/ 472357 h 2602367"/>
              <a:gd name="connsiteX13" fmla="*/ 507566 w 696570"/>
              <a:gd name="connsiteY13" fmla="*/ 1617860 h 2602367"/>
              <a:gd name="connsiteX14" fmla="*/ 515870 w 696570"/>
              <a:gd name="connsiteY14" fmla="*/ 2031950 h 2602367"/>
              <a:gd name="connsiteX15" fmla="*/ 543045 w 696570"/>
              <a:gd name="connsiteY15" fmla="*/ 2277699 h 2602367"/>
              <a:gd name="connsiteX16" fmla="*/ 611435 w 696570"/>
              <a:gd name="connsiteY16" fmla="*/ 2456009 h 2602367"/>
              <a:gd name="connsiteX17" fmla="*/ 483177 w 696570"/>
              <a:gd name="connsiteY17" fmla="*/ 2584562 h 2602367"/>
              <a:gd name="connsiteX18" fmla="*/ 374481 w 696570"/>
              <a:gd name="connsiteY18" fmla="*/ 2562838 h 2602367"/>
              <a:gd name="connsiteX19" fmla="*/ 420916 w 696570"/>
              <a:gd name="connsiteY19" fmla="*/ 2433108 h 2602367"/>
              <a:gd name="connsiteX20" fmla="*/ 387164 w 696570"/>
              <a:gd name="connsiteY20" fmla="*/ 2309283 h 2602367"/>
              <a:gd name="connsiteX21" fmla="*/ 314151 w 696570"/>
              <a:gd name="connsiteY21" fmla="*/ 2256828 h 2602367"/>
              <a:gd name="connsiteX0" fmla="*/ 314151 w 696570"/>
              <a:gd name="connsiteY0" fmla="*/ 2256828 h 2601396"/>
              <a:gd name="connsiteX1" fmla="*/ 220893 w 696570"/>
              <a:gd name="connsiteY1" fmla="*/ 2375288 h 2601396"/>
              <a:gd name="connsiteX2" fmla="*/ 227735 w 696570"/>
              <a:gd name="connsiteY2" fmla="*/ 2474034 h 2601396"/>
              <a:gd name="connsiteX3" fmla="*/ 237970 w 696570"/>
              <a:gd name="connsiteY3" fmla="*/ 2576582 h 2601396"/>
              <a:gd name="connsiteX4" fmla="*/ 83392 w 696570"/>
              <a:gd name="connsiteY4" fmla="*/ 2562934 h 2601396"/>
              <a:gd name="connsiteX5" fmla="*/ 16169 w 696570"/>
              <a:gd name="connsiteY5" fmla="*/ 2397211 h 2601396"/>
              <a:gd name="connsiteX6" fmla="*/ 180405 w 696570"/>
              <a:gd name="connsiteY6" fmla="*/ 2053758 h 2601396"/>
              <a:gd name="connsiteX7" fmla="*/ 298780 w 696570"/>
              <a:gd name="connsiteY7" fmla="*/ 1593518 h 2601396"/>
              <a:gd name="connsiteX8" fmla="*/ 391881 w 696570"/>
              <a:gd name="connsiteY8" fmla="*/ 967339 h 2601396"/>
              <a:gd name="connsiteX9" fmla="*/ 512028 w 696570"/>
              <a:gd name="connsiteY9" fmla="*/ 273629 h 2601396"/>
              <a:gd name="connsiteX10" fmla="*/ 549711 w 696570"/>
              <a:gd name="connsiteY10" fmla="*/ 3633 h 2601396"/>
              <a:gd name="connsiteX11" fmla="*/ 696570 w 696570"/>
              <a:gd name="connsiteY11" fmla="*/ 5919 h 2601396"/>
              <a:gd name="connsiteX12" fmla="*/ 634732 w 696570"/>
              <a:gd name="connsiteY12" fmla="*/ 472357 h 2601396"/>
              <a:gd name="connsiteX13" fmla="*/ 507566 w 696570"/>
              <a:gd name="connsiteY13" fmla="*/ 1617860 h 2601396"/>
              <a:gd name="connsiteX14" fmla="*/ 515870 w 696570"/>
              <a:gd name="connsiteY14" fmla="*/ 2031950 h 2601396"/>
              <a:gd name="connsiteX15" fmla="*/ 543045 w 696570"/>
              <a:gd name="connsiteY15" fmla="*/ 2277699 h 2601396"/>
              <a:gd name="connsiteX16" fmla="*/ 642224 w 696570"/>
              <a:gd name="connsiteY16" fmla="*/ 2461836 h 2601396"/>
              <a:gd name="connsiteX17" fmla="*/ 483177 w 696570"/>
              <a:gd name="connsiteY17" fmla="*/ 2584562 h 2601396"/>
              <a:gd name="connsiteX18" fmla="*/ 374481 w 696570"/>
              <a:gd name="connsiteY18" fmla="*/ 2562838 h 2601396"/>
              <a:gd name="connsiteX19" fmla="*/ 420916 w 696570"/>
              <a:gd name="connsiteY19" fmla="*/ 2433108 h 2601396"/>
              <a:gd name="connsiteX20" fmla="*/ 387164 w 696570"/>
              <a:gd name="connsiteY20" fmla="*/ 2309283 h 2601396"/>
              <a:gd name="connsiteX21" fmla="*/ 314151 w 696570"/>
              <a:gd name="connsiteY21" fmla="*/ 2256828 h 2601396"/>
              <a:gd name="connsiteX0" fmla="*/ 314151 w 696570"/>
              <a:gd name="connsiteY0" fmla="*/ 2256828 h 2601396"/>
              <a:gd name="connsiteX1" fmla="*/ 220893 w 696570"/>
              <a:gd name="connsiteY1" fmla="*/ 2375288 h 2601396"/>
              <a:gd name="connsiteX2" fmla="*/ 227735 w 696570"/>
              <a:gd name="connsiteY2" fmla="*/ 2474034 h 2601396"/>
              <a:gd name="connsiteX3" fmla="*/ 237970 w 696570"/>
              <a:gd name="connsiteY3" fmla="*/ 2576582 h 2601396"/>
              <a:gd name="connsiteX4" fmla="*/ 83392 w 696570"/>
              <a:gd name="connsiteY4" fmla="*/ 2562934 h 2601396"/>
              <a:gd name="connsiteX5" fmla="*/ 16169 w 696570"/>
              <a:gd name="connsiteY5" fmla="*/ 2397211 h 2601396"/>
              <a:gd name="connsiteX6" fmla="*/ 180405 w 696570"/>
              <a:gd name="connsiteY6" fmla="*/ 2053758 h 2601396"/>
              <a:gd name="connsiteX7" fmla="*/ 298780 w 696570"/>
              <a:gd name="connsiteY7" fmla="*/ 1593518 h 2601396"/>
              <a:gd name="connsiteX8" fmla="*/ 391881 w 696570"/>
              <a:gd name="connsiteY8" fmla="*/ 967339 h 2601396"/>
              <a:gd name="connsiteX9" fmla="*/ 512028 w 696570"/>
              <a:gd name="connsiteY9" fmla="*/ 273629 h 2601396"/>
              <a:gd name="connsiteX10" fmla="*/ 549711 w 696570"/>
              <a:gd name="connsiteY10" fmla="*/ 3633 h 2601396"/>
              <a:gd name="connsiteX11" fmla="*/ 696570 w 696570"/>
              <a:gd name="connsiteY11" fmla="*/ 5919 h 2601396"/>
              <a:gd name="connsiteX12" fmla="*/ 634732 w 696570"/>
              <a:gd name="connsiteY12" fmla="*/ 472357 h 2601396"/>
              <a:gd name="connsiteX13" fmla="*/ 507566 w 696570"/>
              <a:gd name="connsiteY13" fmla="*/ 1617860 h 2601396"/>
              <a:gd name="connsiteX14" fmla="*/ 515870 w 696570"/>
              <a:gd name="connsiteY14" fmla="*/ 2031950 h 2601396"/>
              <a:gd name="connsiteX15" fmla="*/ 543045 w 696570"/>
              <a:gd name="connsiteY15" fmla="*/ 2277699 h 2601396"/>
              <a:gd name="connsiteX16" fmla="*/ 642224 w 696570"/>
              <a:gd name="connsiteY16" fmla="*/ 2461836 h 2601396"/>
              <a:gd name="connsiteX17" fmla="*/ 513966 w 696570"/>
              <a:gd name="connsiteY17" fmla="*/ 2584562 h 2601396"/>
              <a:gd name="connsiteX18" fmla="*/ 374481 w 696570"/>
              <a:gd name="connsiteY18" fmla="*/ 2562838 h 2601396"/>
              <a:gd name="connsiteX19" fmla="*/ 420916 w 696570"/>
              <a:gd name="connsiteY19" fmla="*/ 2433108 h 2601396"/>
              <a:gd name="connsiteX20" fmla="*/ 387164 w 696570"/>
              <a:gd name="connsiteY20" fmla="*/ 2309283 h 2601396"/>
              <a:gd name="connsiteX21" fmla="*/ 314151 w 696570"/>
              <a:gd name="connsiteY21" fmla="*/ 2256828 h 2601396"/>
              <a:gd name="connsiteX0" fmla="*/ 355203 w 737622"/>
              <a:gd name="connsiteY0" fmla="*/ 2256828 h 2601396"/>
              <a:gd name="connsiteX1" fmla="*/ 261945 w 737622"/>
              <a:gd name="connsiteY1" fmla="*/ 2375288 h 2601396"/>
              <a:gd name="connsiteX2" fmla="*/ 268787 w 737622"/>
              <a:gd name="connsiteY2" fmla="*/ 2474034 h 2601396"/>
              <a:gd name="connsiteX3" fmla="*/ 279022 w 737622"/>
              <a:gd name="connsiteY3" fmla="*/ 2576582 h 2601396"/>
              <a:gd name="connsiteX4" fmla="*/ 124444 w 737622"/>
              <a:gd name="connsiteY4" fmla="*/ 2562934 h 2601396"/>
              <a:gd name="connsiteX5" fmla="*/ 16169 w 737622"/>
              <a:gd name="connsiteY5" fmla="*/ 2397211 h 2601396"/>
              <a:gd name="connsiteX6" fmla="*/ 221457 w 737622"/>
              <a:gd name="connsiteY6" fmla="*/ 2053758 h 2601396"/>
              <a:gd name="connsiteX7" fmla="*/ 339832 w 737622"/>
              <a:gd name="connsiteY7" fmla="*/ 1593518 h 2601396"/>
              <a:gd name="connsiteX8" fmla="*/ 432933 w 737622"/>
              <a:gd name="connsiteY8" fmla="*/ 967339 h 2601396"/>
              <a:gd name="connsiteX9" fmla="*/ 553080 w 737622"/>
              <a:gd name="connsiteY9" fmla="*/ 273629 h 2601396"/>
              <a:gd name="connsiteX10" fmla="*/ 590763 w 737622"/>
              <a:gd name="connsiteY10" fmla="*/ 3633 h 2601396"/>
              <a:gd name="connsiteX11" fmla="*/ 737622 w 737622"/>
              <a:gd name="connsiteY11" fmla="*/ 5919 h 2601396"/>
              <a:gd name="connsiteX12" fmla="*/ 675784 w 737622"/>
              <a:gd name="connsiteY12" fmla="*/ 472357 h 2601396"/>
              <a:gd name="connsiteX13" fmla="*/ 548618 w 737622"/>
              <a:gd name="connsiteY13" fmla="*/ 1617860 h 2601396"/>
              <a:gd name="connsiteX14" fmla="*/ 556922 w 737622"/>
              <a:gd name="connsiteY14" fmla="*/ 2031950 h 2601396"/>
              <a:gd name="connsiteX15" fmla="*/ 584097 w 737622"/>
              <a:gd name="connsiteY15" fmla="*/ 2277699 h 2601396"/>
              <a:gd name="connsiteX16" fmla="*/ 683276 w 737622"/>
              <a:gd name="connsiteY16" fmla="*/ 2461836 h 2601396"/>
              <a:gd name="connsiteX17" fmla="*/ 555018 w 737622"/>
              <a:gd name="connsiteY17" fmla="*/ 2584562 h 2601396"/>
              <a:gd name="connsiteX18" fmla="*/ 415533 w 737622"/>
              <a:gd name="connsiteY18" fmla="*/ 2562838 h 2601396"/>
              <a:gd name="connsiteX19" fmla="*/ 461968 w 737622"/>
              <a:gd name="connsiteY19" fmla="*/ 2433108 h 2601396"/>
              <a:gd name="connsiteX20" fmla="*/ 428216 w 737622"/>
              <a:gd name="connsiteY20" fmla="*/ 2309283 h 2601396"/>
              <a:gd name="connsiteX21" fmla="*/ 355203 w 737622"/>
              <a:gd name="connsiteY21" fmla="*/ 2256828 h 2601396"/>
              <a:gd name="connsiteX0" fmla="*/ 363755 w 746174"/>
              <a:gd name="connsiteY0" fmla="*/ 2256828 h 2601396"/>
              <a:gd name="connsiteX1" fmla="*/ 270497 w 746174"/>
              <a:gd name="connsiteY1" fmla="*/ 2375288 h 2601396"/>
              <a:gd name="connsiteX2" fmla="*/ 277339 w 746174"/>
              <a:gd name="connsiteY2" fmla="*/ 2474034 h 2601396"/>
              <a:gd name="connsiteX3" fmla="*/ 287574 w 746174"/>
              <a:gd name="connsiteY3" fmla="*/ 2576582 h 2601396"/>
              <a:gd name="connsiteX4" fmla="*/ 81683 w 746174"/>
              <a:gd name="connsiteY4" fmla="*/ 2562934 h 2601396"/>
              <a:gd name="connsiteX5" fmla="*/ 24721 w 746174"/>
              <a:gd name="connsiteY5" fmla="*/ 2397211 h 2601396"/>
              <a:gd name="connsiteX6" fmla="*/ 230009 w 746174"/>
              <a:gd name="connsiteY6" fmla="*/ 2053758 h 2601396"/>
              <a:gd name="connsiteX7" fmla="*/ 348384 w 746174"/>
              <a:gd name="connsiteY7" fmla="*/ 1593518 h 2601396"/>
              <a:gd name="connsiteX8" fmla="*/ 441485 w 746174"/>
              <a:gd name="connsiteY8" fmla="*/ 967339 h 2601396"/>
              <a:gd name="connsiteX9" fmla="*/ 561632 w 746174"/>
              <a:gd name="connsiteY9" fmla="*/ 273629 h 2601396"/>
              <a:gd name="connsiteX10" fmla="*/ 599315 w 746174"/>
              <a:gd name="connsiteY10" fmla="*/ 3633 h 2601396"/>
              <a:gd name="connsiteX11" fmla="*/ 746174 w 746174"/>
              <a:gd name="connsiteY11" fmla="*/ 5919 h 2601396"/>
              <a:gd name="connsiteX12" fmla="*/ 684336 w 746174"/>
              <a:gd name="connsiteY12" fmla="*/ 472357 h 2601396"/>
              <a:gd name="connsiteX13" fmla="*/ 557170 w 746174"/>
              <a:gd name="connsiteY13" fmla="*/ 1617860 h 2601396"/>
              <a:gd name="connsiteX14" fmla="*/ 565474 w 746174"/>
              <a:gd name="connsiteY14" fmla="*/ 2031950 h 2601396"/>
              <a:gd name="connsiteX15" fmla="*/ 592649 w 746174"/>
              <a:gd name="connsiteY15" fmla="*/ 2277699 h 2601396"/>
              <a:gd name="connsiteX16" fmla="*/ 691828 w 746174"/>
              <a:gd name="connsiteY16" fmla="*/ 2461836 h 2601396"/>
              <a:gd name="connsiteX17" fmla="*/ 563570 w 746174"/>
              <a:gd name="connsiteY17" fmla="*/ 2584562 h 2601396"/>
              <a:gd name="connsiteX18" fmla="*/ 424085 w 746174"/>
              <a:gd name="connsiteY18" fmla="*/ 2562838 h 2601396"/>
              <a:gd name="connsiteX19" fmla="*/ 470520 w 746174"/>
              <a:gd name="connsiteY19" fmla="*/ 2433108 h 2601396"/>
              <a:gd name="connsiteX20" fmla="*/ 436768 w 746174"/>
              <a:gd name="connsiteY20" fmla="*/ 2309283 h 2601396"/>
              <a:gd name="connsiteX21" fmla="*/ 363755 w 746174"/>
              <a:gd name="connsiteY21" fmla="*/ 2256828 h 2601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46174" h="2601396">
                <a:moveTo>
                  <a:pt x="363755" y="2256828"/>
                </a:moveTo>
                <a:cubicBezTo>
                  <a:pt x="336043" y="2267829"/>
                  <a:pt x="284900" y="2339087"/>
                  <a:pt x="270497" y="2375288"/>
                </a:cubicBezTo>
                <a:cubicBezTo>
                  <a:pt x="256094" y="2411489"/>
                  <a:pt x="274493" y="2440485"/>
                  <a:pt x="277339" y="2474034"/>
                </a:cubicBezTo>
                <a:cubicBezTo>
                  <a:pt x="302418" y="2509696"/>
                  <a:pt x="320183" y="2561765"/>
                  <a:pt x="287574" y="2576582"/>
                </a:cubicBezTo>
                <a:cubicBezTo>
                  <a:pt x="254965" y="2591399"/>
                  <a:pt x="125492" y="2592829"/>
                  <a:pt x="81683" y="2562934"/>
                </a:cubicBezTo>
                <a:cubicBezTo>
                  <a:pt x="37874" y="2533039"/>
                  <a:pt x="0" y="2482074"/>
                  <a:pt x="24721" y="2397211"/>
                </a:cubicBezTo>
                <a:cubicBezTo>
                  <a:pt x="49442" y="2312348"/>
                  <a:pt x="176065" y="2187707"/>
                  <a:pt x="230009" y="2053758"/>
                </a:cubicBezTo>
                <a:cubicBezTo>
                  <a:pt x="283953" y="1919809"/>
                  <a:pt x="313138" y="1774588"/>
                  <a:pt x="348384" y="1593518"/>
                </a:cubicBezTo>
                <a:cubicBezTo>
                  <a:pt x="383630" y="1412448"/>
                  <a:pt x="405944" y="1187321"/>
                  <a:pt x="441485" y="967339"/>
                </a:cubicBezTo>
                <a:cubicBezTo>
                  <a:pt x="477026" y="747357"/>
                  <a:pt x="535327" y="434247"/>
                  <a:pt x="561632" y="273629"/>
                </a:cubicBezTo>
                <a:cubicBezTo>
                  <a:pt x="587937" y="113011"/>
                  <a:pt x="590514" y="62364"/>
                  <a:pt x="599315" y="3633"/>
                </a:cubicBezTo>
                <a:cubicBezTo>
                  <a:pt x="676595" y="0"/>
                  <a:pt x="683777" y="3812"/>
                  <a:pt x="746174" y="5919"/>
                </a:cubicBezTo>
                <a:cubicBezTo>
                  <a:pt x="740871" y="73603"/>
                  <a:pt x="711612" y="300037"/>
                  <a:pt x="684336" y="472357"/>
                </a:cubicBezTo>
                <a:cubicBezTo>
                  <a:pt x="663397" y="610959"/>
                  <a:pt x="576980" y="1357928"/>
                  <a:pt x="557170" y="1617860"/>
                </a:cubicBezTo>
                <a:cubicBezTo>
                  <a:pt x="537360" y="1877792"/>
                  <a:pt x="559561" y="1921977"/>
                  <a:pt x="565474" y="2031950"/>
                </a:cubicBezTo>
                <a:cubicBezTo>
                  <a:pt x="571387" y="2141923"/>
                  <a:pt x="571590" y="2206051"/>
                  <a:pt x="592649" y="2277699"/>
                </a:cubicBezTo>
                <a:cubicBezTo>
                  <a:pt x="613708" y="2349347"/>
                  <a:pt x="701806" y="2410692"/>
                  <a:pt x="691828" y="2461836"/>
                </a:cubicBezTo>
                <a:cubicBezTo>
                  <a:pt x="681850" y="2544670"/>
                  <a:pt x="608194" y="2567728"/>
                  <a:pt x="563570" y="2584562"/>
                </a:cubicBezTo>
                <a:cubicBezTo>
                  <a:pt x="518946" y="2601396"/>
                  <a:pt x="429189" y="2592975"/>
                  <a:pt x="424085" y="2562838"/>
                </a:cubicBezTo>
                <a:cubicBezTo>
                  <a:pt x="421579" y="2513589"/>
                  <a:pt x="468406" y="2475367"/>
                  <a:pt x="470520" y="2433108"/>
                </a:cubicBezTo>
                <a:cubicBezTo>
                  <a:pt x="472634" y="2390849"/>
                  <a:pt x="454562" y="2338663"/>
                  <a:pt x="436768" y="2309283"/>
                </a:cubicBezTo>
                <a:cubicBezTo>
                  <a:pt x="418974" y="2279903"/>
                  <a:pt x="391467" y="2245827"/>
                  <a:pt x="363755" y="2256828"/>
                </a:cubicBezTo>
                <a:close/>
              </a:path>
            </a:pathLst>
          </a:custGeom>
          <a:blipFill dpi="0" rotWithShape="1">
            <a:blip r:embed="rId7" cstate="print">
              <a:alphaModFix amt="59000"/>
              <a:extLst>
                <a:ext uri="{28A0092B-C50C-407E-A947-70E740481C1C}">
                  <a14:useLocalDpi xmlns:a14="http://schemas.microsoft.com/office/drawing/2010/main" val="0"/>
                </a:ext>
              </a:extLst>
            </a:blip>
            <a:srcRect/>
            <a:tile tx="165100" ty="0" sx="73000" sy="100000" flip="none" algn="tl"/>
          </a:blipFill>
          <a:ln w="9525" cap="flat" cmpd="sng" algn="ctr">
            <a:solidFill>
              <a:schemeClr val="accent6">
                <a:lumMod val="50000"/>
                <a:alpha val="10000"/>
              </a:schemeClr>
            </a:solidFill>
            <a:prstDash val="solid"/>
            <a:round/>
            <a:headEnd type="none" w="med" len="med"/>
            <a:tailEnd type="none" w="med" len="med"/>
          </a:ln>
          <a:effectLst/>
        </p:spPr>
        <p:txBody>
          <a:bodyPr/>
          <a:lstStyle/>
          <a:p>
            <a:pPr eaLnBrk="0" hangingPunct="0">
              <a:defRPr/>
            </a:pPr>
            <a:endParaRPr lang="en-US" sz="2400">
              <a:solidFill>
                <a:prstClr val="black"/>
              </a:solidFill>
              <a:latin typeface="Century Gothic Pro" panose="020B0502020202020204" pitchFamily="34" charset="0"/>
              <a:ea typeface="ヒラギノ角ゴ Pro W3" pitchFamily="48" charset="-128"/>
              <a:cs typeface="Arial" charset="0"/>
            </a:endParaRPr>
          </a:p>
        </p:txBody>
      </p:sp>
      <p:sp>
        <p:nvSpPr>
          <p:cNvPr id="78" name="Rectangle 16"/>
          <p:cNvSpPr>
            <a:spLocks noChangeArrowheads="1"/>
          </p:cNvSpPr>
          <p:nvPr/>
        </p:nvSpPr>
        <p:spPr bwMode="auto">
          <a:xfrm>
            <a:off x="6058744" y="4542436"/>
            <a:ext cx="1008112" cy="1008112"/>
          </a:xfrm>
          <a:prstGeom prst="rect">
            <a:avLst/>
          </a:prstGeom>
          <a:noFill/>
          <a:ln w="9525">
            <a:solidFill>
              <a:schemeClr val="accent5"/>
            </a:solidFill>
            <a:prstDash val="dash"/>
            <a:round/>
            <a:headEnd/>
            <a:tailEnd/>
          </a:ln>
        </p:spPr>
        <p:txBody>
          <a:bodyPr anchor="ctr"/>
          <a:lstStyle/>
          <a:p>
            <a:pPr algn="ctr"/>
            <a:endParaRPr lang="en-US">
              <a:solidFill>
                <a:prstClr val="black"/>
              </a:solidFill>
              <a:latin typeface="Century Gothic Pro" panose="020B0502020202020204" pitchFamily="34" charset="0"/>
            </a:endParaRPr>
          </a:p>
        </p:txBody>
      </p:sp>
      <p:sp>
        <p:nvSpPr>
          <p:cNvPr id="79" name="Cloud Callout 116"/>
          <p:cNvSpPr>
            <a:spLocks noChangeArrowheads="1"/>
          </p:cNvSpPr>
          <p:nvPr/>
        </p:nvSpPr>
        <p:spPr bwMode="auto">
          <a:xfrm>
            <a:off x="6202760" y="5046492"/>
            <a:ext cx="576064" cy="406152"/>
          </a:xfrm>
          <a:prstGeom prst="cloudCallout">
            <a:avLst>
              <a:gd name="adj1" fmla="val -24167"/>
              <a:gd name="adj2" fmla="val 29958"/>
            </a:avLst>
          </a:prstGeom>
          <a:solidFill>
            <a:schemeClr val="tx1">
              <a:alpha val="49000"/>
            </a:schemeClr>
          </a:solidFill>
          <a:ln w="9525" algn="ctr">
            <a:noFill/>
            <a:round/>
            <a:headEnd/>
            <a:tailEnd/>
          </a:ln>
        </p:spPr>
        <p:txBody>
          <a:bodyPr lIns="0" rIns="0" anchor="ctr"/>
          <a:lstStyle/>
          <a:p>
            <a:pPr algn="ctr" eaLnBrk="0" hangingPunct="0"/>
            <a:r>
              <a:rPr lang="fr-FR" sz="1100">
                <a:solidFill>
                  <a:prstClr val="white"/>
                </a:solidFill>
                <a:latin typeface="Century Gothic Pro" panose="020B0502020202020204" pitchFamily="34" charset="0"/>
              </a:rPr>
              <a:t>H</a:t>
            </a:r>
            <a:r>
              <a:rPr lang="fr-FR" sz="1100" baseline="-25000">
                <a:solidFill>
                  <a:prstClr val="white"/>
                </a:solidFill>
                <a:latin typeface="Century Gothic Pro" panose="020B0502020202020204" pitchFamily="34" charset="0"/>
              </a:rPr>
              <a:t>2</a:t>
            </a:r>
            <a:r>
              <a:rPr lang="fr-FR" sz="1100">
                <a:solidFill>
                  <a:prstClr val="white"/>
                </a:solidFill>
                <a:latin typeface="Century Gothic Pro" panose="020B0502020202020204" pitchFamily="34" charset="0"/>
              </a:rPr>
              <a:t>O</a:t>
            </a:r>
            <a:r>
              <a:rPr lang="fr-FR" sz="1100" baseline="-25000">
                <a:solidFill>
                  <a:prstClr val="white"/>
                </a:solidFill>
                <a:latin typeface="Century Gothic Pro" panose="020B0502020202020204" pitchFamily="34" charset="0"/>
              </a:rPr>
              <a:t>2</a:t>
            </a:r>
            <a:endParaRPr lang="en-US" sz="1100" baseline="-25000">
              <a:solidFill>
                <a:prstClr val="white"/>
              </a:solidFill>
              <a:latin typeface="Century Gothic Pro" panose="020B0502020202020204" pitchFamily="34" charset="0"/>
            </a:endParaRPr>
          </a:p>
        </p:txBody>
      </p:sp>
      <p:pic>
        <p:nvPicPr>
          <p:cNvPr id="81" name="Picture 80" descr="Dessin cheveu.jpg"/>
          <p:cNvPicPr preferRelativeResize="0">
            <a:picLocks/>
          </p:cNvPicPr>
          <p:nvPr/>
        </p:nvPicPr>
        <p:blipFill>
          <a:blip r:embed="rId8" cstate="print">
            <a:grayscl/>
            <a:extLst>
              <a:ext uri="{28A0092B-C50C-407E-A947-70E740481C1C}">
                <a14:useLocalDpi xmlns:a14="http://schemas.microsoft.com/office/drawing/2010/main" val="0"/>
              </a:ext>
            </a:extLst>
          </a:blip>
          <a:stretch>
            <a:fillRect/>
          </a:stretch>
        </p:blipFill>
        <p:spPr>
          <a:xfrm>
            <a:off x="2445021" y="2031538"/>
            <a:ext cx="1692000" cy="3600000"/>
          </a:xfrm>
          <a:prstGeom prst="roundRect">
            <a:avLst>
              <a:gd name="adj" fmla="val 0"/>
            </a:avLst>
          </a:prstGeom>
          <a:ln>
            <a:noFill/>
          </a:ln>
          <a:effectLst/>
          <a:scene3d>
            <a:camera prst="orthographicFront"/>
            <a:lightRig rig="contrasting" dir="t">
              <a:rot lat="0" lon="0" rev="4200000"/>
            </a:lightRig>
          </a:scene3d>
          <a:sp3d prstMaterial="plastic">
            <a:contourClr>
              <a:srgbClr val="969696"/>
            </a:contourClr>
          </a:sp3d>
        </p:spPr>
      </p:pic>
      <p:sp>
        <p:nvSpPr>
          <p:cNvPr id="83" name="Rectangle 16"/>
          <p:cNvSpPr>
            <a:spLocks noChangeArrowheads="1"/>
          </p:cNvSpPr>
          <p:nvPr/>
        </p:nvSpPr>
        <p:spPr bwMode="auto">
          <a:xfrm>
            <a:off x="2507297" y="4456832"/>
            <a:ext cx="1024730" cy="1008112"/>
          </a:xfrm>
          <a:prstGeom prst="rect">
            <a:avLst/>
          </a:prstGeom>
          <a:noFill/>
          <a:ln w="9525">
            <a:solidFill>
              <a:schemeClr val="accent5"/>
            </a:solidFill>
            <a:prstDash val="dash"/>
            <a:round/>
            <a:headEnd/>
            <a:tailEnd/>
          </a:ln>
        </p:spPr>
        <p:txBody>
          <a:bodyPr anchor="ctr"/>
          <a:lstStyle/>
          <a:p>
            <a:pPr algn="ctr"/>
            <a:endParaRPr lang="en-US">
              <a:solidFill>
                <a:prstClr val="black"/>
              </a:solidFill>
              <a:latin typeface="Century Gothic Pro" panose="020B0502020202020204" pitchFamily="34" charset="0"/>
            </a:endParaRPr>
          </a:p>
        </p:txBody>
      </p:sp>
      <p:sp>
        <p:nvSpPr>
          <p:cNvPr id="85" name="Teardrop 84"/>
          <p:cNvSpPr/>
          <p:nvPr/>
        </p:nvSpPr>
        <p:spPr bwMode="auto">
          <a:xfrm rot="19206493">
            <a:off x="2744307" y="4911517"/>
            <a:ext cx="481511" cy="464736"/>
          </a:xfrm>
          <a:prstGeom prst="teardrop">
            <a:avLst>
              <a:gd name="adj" fmla="val 184626"/>
            </a:avLst>
          </a:prstGeom>
          <a:noFill/>
          <a:ln>
            <a:prstDash val="sysDash"/>
            <a:headEnd/>
            <a:tailEnd/>
          </a:ln>
        </p:spPr>
        <p:style>
          <a:lnRef idx="2">
            <a:schemeClr val="dk1"/>
          </a:lnRef>
          <a:fillRef idx="1">
            <a:schemeClr val="lt1"/>
          </a:fillRef>
          <a:effectRef idx="0">
            <a:schemeClr val="dk1"/>
          </a:effectRef>
          <a:fontRef idx="minor">
            <a:schemeClr val="dk1"/>
          </a:fontRef>
        </p:style>
        <p:txBody>
          <a:bodyPr anchor="ctr"/>
          <a:lstStyle/>
          <a:p>
            <a:pPr algn="ctr" eaLnBrk="0" hangingPunct="0">
              <a:defRPr/>
            </a:pPr>
            <a:endParaRPr lang="en-US">
              <a:solidFill>
                <a:prstClr val="black"/>
              </a:solidFill>
              <a:latin typeface="Century Gothic Pro" panose="020B0502020202020204" pitchFamily="34" charset="0"/>
            </a:endParaRPr>
          </a:p>
        </p:txBody>
      </p:sp>
      <p:cxnSp>
        <p:nvCxnSpPr>
          <p:cNvPr id="86" name="Straight Arrow Connector 87"/>
          <p:cNvCxnSpPr>
            <a:cxnSpLocks noChangeShapeType="1"/>
          </p:cNvCxnSpPr>
          <p:nvPr/>
        </p:nvCxnSpPr>
        <p:spPr bwMode="auto">
          <a:xfrm flipV="1">
            <a:off x="3088695" y="3934669"/>
            <a:ext cx="30163" cy="279400"/>
          </a:xfrm>
          <a:prstGeom prst="straightConnector1">
            <a:avLst/>
          </a:prstGeom>
          <a:noFill/>
          <a:ln w="19050" algn="ctr">
            <a:solidFill>
              <a:schemeClr val="tx1"/>
            </a:solidFill>
            <a:prstDash val="dash"/>
            <a:round/>
            <a:headEnd type="none" w="sm" len="sm"/>
            <a:tailEnd type="triangle" w="sm" len="lg"/>
          </a:ln>
        </p:spPr>
      </p:cxnSp>
      <p:pic>
        <p:nvPicPr>
          <p:cNvPr id="88" name="Picture 3"/>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rot="410216">
            <a:off x="2875255" y="2899565"/>
            <a:ext cx="628467" cy="628466"/>
          </a:xfrm>
          <a:prstGeom prst="roundRect">
            <a:avLst>
              <a:gd name="adj" fmla="val 50000"/>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cxnSp>
        <p:nvCxnSpPr>
          <p:cNvPr id="89" name="Straight Arrow Connector 117"/>
          <p:cNvCxnSpPr>
            <a:cxnSpLocks noChangeShapeType="1"/>
          </p:cNvCxnSpPr>
          <p:nvPr/>
        </p:nvCxnSpPr>
        <p:spPr bwMode="auto">
          <a:xfrm flipV="1">
            <a:off x="3137077" y="2859565"/>
            <a:ext cx="84667" cy="804334"/>
          </a:xfrm>
          <a:prstGeom prst="straightConnector1">
            <a:avLst/>
          </a:prstGeom>
          <a:noFill/>
          <a:ln w="28575" algn="ctr">
            <a:solidFill>
              <a:schemeClr val="tx1"/>
            </a:solidFill>
            <a:prstDash val="sysDash"/>
            <a:round/>
            <a:headEnd/>
            <a:tailEnd type="stealth" w="lg" len="lg"/>
          </a:ln>
        </p:spPr>
      </p:cxnSp>
      <p:cxnSp>
        <p:nvCxnSpPr>
          <p:cNvPr id="90" name="Straight Arrow Connector 89"/>
          <p:cNvCxnSpPr/>
          <p:nvPr/>
        </p:nvCxnSpPr>
        <p:spPr>
          <a:xfrm flipH="1">
            <a:off x="2989215" y="4667177"/>
            <a:ext cx="238162" cy="316051"/>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110" name="TextBox 109"/>
          <p:cNvSpPr txBox="1"/>
          <p:nvPr/>
        </p:nvSpPr>
        <p:spPr>
          <a:xfrm>
            <a:off x="4887743" y="3132890"/>
            <a:ext cx="848557" cy="1528624"/>
          </a:xfrm>
          <a:prstGeom prst="rect">
            <a:avLst/>
          </a:prstGeom>
          <a:solidFill>
            <a:schemeClr val="accent1">
              <a:alpha val="89804"/>
            </a:schemeClr>
          </a:solidFill>
          <a:effectLst>
            <a:softEdge rad="63500"/>
          </a:effectLst>
        </p:spPr>
        <p:txBody>
          <a:bodyPr wrap="none" lIns="36000" rIns="36000" rtlCol="0">
            <a:spAutoFit/>
          </a:bodyPr>
          <a:lstStyle/>
          <a:p>
            <a:pPr>
              <a:lnSpc>
                <a:spcPts val="1600"/>
              </a:lnSpc>
            </a:pPr>
            <a:r>
              <a:rPr lang="fr-FR" sz="1050" b="1" dirty="0" err="1">
                <a:latin typeface="Century Gothic Pro" panose="020B0502020202020204" pitchFamily="34" charset="0"/>
              </a:rPr>
              <a:t>Keratin</a:t>
            </a:r>
            <a:r>
              <a:rPr lang="fr-FR" sz="1050" b="1" dirty="0">
                <a:latin typeface="Century Gothic Pro" panose="020B0502020202020204" pitchFamily="34" charset="0"/>
              </a:rPr>
              <a:t> 71</a:t>
            </a:r>
          </a:p>
          <a:p>
            <a:pPr>
              <a:lnSpc>
                <a:spcPts val="1600"/>
              </a:lnSpc>
            </a:pPr>
            <a:r>
              <a:rPr lang="fr-FR" sz="1050" b="1" dirty="0" err="1">
                <a:latin typeface="Century Gothic Pro" panose="020B0502020202020204" pitchFamily="34" charset="0"/>
              </a:rPr>
              <a:t>Keratin</a:t>
            </a:r>
            <a:r>
              <a:rPr lang="fr-FR" sz="1050" b="1" dirty="0">
                <a:latin typeface="Century Gothic Pro" panose="020B0502020202020204" pitchFamily="34" charset="0"/>
              </a:rPr>
              <a:t> 17</a:t>
            </a:r>
          </a:p>
          <a:p>
            <a:pPr>
              <a:lnSpc>
                <a:spcPts val="1600"/>
              </a:lnSpc>
            </a:pPr>
            <a:r>
              <a:rPr lang="fr-FR" sz="1050" b="1" dirty="0" err="1">
                <a:latin typeface="Century Gothic Pro" panose="020B0502020202020204" pitchFamily="34" charset="0"/>
              </a:rPr>
              <a:t>Keratin</a:t>
            </a:r>
            <a:r>
              <a:rPr lang="fr-FR" sz="1050" b="1" dirty="0">
                <a:latin typeface="Century Gothic Pro" panose="020B0502020202020204" pitchFamily="34" charset="0"/>
              </a:rPr>
              <a:t> 14</a:t>
            </a:r>
          </a:p>
          <a:p>
            <a:pPr>
              <a:lnSpc>
                <a:spcPts val="1600"/>
              </a:lnSpc>
            </a:pPr>
            <a:r>
              <a:rPr lang="fr-FR" sz="1050" b="1" dirty="0" err="1">
                <a:latin typeface="Century Gothic Pro" panose="020B0502020202020204" pitchFamily="34" charset="0"/>
              </a:rPr>
              <a:t>Trichohyalin</a:t>
            </a:r>
            <a:endParaRPr lang="fr-FR" sz="1050" b="1" dirty="0">
              <a:latin typeface="Century Gothic Pro" panose="020B0502020202020204" pitchFamily="34" charset="0"/>
            </a:endParaRPr>
          </a:p>
          <a:p>
            <a:pPr>
              <a:lnSpc>
                <a:spcPts val="1600"/>
              </a:lnSpc>
            </a:pPr>
            <a:r>
              <a:rPr lang="fr-FR" sz="1050" b="1" dirty="0">
                <a:latin typeface="Century Gothic Pro" panose="020B0502020202020204" pitchFamily="34" charset="0"/>
              </a:rPr>
              <a:t>CD34</a:t>
            </a:r>
          </a:p>
          <a:p>
            <a:pPr>
              <a:lnSpc>
                <a:spcPts val="1600"/>
              </a:lnSpc>
            </a:pPr>
            <a:r>
              <a:rPr lang="fr-FR" sz="1050" b="1" dirty="0" err="1">
                <a:latin typeface="Century Gothic Pro" panose="020B0502020202020204" pitchFamily="34" charset="0"/>
              </a:rPr>
              <a:t>Collagen</a:t>
            </a:r>
            <a:r>
              <a:rPr lang="fr-FR" sz="1050" b="1" dirty="0">
                <a:latin typeface="Century Gothic Pro" panose="020B0502020202020204" pitchFamily="34" charset="0"/>
              </a:rPr>
              <a:t> IV</a:t>
            </a:r>
          </a:p>
          <a:p>
            <a:pPr>
              <a:lnSpc>
                <a:spcPts val="1600"/>
              </a:lnSpc>
            </a:pPr>
            <a:r>
              <a:rPr lang="fr-FR" sz="1050" b="1" dirty="0" err="1">
                <a:latin typeface="Century Gothic Pro" panose="020B0502020202020204" pitchFamily="34" charset="0"/>
              </a:rPr>
              <a:t>Collagen</a:t>
            </a:r>
            <a:r>
              <a:rPr lang="fr-FR" sz="1050" b="1" dirty="0">
                <a:latin typeface="Century Gothic Pro" panose="020B0502020202020204" pitchFamily="34" charset="0"/>
              </a:rPr>
              <a:t> I</a:t>
            </a:r>
            <a:endParaRPr lang="en-US" sz="1050" b="1" dirty="0">
              <a:latin typeface="Century Gothic Pro" panose="020B0502020202020204" pitchFamily="34" charset="0"/>
            </a:endParaRPr>
          </a:p>
        </p:txBody>
      </p:sp>
      <p:sp>
        <p:nvSpPr>
          <p:cNvPr id="112" name="TextBox 111"/>
          <p:cNvSpPr txBox="1"/>
          <p:nvPr/>
        </p:nvSpPr>
        <p:spPr>
          <a:xfrm>
            <a:off x="6346777" y="3384628"/>
            <a:ext cx="970137" cy="913070"/>
          </a:xfrm>
          <a:prstGeom prst="rect">
            <a:avLst/>
          </a:prstGeom>
          <a:solidFill>
            <a:schemeClr val="accent1">
              <a:alpha val="89804"/>
            </a:schemeClr>
          </a:solidFill>
          <a:effectLst>
            <a:softEdge rad="63500"/>
          </a:effectLst>
        </p:spPr>
        <p:txBody>
          <a:bodyPr wrap="none" rtlCol="0">
            <a:spAutoFit/>
          </a:bodyPr>
          <a:lstStyle/>
          <a:p>
            <a:pPr>
              <a:lnSpc>
                <a:spcPts val="1600"/>
              </a:lnSpc>
            </a:pPr>
            <a:r>
              <a:rPr lang="fr-FR" sz="1050" b="1" dirty="0">
                <a:latin typeface="Century Gothic Pro" panose="020B0502020202020204" pitchFamily="34" charset="0"/>
              </a:rPr>
              <a:t>Catalase </a:t>
            </a:r>
          </a:p>
          <a:p>
            <a:pPr>
              <a:lnSpc>
                <a:spcPts val="1600"/>
              </a:lnSpc>
            </a:pPr>
            <a:r>
              <a:rPr lang="fr-FR" sz="1050" b="1" dirty="0">
                <a:latin typeface="Century Gothic Pro" panose="020B0502020202020204" pitchFamily="34" charset="0"/>
              </a:rPr>
              <a:t>p63 </a:t>
            </a:r>
          </a:p>
          <a:p>
            <a:pPr>
              <a:lnSpc>
                <a:spcPts val="1600"/>
              </a:lnSpc>
            </a:pPr>
            <a:r>
              <a:rPr lang="en-US" sz="1200" b="1" dirty="0" err="1">
                <a:latin typeface="Century Gothic Pro" panose="020B0502020202020204" pitchFamily="34" charset="0"/>
                <a:cs typeface="Arial" panose="020B0604020202020204" pitchFamily="34" charset="0"/>
                <a:sym typeface="Symbol"/>
              </a:rPr>
              <a:t>Caspase</a:t>
            </a:r>
            <a:r>
              <a:rPr lang="en-US" sz="1200" b="1" dirty="0">
                <a:latin typeface="Century Gothic Pro" panose="020B0502020202020204" pitchFamily="34" charset="0"/>
                <a:cs typeface="Arial" panose="020B0604020202020204" pitchFamily="34" charset="0"/>
                <a:sym typeface="Symbol"/>
              </a:rPr>
              <a:t> 3</a:t>
            </a:r>
          </a:p>
          <a:p>
            <a:pPr>
              <a:lnSpc>
                <a:spcPts val="1600"/>
              </a:lnSpc>
            </a:pPr>
            <a:r>
              <a:rPr lang="en-US" sz="1200" b="1" dirty="0">
                <a:latin typeface="Century Gothic Pro" panose="020B0502020202020204" pitchFamily="34" charset="0"/>
                <a:cs typeface="Arial" panose="020B0604020202020204" pitchFamily="34" charset="0"/>
                <a:sym typeface="Symbol"/>
              </a:rPr>
              <a:t>Melanin</a:t>
            </a:r>
            <a:endParaRPr lang="en-US" sz="1050" b="1" dirty="0">
              <a:latin typeface="Century Gothic Pro" panose="020B0502020202020204" pitchFamily="34" charset="0"/>
            </a:endParaRPr>
          </a:p>
        </p:txBody>
      </p:sp>
      <p:sp>
        <p:nvSpPr>
          <p:cNvPr id="115" name="TextBox 114"/>
          <p:cNvSpPr txBox="1"/>
          <p:nvPr/>
        </p:nvSpPr>
        <p:spPr>
          <a:xfrm>
            <a:off x="8244733" y="3673319"/>
            <a:ext cx="1143220" cy="933589"/>
          </a:xfrm>
          <a:prstGeom prst="rect">
            <a:avLst/>
          </a:prstGeom>
          <a:solidFill>
            <a:schemeClr val="accent1">
              <a:alpha val="89804"/>
            </a:schemeClr>
          </a:solidFill>
          <a:effectLst>
            <a:softEdge rad="63500"/>
          </a:effectLst>
        </p:spPr>
        <p:txBody>
          <a:bodyPr wrap="square" rtlCol="0">
            <a:spAutoFit/>
          </a:bodyPr>
          <a:lstStyle/>
          <a:p>
            <a:pPr>
              <a:spcBef>
                <a:spcPct val="20000"/>
              </a:spcBef>
              <a:defRPr/>
            </a:pPr>
            <a:r>
              <a:rPr lang="en-US" sz="1400" b="1" dirty="0">
                <a:latin typeface="Century Gothic Pro" panose="020B0502020202020204" pitchFamily="34" charset="0"/>
                <a:sym typeface="Symbol"/>
              </a:rPr>
              <a:t></a:t>
            </a:r>
            <a:r>
              <a:rPr lang="en-US" sz="1200" b="1" dirty="0">
                <a:latin typeface="Century Gothic Pro" panose="020B0502020202020204" pitchFamily="34" charset="0"/>
              </a:rPr>
              <a:t>-</a:t>
            </a:r>
            <a:r>
              <a:rPr lang="en-US" sz="1200" b="1" dirty="0" err="1">
                <a:latin typeface="Century Gothic Pro" panose="020B0502020202020204" pitchFamily="34" charset="0"/>
              </a:rPr>
              <a:t>Catenin</a:t>
            </a:r>
            <a:endParaRPr lang="en-US" sz="1200" b="1" dirty="0">
              <a:latin typeface="Century Gothic Pro" panose="020B0502020202020204" pitchFamily="34" charset="0"/>
            </a:endParaRPr>
          </a:p>
          <a:p>
            <a:pPr>
              <a:defRPr/>
            </a:pPr>
            <a:r>
              <a:rPr lang="en-US" sz="1400" b="1" dirty="0">
                <a:latin typeface="Century Gothic Pro" panose="020B0502020202020204" pitchFamily="34" charset="0"/>
                <a:cs typeface="Arial" panose="020B0604020202020204" pitchFamily="34" charset="0"/>
                <a:sym typeface="Symbol"/>
              </a:rPr>
              <a:t></a:t>
            </a:r>
            <a:r>
              <a:rPr lang="en-US" sz="1200" b="1" dirty="0">
                <a:latin typeface="Century Gothic Pro" panose="020B0502020202020204" pitchFamily="34" charset="0"/>
                <a:cs typeface="Arial" panose="020B0604020202020204" pitchFamily="34" charset="0"/>
              </a:rPr>
              <a:t>6-Integrin</a:t>
            </a:r>
            <a:endParaRPr lang="fr-FR" sz="1050" b="1" dirty="0">
              <a:latin typeface="Century Gothic Pro" panose="020B0502020202020204" pitchFamily="34" charset="0"/>
            </a:endParaRPr>
          </a:p>
          <a:p>
            <a:pPr>
              <a:lnSpc>
                <a:spcPts val="1600"/>
              </a:lnSpc>
            </a:pPr>
            <a:r>
              <a:rPr lang="fr-FR" sz="1050" b="1" dirty="0">
                <a:latin typeface="Century Gothic Pro" panose="020B0502020202020204" pitchFamily="34" charset="0"/>
              </a:rPr>
              <a:t>p63 </a:t>
            </a:r>
          </a:p>
          <a:p>
            <a:pPr>
              <a:lnSpc>
                <a:spcPts val="1600"/>
              </a:lnSpc>
            </a:pPr>
            <a:r>
              <a:rPr lang="fr-FR" sz="1050" b="1" dirty="0" err="1">
                <a:latin typeface="Century Gothic Pro" panose="020B0502020202020204" pitchFamily="34" charset="0"/>
              </a:rPr>
              <a:t>Keratin</a:t>
            </a:r>
            <a:r>
              <a:rPr lang="fr-FR" sz="1050" b="1" dirty="0">
                <a:latin typeface="Century Gothic Pro" panose="020B0502020202020204" pitchFamily="34" charset="0"/>
              </a:rPr>
              <a:t> 15</a:t>
            </a:r>
          </a:p>
        </p:txBody>
      </p:sp>
      <p:sp>
        <p:nvSpPr>
          <p:cNvPr id="117" name="TextBox 116"/>
          <p:cNvSpPr txBox="1"/>
          <p:nvPr/>
        </p:nvSpPr>
        <p:spPr>
          <a:xfrm>
            <a:off x="3203071" y="3598922"/>
            <a:ext cx="781230" cy="1528624"/>
          </a:xfrm>
          <a:prstGeom prst="rect">
            <a:avLst/>
          </a:prstGeom>
          <a:solidFill>
            <a:schemeClr val="accent1">
              <a:alpha val="89804"/>
            </a:schemeClr>
          </a:solidFill>
          <a:effectLst>
            <a:softEdge rad="63500"/>
          </a:effectLst>
        </p:spPr>
        <p:txBody>
          <a:bodyPr wrap="none" lIns="72000" rIns="0" rtlCol="0">
            <a:spAutoFit/>
          </a:bodyPr>
          <a:lstStyle/>
          <a:p>
            <a:pPr>
              <a:lnSpc>
                <a:spcPts val="1600"/>
              </a:lnSpc>
            </a:pPr>
            <a:r>
              <a:rPr lang="fr-FR" sz="1050" b="1" dirty="0">
                <a:latin typeface="Century Gothic Pro" panose="020B0502020202020204" pitchFamily="34" charset="0"/>
              </a:rPr>
              <a:t>Tyrosinase </a:t>
            </a:r>
          </a:p>
          <a:p>
            <a:pPr>
              <a:lnSpc>
                <a:spcPts val="1600"/>
              </a:lnSpc>
            </a:pPr>
            <a:r>
              <a:rPr lang="fr-FR" sz="1050" b="1" dirty="0">
                <a:latin typeface="Century Gothic Pro" panose="020B0502020202020204" pitchFamily="34" charset="0"/>
              </a:rPr>
              <a:t>TRP-1</a:t>
            </a:r>
          </a:p>
          <a:p>
            <a:pPr>
              <a:lnSpc>
                <a:spcPts val="1600"/>
              </a:lnSpc>
            </a:pPr>
            <a:r>
              <a:rPr lang="fr-FR" sz="1050" b="1" dirty="0">
                <a:latin typeface="Century Gothic Pro" panose="020B0502020202020204" pitchFamily="34" charset="0"/>
              </a:rPr>
              <a:t>MITF </a:t>
            </a:r>
          </a:p>
          <a:p>
            <a:pPr>
              <a:lnSpc>
                <a:spcPts val="1600"/>
              </a:lnSpc>
            </a:pPr>
            <a:r>
              <a:rPr lang="en-US" sz="1200" b="1" dirty="0" err="1">
                <a:latin typeface="Century Gothic Pro" panose="020B0502020202020204" pitchFamily="34" charset="0"/>
                <a:cs typeface="Arial" panose="020B0604020202020204" pitchFamily="34" charset="0"/>
                <a:sym typeface="Symbol"/>
              </a:rPr>
              <a:t>Pmel</a:t>
            </a:r>
            <a:r>
              <a:rPr lang="en-US" sz="1200" b="1" dirty="0">
                <a:latin typeface="Century Gothic Pro" panose="020B0502020202020204" pitchFamily="34" charset="0"/>
                <a:cs typeface="Arial" panose="020B0604020202020204" pitchFamily="34" charset="0"/>
                <a:sym typeface="Symbol"/>
              </a:rPr>
              <a:t> 17</a:t>
            </a:r>
          </a:p>
          <a:p>
            <a:pPr>
              <a:lnSpc>
                <a:spcPts val="1600"/>
              </a:lnSpc>
            </a:pPr>
            <a:r>
              <a:rPr lang="en-US" sz="1200" b="1" dirty="0">
                <a:latin typeface="Century Gothic Pro" panose="020B0502020202020204" pitchFamily="34" charset="0"/>
                <a:cs typeface="Arial" panose="020B0604020202020204" pitchFamily="34" charset="0"/>
                <a:sym typeface="Symbol"/>
              </a:rPr>
              <a:t>C-kit</a:t>
            </a:r>
          </a:p>
          <a:p>
            <a:pPr>
              <a:lnSpc>
                <a:spcPts val="1600"/>
              </a:lnSpc>
            </a:pPr>
            <a:r>
              <a:rPr lang="en-US" sz="1050" b="1" dirty="0">
                <a:latin typeface="Century Gothic Pro" panose="020B0502020202020204" pitchFamily="34" charset="0"/>
              </a:rPr>
              <a:t>PAR-2</a:t>
            </a:r>
          </a:p>
          <a:p>
            <a:pPr>
              <a:lnSpc>
                <a:spcPts val="1600"/>
              </a:lnSpc>
            </a:pPr>
            <a:r>
              <a:rPr lang="en-US" sz="1050" b="1" dirty="0">
                <a:latin typeface="Century Gothic Pro" panose="020B0502020202020204" pitchFamily="34" charset="0"/>
              </a:rPr>
              <a:t>Melanin</a:t>
            </a:r>
          </a:p>
        </p:txBody>
      </p:sp>
      <p:sp>
        <p:nvSpPr>
          <p:cNvPr id="123" name="Rectangle 122"/>
          <p:cNvSpPr/>
          <p:nvPr/>
        </p:nvSpPr>
        <p:spPr>
          <a:xfrm>
            <a:off x="2441788" y="2424775"/>
            <a:ext cx="1673328" cy="457199"/>
          </a:xfrm>
          <a:prstGeom prst="rect">
            <a:avLst/>
          </a:prstGeom>
          <a:solidFill>
            <a:schemeClr val="accent1">
              <a:alpha val="89804"/>
            </a:schemeClr>
          </a:solidFill>
          <a:effectLst>
            <a:softEdge rad="63500"/>
          </a:effectLst>
        </p:spPr>
        <p:txBody>
          <a:bodyPr wrap="square" lIns="0" rIns="0" anchor="ctr">
            <a:noAutofit/>
          </a:bodyPr>
          <a:lstStyle/>
          <a:p>
            <a:pPr algn="ctr">
              <a:defRPr/>
            </a:pPr>
            <a:r>
              <a:rPr lang="en-US" sz="1200" b="1" dirty="0">
                <a:solidFill>
                  <a:schemeClr val="bg1"/>
                </a:solidFill>
                <a:latin typeface="Century Gothic Pro" panose="020B0502020202020204" pitchFamily="34" charset="0"/>
                <a:cs typeface="Arial" pitchFamily="34" charset="0"/>
              </a:rPr>
              <a:t>Hair Melanin</a:t>
            </a:r>
          </a:p>
          <a:p>
            <a:pPr algn="ctr">
              <a:defRPr/>
            </a:pPr>
            <a:r>
              <a:rPr lang="en-US" sz="1200" b="1" dirty="0">
                <a:solidFill>
                  <a:schemeClr val="bg1"/>
                </a:solidFill>
                <a:latin typeface="Century Gothic Pro" panose="020B0502020202020204" pitchFamily="34" charset="0"/>
                <a:cs typeface="Arial" pitchFamily="34" charset="0"/>
              </a:rPr>
              <a:t>System™</a:t>
            </a:r>
          </a:p>
        </p:txBody>
      </p:sp>
      <p:sp>
        <p:nvSpPr>
          <p:cNvPr id="126" name="TextBox 125"/>
          <p:cNvSpPr txBox="1"/>
          <p:nvPr/>
        </p:nvSpPr>
        <p:spPr>
          <a:xfrm>
            <a:off x="2445021" y="1528466"/>
            <a:ext cx="1692000" cy="461665"/>
          </a:xfrm>
          <a:prstGeom prst="rect">
            <a:avLst/>
          </a:prstGeom>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spAutoFit/>
          </a:bodyPr>
          <a:lstStyle/>
          <a:p>
            <a:pPr algn="ctr">
              <a:spcBef>
                <a:spcPct val="20000"/>
              </a:spcBef>
              <a:defRPr/>
            </a:pPr>
            <a:r>
              <a:rPr lang="en-US" sz="1200" b="1" dirty="0" err="1">
                <a:ln w="0"/>
                <a:solidFill>
                  <a:schemeClr val="bg1"/>
                </a:solidFill>
                <a:latin typeface="Century Gothic Pro" panose="020B0502020202020204" pitchFamily="34" charset="0"/>
                <a:cs typeface="Arial" panose="020B0604020202020204" pitchFamily="34" charset="0"/>
              </a:rPr>
              <a:t>Chromafend</a:t>
            </a:r>
            <a:r>
              <a:rPr lang="en-US" sz="1200" b="1" dirty="0">
                <a:ln w="0"/>
                <a:solidFill>
                  <a:schemeClr val="bg1"/>
                </a:solidFill>
                <a:latin typeface="Century Gothic Pro" panose="020B0502020202020204" pitchFamily="34" charset="0"/>
                <a:cs typeface="Arial" panose="020B0604020202020204" pitchFamily="34" charset="0"/>
              </a:rPr>
              <a:t>™ biofunctional</a:t>
            </a:r>
          </a:p>
        </p:txBody>
      </p:sp>
      <p:sp>
        <p:nvSpPr>
          <p:cNvPr id="127" name="TextBox 126"/>
          <p:cNvSpPr txBox="1"/>
          <p:nvPr/>
        </p:nvSpPr>
        <p:spPr>
          <a:xfrm>
            <a:off x="2445021" y="5660947"/>
            <a:ext cx="1692000" cy="2769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algn="ctr">
              <a:spcBef>
                <a:spcPct val="20000"/>
              </a:spcBef>
              <a:defRPr/>
            </a:pPr>
            <a:r>
              <a:rPr lang="ru-RU" sz="1200" b="1" dirty="0">
                <a:solidFill>
                  <a:prstClr val="white"/>
                </a:solidFill>
                <a:latin typeface="Century Gothic Pro" panose="020B0502020202020204" pitchFamily="34" charset="0"/>
                <a:cs typeface="Arial" panose="020B0604020202020204" pitchFamily="34" charset="0"/>
              </a:rPr>
              <a:t>Цвет волос</a:t>
            </a:r>
            <a:endParaRPr lang="en-US" sz="1200" b="1" dirty="0">
              <a:solidFill>
                <a:prstClr val="white"/>
              </a:solidFill>
              <a:latin typeface="Century Gothic Pro" panose="020B0502020202020204" pitchFamily="34" charset="0"/>
              <a:cs typeface="Arial" panose="020B0604020202020204" pitchFamily="34" charset="0"/>
            </a:endParaRPr>
          </a:p>
        </p:txBody>
      </p:sp>
      <p:sp>
        <p:nvSpPr>
          <p:cNvPr id="128" name="Rectangle 127"/>
          <p:cNvSpPr/>
          <p:nvPr/>
        </p:nvSpPr>
        <p:spPr>
          <a:xfrm>
            <a:off x="5992554" y="2369962"/>
            <a:ext cx="1674450" cy="457200"/>
          </a:xfrm>
          <a:prstGeom prst="rect">
            <a:avLst/>
          </a:prstGeom>
          <a:solidFill>
            <a:schemeClr val="accent1">
              <a:alpha val="89804"/>
            </a:schemeClr>
          </a:solidFill>
          <a:ln w="28575">
            <a:solidFill>
              <a:schemeClr val="tx1"/>
            </a:solidFill>
          </a:ln>
          <a:effectLst>
            <a:softEdge rad="63500"/>
          </a:effectLst>
        </p:spPr>
        <p:txBody>
          <a:bodyPr wrap="square" lIns="36000" rIns="72000" anchor="ctr">
            <a:noAutofit/>
          </a:bodyPr>
          <a:lstStyle/>
          <a:p>
            <a:pPr algn="ctr">
              <a:defRPr/>
            </a:pPr>
            <a:r>
              <a:rPr lang="en-US" sz="1200" b="1" dirty="0">
                <a:solidFill>
                  <a:schemeClr val="bg1"/>
                </a:solidFill>
                <a:latin typeface="Century Gothic Pro" panose="020B0502020202020204" pitchFamily="34" charset="0"/>
                <a:cs typeface="Arial" pitchFamily="34" charset="0"/>
              </a:rPr>
              <a:t>Hair </a:t>
            </a:r>
            <a:r>
              <a:rPr lang="en-US" sz="1200" b="1" dirty="0" err="1">
                <a:solidFill>
                  <a:schemeClr val="bg1"/>
                </a:solidFill>
                <a:latin typeface="Century Gothic Pro" panose="020B0502020202020204" pitchFamily="34" charset="0"/>
                <a:cs typeface="Arial" pitchFamily="34" charset="0"/>
              </a:rPr>
              <a:t>Detox</a:t>
            </a:r>
            <a:r>
              <a:rPr lang="en-US" sz="1200" b="1" dirty="0">
                <a:solidFill>
                  <a:schemeClr val="bg1"/>
                </a:solidFill>
                <a:latin typeface="Century Gothic Pro" panose="020B0502020202020204" pitchFamily="34" charset="0"/>
                <a:cs typeface="Arial" pitchFamily="34" charset="0"/>
              </a:rPr>
              <a:t> </a:t>
            </a:r>
          </a:p>
          <a:p>
            <a:pPr algn="ctr">
              <a:defRPr/>
            </a:pPr>
            <a:r>
              <a:rPr lang="en-US" sz="1200" b="1" dirty="0">
                <a:solidFill>
                  <a:schemeClr val="bg1"/>
                </a:solidFill>
                <a:latin typeface="Century Gothic Pro" panose="020B0502020202020204" pitchFamily="34" charset="0"/>
                <a:cs typeface="Arial" pitchFamily="34" charset="0"/>
              </a:rPr>
              <a:t>System™</a:t>
            </a:r>
          </a:p>
        </p:txBody>
      </p:sp>
      <p:sp>
        <p:nvSpPr>
          <p:cNvPr id="129" name="TextBox 128"/>
          <p:cNvSpPr txBox="1"/>
          <p:nvPr/>
        </p:nvSpPr>
        <p:spPr>
          <a:xfrm>
            <a:off x="5981119" y="1530751"/>
            <a:ext cx="1692000" cy="461665"/>
          </a:xfrm>
          <a:prstGeom prst="rect">
            <a:avLst/>
          </a:prstGeom>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spAutoFit/>
          </a:bodyPr>
          <a:lstStyle/>
          <a:p>
            <a:pPr algn="ctr">
              <a:spcBef>
                <a:spcPct val="20000"/>
              </a:spcBef>
              <a:defRPr/>
            </a:pPr>
            <a:r>
              <a:rPr lang="en-US" sz="1200" b="1" dirty="0" err="1">
                <a:ln w="0"/>
                <a:solidFill>
                  <a:schemeClr val="bg1"/>
                </a:solidFill>
                <a:latin typeface="Century Gothic Pro" panose="020B0502020202020204" pitchFamily="34" charset="0"/>
                <a:cs typeface="Arial" panose="020B0604020202020204" pitchFamily="34" charset="0"/>
              </a:rPr>
              <a:t>Procataline</a:t>
            </a:r>
            <a:r>
              <a:rPr lang="en-US" sz="1200" b="1" dirty="0">
                <a:ln w="0"/>
                <a:solidFill>
                  <a:schemeClr val="bg1"/>
                </a:solidFill>
                <a:latin typeface="Century Gothic Pro" panose="020B0502020202020204" pitchFamily="34" charset="0"/>
                <a:cs typeface="Arial" panose="020B0604020202020204" pitchFamily="34" charset="0"/>
              </a:rPr>
              <a:t>™ biofunctional </a:t>
            </a:r>
          </a:p>
        </p:txBody>
      </p:sp>
      <p:sp>
        <p:nvSpPr>
          <p:cNvPr id="130" name="TextBox 129"/>
          <p:cNvSpPr txBox="1"/>
          <p:nvPr/>
        </p:nvSpPr>
        <p:spPr>
          <a:xfrm>
            <a:off x="5942404" y="5649331"/>
            <a:ext cx="1766270" cy="2769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algn="ctr">
              <a:spcBef>
                <a:spcPct val="20000"/>
              </a:spcBef>
              <a:defRPr/>
            </a:pPr>
            <a:r>
              <a:rPr lang="ru-RU" sz="1200" b="1" dirty="0">
                <a:solidFill>
                  <a:prstClr val="white"/>
                </a:solidFill>
                <a:latin typeface="Century Gothic Pro" panose="020B0502020202020204" pitchFamily="34" charset="0"/>
                <a:cs typeface="Arial" panose="020B0604020202020204" pitchFamily="34" charset="0"/>
              </a:rPr>
              <a:t>Против старения волос</a:t>
            </a:r>
            <a:endParaRPr lang="en-US" sz="1200" b="1" dirty="0">
              <a:solidFill>
                <a:prstClr val="white"/>
              </a:solidFill>
              <a:latin typeface="Century Gothic Pro" panose="020B0502020202020204" pitchFamily="34" charset="0"/>
              <a:cs typeface="Arial" panose="020B0604020202020204" pitchFamily="34" charset="0"/>
            </a:endParaRPr>
          </a:p>
        </p:txBody>
      </p:sp>
      <p:sp>
        <p:nvSpPr>
          <p:cNvPr id="131" name="Rectangle 130"/>
          <p:cNvSpPr/>
          <p:nvPr/>
        </p:nvSpPr>
        <p:spPr>
          <a:xfrm>
            <a:off x="4220763" y="2396653"/>
            <a:ext cx="1673806" cy="457200"/>
          </a:xfrm>
          <a:prstGeom prst="rect">
            <a:avLst/>
          </a:prstGeom>
          <a:solidFill>
            <a:schemeClr val="accent1">
              <a:alpha val="89804"/>
            </a:schemeClr>
          </a:solidFill>
          <a:effectLst>
            <a:softEdge rad="63500"/>
          </a:effectLst>
        </p:spPr>
        <p:txBody>
          <a:bodyPr wrap="square" anchor="ctr">
            <a:noAutofit/>
          </a:bodyPr>
          <a:lstStyle/>
          <a:p>
            <a:pPr algn="ctr">
              <a:defRPr/>
            </a:pPr>
            <a:r>
              <a:rPr lang="en-US" sz="1200" b="1" dirty="0">
                <a:solidFill>
                  <a:schemeClr val="bg1"/>
                </a:solidFill>
                <a:latin typeface="Century Gothic Pro" panose="020B0502020202020204" pitchFamily="34" charset="0"/>
                <a:cs typeface="Arial" pitchFamily="34" charset="0"/>
              </a:rPr>
              <a:t>Hair Keratin System™</a:t>
            </a:r>
          </a:p>
        </p:txBody>
      </p:sp>
      <p:sp>
        <p:nvSpPr>
          <p:cNvPr id="132" name="TextBox 131"/>
          <p:cNvSpPr txBox="1"/>
          <p:nvPr/>
        </p:nvSpPr>
        <p:spPr>
          <a:xfrm>
            <a:off x="4214849" y="1530751"/>
            <a:ext cx="1692000" cy="461665"/>
          </a:xfrm>
          <a:prstGeom prst="rect">
            <a:avLst/>
          </a:prstGeom>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spcBef>
                <a:spcPct val="20000"/>
              </a:spcBef>
              <a:defRPr/>
            </a:pPr>
            <a:r>
              <a:rPr lang="en-US" sz="1200" b="1" dirty="0" err="1">
                <a:ln w="0"/>
                <a:solidFill>
                  <a:schemeClr val="bg1"/>
                </a:solidFill>
                <a:latin typeface="Century Gothic Pro" panose="020B0502020202020204" pitchFamily="34" charset="0"/>
                <a:cs typeface="Arial" panose="020B0604020202020204" pitchFamily="34" charset="0"/>
              </a:rPr>
              <a:t>Dynagen</a:t>
            </a:r>
            <a:r>
              <a:rPr lang="en-US" sz="1200" b="1" dirty="0">
                <a:ln w="0"/>
                <a:solidFill>
                  <a:schemeClr val="bg1"/>
                </a:solidFill>
                <a:latin typeface="Century Gothic Pro" panose="020B0502020202020204" pitchFamily="34" charset="0"/>
                <a:cs typeface="Arial" panose="020B0604020202020204" pitchFamily="34" charset="0"/>
              </a:rPr>
              <a:t>™ biofunctional </a:t>
            </a:r>
            <a:endParaRPr lang="en-US" sz="1400" b="1" dirty="0">
              <a:ln w="0"/>
              <a:solidFill>
                <a:schemeClr val="bg1"/>
              </a:solidFill>
              <a:latin typeface="Century Gothic Pro" panose="020B0502020202020204" pitchFamily="34" charset="0"/>
              <a:cs typeface="Arial" panose="020B0604020202020204" pitchFamily="34" charset="0"/>
            </a:endParaRPr>
          </a:p>
        </p:txBody>
      </p:sp>
      <p:sp>
        <p:nvSpPr>
          <p:cNvPr id="134" name="TextBox 133"/>
          <p:cNvSpPr txBox="1"/>
          <p:nvPr/>
        </p:nvSpPr>
        <p:spPr>
          <a:xfrm>
            <a:off x="4214849" y="5660947"/>
            <a:ext cx="1692000" cy="2769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algn="ctr">
              <a:spcBef>
                <a:spcPct val="20000"/>
              </a:spcBef>
              <a:defRPr/>
            </a:pPr>
            <a:r>
              <a:rPr lang="ru-RU" sz="1200" b="1" dirty="0">
                <a:solidFill>
                  <a:prstClr val="white"/>
                </a:solidFill>
                <a:latin typeface="Century Gothic Pro" panose="020B0502020202020204" pitchFamily="34" charset="0"/>
                <a:cs typeface="Arial" panose="020B0604020202020204" pitchFamily="34" charset="0"/>
              </a:rPr>
              <a:t>Сила волос</a:t>
            </a:r>
            <a:endParaRPr lang="en-US" sz="1200" b="1" dirty="0">
              <a:solidFill>
                <a:prstClr val="white"/>
              </a:solidFill>
              <a:latin typeface="Century Gothic Pro" panose="020B0502020202020204" pitchFamily="34" charset="0"/>
              <a:cs typeface="Arial" panose="020B0604020202020204" pitchFamily="34" charset="0"/>
            </a:endParaRPr>
          </a:p>
        </p:txBody>
      </p:sp>
      <p:sp>
        <p:nvSpPr>
          <p:cNvPr id="140" name="TextBox 139"/>
          <p:cNvSpPr txBox="1"/>
          <p:nvPr/>
        </p:nvSpPr>
        <p:spPr>
          <a:xfrm>
            <a:off x="665950" y="1524001"/>
            <a:ext cx="1692000" cy="461665"/>
          </a:xfrm>
          <a:prstGeom prst="rect">
            <a:avLst/>
          </a:prstGeom>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spcBef>
                <a:spcPct val="20000"/>
              </a:spcBef>
              <a:defRPr/>
            </a:pPr>
            <a:r>
              <a:rPr lang="en-US" sz="1200" b="1" dirty="0" err="1">
                <a:ln w="0"/>
                <a:solidFill>
                  <a:schemeClr val="bg1"/>
                </a:solidFill>
                <a:latin typeface="Century Gothic Pro" panose="020B0502020202020204" pitchFamily="34" charset="0"/>
                <a:cs typeface="Arial" panose="020B0604020202020204" pitchFamily="34" charset="0"/>
              </a:rPr>
              <a:t>Capauxein</a:t>
            </a:r>
            <a:r>
              <a:rPr lang="en-US" sz="1200" b="1" dirty="0">
                <a:ln w="0"/>
                <a:solidFill>
                  <a:schemeClr val="bg1"/>
                </a:solidFill>
                <a:latin typeface="Century Gothic Pro" panose="020B0502020202020204" pitchFamily="34" charset="0"/>
                <a:cs typeface="Arial" panose="020B0604020202020204" pitchFamily="34" charset="0"/>
              </a:rPr>
              <a:t>™ G2 biofunctional</a:t>
            </a:r>
          </a:p>
        </p:txBody>
      </p:sp>
      <p:sp>
        <p:nvSpPr>
          <p:cNvPr id="141" name="TextBox 140"/>
          <p:cNvSpPr txBox="1"/>
          <p:nvPr/>
        </p:nvSpPr>
        <p:spPr>
          <a:xfrm>
            <a:off x="670513" y="5660947"/>
            <a:ext cx="1692000" cy="2769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algn="ctr">
              <a:spcBef>
                <a:spcPct val="20000"/>
              </a:spcBef>
              <a:defRPr/>
            </a:pPr>
            <a:r>
              <a:rPr lang="ru-RU" sz="1200" b="1" dirty="0">
                <a:solidFill>
                  <a:prstClr val="white"/>
                </a:solidFill>
                <a:latin typeface="Century Gothic Pro" panose="020B0502020202020204" pitchFamily="34" charset="0"/>
                <a:cs typeface="Arial" panose="020B0604020202020204" pitchFamily="34" charset="0"/>
              </a:rPr>
              <a:t>Плотность волос</a:t>
            </a:r>
            <a:endParaRPr lang="en-US" sz="1200" b="1" dirty="0">
              <a:solidFill>
                <a:prstClr val="white"/>
              </a:solidFill>
              <a:latin typeface="Century Gothic Pro" panose="020B0502020202020204" pitchFamily="34" charset="0"/>
              <a:cs typeface="Arial" panose="020B0604020202020204" pitchFamily="34" charset="0"/>
            </a:endParaRPr>
          </a:p>
        </p:txBody>
      </p:sp>
      <p:sp>
        <p:nvSpPr>
          <p:cNvPr id="142" name="Rectangle 141"/>
          <p:cNvSpPr/>
          <p:nvPr/>
        </p:nvSpPr>
        <p:spPr>
          <a:xfrm>
            <a:off x="7757785" y="2365358"/>
            <a:ext cx="1618488" cy="461665"/>
          </a:xfrm>
          <a:prstGeom prst="rect">
            <a:avLst/>
          </a:prstGeom>
          <a:solidFill>
            <a:schemeClr val="accent1">
              <a:alpha val="89804"/>
            </a:schemeClr>
          </a:solidFill>
          <a:effectLst>
            <a:softEdge rad="63500"/>
          </a:effectLst>
        </p:spPr>
        <p:txBody>
          <a:bodyPr wrap="square">
            <a:spAutoFit/>
          </a:bodyPr>
          <a:lstStyle/>
          <a:p>
            <a:pPr algn="ctr">
              <a:defRPr/>
            </a:pPr>
            <a:r>
              <a:rPr lang="en-US" sz="1200" b="1" dirty="0">
                <a:solidFill>
                  <a:schemeClr val="bg1"/>
                </a:solidFill>
                <a:latin typeface="Century Gothic Pro" panose="020B0502020202020204" pitchFamily="34" charset="0"/>
                <a:cs typeface="Arial" pitchFamily="34" charset="0"/>
              </a:rPr>
              <a:t>Hair </a:t>
            </a:r>
            <a:r>
              <a:rPr lang="en-US" sz="1200" b="1" dirty="0" err="1">
                <a:solidFill>
                  <a:schemeClr val="bg1"/>
                </a:solidFill>
                <a:latin typeface="Century Gothic Pro" panose="020B0502020202020204" pitchFamily="34" charset="0"/>
                <a:cs typeface="Arial" pitchFamily="34" charset="0"/>
              </a:rPr>
              <a:t>Stemness</a:t>
            </a:r>
            <a:r>
              <a:rPr lang="en-US" sz="1200" b="1" dirty="0">
                <a:solidFill>
                  <a:schemeClr val="bg1"/>
                </a:solidFill>
                <a:latin typeface="Century Gothic Pro" panose="020B0502020202020204" pitchFamily="34" charset="0"/>
                <a:cs typeface="Arial" pitchFamily="34" charset="0"/>
              </a:rPr>
              <a:t> System™</a:t>
            </a:r>
          </a:p>
        </p:txBody>
      </p:sp>
      <p:sp>
        <p:nvSpPr>
          <p:cNvPr id="143" name="TextBox 142"/>
          <p:cNvSpPr txBox="1"/>
          <p:nvPr/>
        </p:nvSpPr>
        <p:spPr>
          <a:xfrm>
            <a:off x="7744230" y="1525220"/>
            <a:ext cx="1692000" cy="461665"/>
          </a:xfrm>
          <a:prstGeom prst="rect">
            <a:avLst/>
          </a:prstGeom>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spcBef>
                <a:spcPct val="20000"/>
              </a:spcBef>
              <a:defRPr/>
            </a:pPr>
            <a:r>
              <a:rPr lang="en-US" sz="1200" b="1" dirty="0" err="1">
                <a:ln w="0"/>
                <a:solidFill>
                  <a:schemeClr val="bg1"/>
                </a:solidFill>
                <a:latin typeface="Century Gothic Pro" panose="020B0502020202020204" pitchFamily="34" charset="0"/>
                <a:cs typeface="Arial" panose="020B0604020202020204" pitchFamily="34" charset="0"/>
              </a:rPr>
              <a:t>Protectagen</a:t>
            </a:r>
            <a:r>
              <a:rPr lang="en-US" sz="1200" b="1" dirty="0">
                <a:ln w="0"/>
                <a:solidFill>
                  <a:schemeClr val="bg1"/>
                </a:solidFill>
                <a:latin typeface="Century Gothic Pro" panose="020B0502020202020204" pitchFamily="34" charset="0"/>
                <a:cs typeface="Arial" panose="020B0604020202020204" pitchFamily="34" charset="0"/>
              </a:rPr>
              <a:t>™ biofunctional</a:t>
            </a:r>
          </a:p>
        </p:txBody>
      </p:sp>
      <p:sp>
        <p:nvSpPr>
          <p:cNvPr id="144" name="TextBox 143"/>
          <p:cNvSpPr txBox="1"/>
          <p:nvPr/>
        </p:nvSpPr>
        <p:spPr>
          <a:xfrm>
            <a:off x="7744230" y="5660947"/>
            <a:ext cx="1692000" cy="2769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algn="ctr">
              <a:spcBef>
                <a:spcPct val="20000"/>
              </a:spcBef>
              <a:defRPr/>
            </a:pPr>
            <a:r>
              <a:rPr lang="ru-RU" sz="1200" b="1" dirty="0">
                <a:solidFill>
                  <a:prstClr val="white"/>
                </a:solidFill>
                <a:latin typeface="Century Gothic Pro" panose="020B0502020202020204" pitchFamily="34" charset="0"/>
                <a:cs typeface="Arial" panose="020B0604020202020204" pitchFamily="34" charset="0"/>
              </a:rPr>
              <a:t>Ресурсы роста волос</a:t>
            </a:r>
            <a:endParaRPr lang="en-US" sz="1200" b="1" dirty="0">
              <a:solidFill>
                <a:prstClr val="white"/>
              </a:solidFill>
              <a:latin typeface="Century Gothic Pro" panose="020B0502020202020204" pitchFamily="34" charset="0"/>
              <a:cs typeface="Arial" panose="020B0604020202020204" pitchFamily="34" charset="0"/>
            </a:endParaRPr>
          </a:p>
        </p:txBody>
      </p:sp>
      <p:sp>
        <p:nvSpPr>
          <p:cNvPr id="151" name="Text Placeholder 4"/>
          <p:cNvSpPr txBox="1">
            <a:spLocks/>
          </p:cNvSpPr>
          <p:nvPr/>
        </p:nvSpPr>
        <p:spPr>
          <a:xfrm>
            <a:off x="914400" y="830592"/>
            <a:ext cx="8229600" cy="457200"/>
          </a:xfrm>
          <a:prstGeom prst="rect">
            <a:avLst/>
          </a:prstGeom>
          <a:noFill/>
        </p:spPr>
        <p:txBody>
          <a:bodyPr vert="horz" lIns="91440" tIns="45720" rIns="91440" bIns="45720" rtlCol="0">
            <a:normAutofit fontScale="85000" lnSpcReduction="10000"/>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just">
              <a:buNone/>
            </a:pPr>
            <a:r>
              <a:rPr lang="ru-RU" sz="2000" dirty="0">
                <a:solidFill>
                  <a:schemeClr val="accent1"/>
                </a:solidFill>
                <a:latin typeface="Century Gothic Pro" panose="020B0502020202020204" pitchFamily="34" charset="0"/>
                <a:cs typeface="Arial" panose="020B0604020202020204" pitchFamily="34" charset="0"/>
              </a:rPr>
              <a:t>Основанная на технологии воздействия на ключевые биологические маркеры</a:t>
            </a:r>
            <a:endParaRPr lang="en-GB" sz="2000" dirty="0">
              <a:solidFill>
                <a:schemeClr val="accent1"/>
              </a:solidFill>
              <a:latin typeface="Century Gothic Pro" panose="020B0502020202020204" pitchFamily="34" charset="0"/>
              <a:cs typeface="Arial" panose="020B0604020202020204" pitchFamily="34" charset="0"/>
            </a:endParaRPr>
          </a:p>
        </p:txBody>
      </p:sp>
      <p:sp>
        <p:nvSpPr>
          <p:cNvPr id="2" name="Title 1"/>
          <p:cNvSpPr>
            <a:spLocks noGrp="1"/>
          </p:cNvSpPr>
          <p:nvPr>
            <p:ph type="title" idx="4294967295"/>
          </p:nvPr>
        </p:nvSpPr>
        <p:spPr>
          <a:xfrm>
            <a:off x="908907" y="313743"/>
            <a:ext cx="7854950" cy="511762"/>
          </a:xfrm>
        </p:spPr>
        <p:txBody>
          <a:bodyPr>
            <a:normAutofit fontScale="90000"/>
          </a:bodyPr>
          <a:lstStyle/>
          <a:p>
            <a:r>
              <a:rPr lang="en-US" dirty="0" err="1">
                <a:latin typeface="Century Gothic Pro" panose="020B0502020202020204" pitchFamily="34" charset="0"/>
              </a:rPr>
              <a:t>BiotHAIRapy</a:t>
            </a:r>
            <a:r>
              <a:rPr lang="en-US" dirty="0">
                <a:latin typeface="Century Gothic Pro" panose="020B0502020202020204" pitchFamily="34" charset="0"/>
              </a:rPr>
              <a:t>™</a:t>
            </a:r>
            <a:r>
              <a:rPr lang="ru-RU" dirty="0">
                <a:latin typeface="Century Gothic Pro" panose="020B0502020202020204" pitchFamily="34" charset="0"/>
              </a:rPr>
              <a:t> платформа</a:t>
            </a:r>
            <a:endParaRPr lang="en-GB" dirty="0">
              <a:latin typeface="Century Gothic Pro" panose="020B0502020202020204" pitchFamily="34" charset="0"/>
            </a:endParaRPr>
          </a:p>
        </p:txBody>
      </p:sp>
      <p:sp>
        <p:nvSpPr>
          <p:cNvPr id="114" name="Freeform 113"/>
          <p:cNvSpPr/>
          <p:nvPr/>
        </p:nvSpPr>
        <p:spPr>
          <a:xfrm>
            <a:off x="1223641" y="2091053"/>
            <a:ext cx="428124" cy="2520772"/>
          </a:xfrm>
          <a:custGeom>
            <a:avLst/>
            <a:gdLst>
              <a:gd name="connsiteX0" fmla="*/ 0 w 636494"/>
              <a:gd name="connsiteY0" fmla="*/ 3227294 h 3227294"/>
              <a:gd name="connsiteX1" fmla="*/ 367553 w 636494"/>
              <a:gd name="connsiteY1" fmla="*/ 2294964 h 3227294"/>
              <a:gd name="connsiteX2" fmla="*/ 636494 w 636494"/>
              <a:gd name="connsiteY2" fmla="*/ 0 h 3227294"/>
              <a:gd name="connsiteX0" fmla="*/ 0 w 622288"/>
              <a:gd name="connsiteY0" fmla="*/ 3166241 h 3166241"/>
              <a:gd name="connsiteX1" fmla="*/ 367553 w 622288"/>
              <a:gd name="connsiteY1" fmla="*/ 2233911 h 3166241"/>
              <a:gd name="connsiteX2" fmla="*/ 622288 w 622288"/>
              <a:gd name="connsiteY2" fmla="*/ 0 h 3166241"/>
            </a:gdLst>
            <a:ahLst/>
            <a:cxnLst>
              <a:cxn ang="0">
                <a:pos x="connsiteX0" y="connsiteY0"/>
              </a:cxn>
              <a:cxn ang="0">
                <a:pos x="connsiteX1" y="connsiteY1"/>
              </a:cxn>
              <a:cxn ang="0">
                <a:pos x="connsiteX2" y="connsiteY2"/>
              </a:cxn>
            </a:cxnLst>
            <a:rect l="l" t="t" r="r" b="b"/>
            <a:pathLst>
              <a:path w="622288" h="3166241">
                <a:moveTo>
                  <a:pt x="0" y="3166241"/>
                </a:moveTo>
                <a:cubicBezTo>
                  <a:pt x="130735" y="2969017"/>
                  <a:pt x="261471" y="2771793"/>
                  <a:pt x="367553" y="2233911"/>
                </a:cubicBezTo>
                <a:cubicBezTo>
                  <a:pt x="473635" y="1696029"/>
                  <a:pt x="540858" y="878541"/>
                  <a:pt x="622288" y="0"/>
                </a:cubicBezTo>
              </a:path>
            </a:pathLst>
          </a:custGeom>
          <a:noFill/>
          <a:ln>
            <a:prstDash val="dash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latin typeface="Century Gothic Pro" panose="020B0502020202020204" pitchFamily="34" charset="0"/>
            </a:endParaRPr>
          </a:p>
        </p:txBody>
      </p:sp>
      <p:sp>
        <p:nvSpPr>
          <p:cNvPr id="116" name="Freeform 115"/>
          <p:cNvSpPr/>
          <p:nvPr/>
        </p:nvSpPr>
        <p:spPr>
          <a:xfrm>
            <a:off x="1516620" y="2349370"/>
            <a:ext cx="117327" cy="2197238"/>
          </a:xfrm>
          <a:custGeom>
            <a:avLst/>
            <a:gdLst>
              <a:gd name="connsiteX0" fmla="*/ 99909 w 162662"/>
              <a:gd name="connsiteY0" fmla="*/ 3101788 h 3101788"/>
              <a:gd name="connsiteX1" fmla="*/ 1298 w 162662"/>
              <a:gd name="connsiteY1" fmla="*/ 1676400 h 3101788"/>
              <a:gd name="connsiteX2" fmla="*/ 162662 w 162662"/>
              <a:gd name="connsiteY2" fmla="*/ 0 h 3101788"/>
              <a:gd name="connsiteX0" fmla="*/ 117181 w 179934"/>
              <a:gd name="connsiteY0" fmla="*/ 3101788 h 3101788"/>
              <a:gd name="connsiteX1" fmla="*/ 18570 w 179934"/>
              <a:gd name="connsiteY1" fmla="*/ 1676400 h 3101788"/>
              <a:gd name="connsiteX2" fmla="*/ 179934 w 179934"/>
              <a:gd name="connsiteY2" fmla="*/ 0 h 3101788"/>
              <a:gd name="connsiteX0" fmla="*/ 117181 w 179934"/>
              <a:gd name="connsiteY0" fmla="*/ 3101788 h 3101788"/>
              <a:gd name="connsiteX1" fmla="*/ 18570 w 179934"/>
              <a:gd name="connsiteY1" fmla="*/ 1676400 h 3101788"/>
              <a:gd name="connsiteX2" fmla="*/ 179934 w 179934"/>
              <a:gd name="connsiteY2" fmla="*/ 0 h 3101788"/>
              <a:gd name="connsiteX0" fmla="*/ 26267 w 232322"/>
              <a:gd name="connsiteY0" fmla="*/ 2801537 h 2801537"/>
              <a:gd name="connsiteX1" fmla="*/ 70958 w 232322"/>
              <a:gd name="connsiteY1" fmla="*/ 1676400 h 2801537"/>
              <a:gd name="connsiteX2" fmla="*/ 232322 w 232322"/>
              <a:gd name="connsiteY2" fmla="*/ 0 h 2801537"/>
              <a:gd name="connsiteX0" fmla="*/ 0 w 206055"/>
              <a:gd name="connsiteY0" fmla="*/ 2801537 h 2801537"/>
              <a:gd name="connsiteX1" fmla="*/ 44691 w 206055"/>
              <a:gd name="connsiteY1" fmla="*/ 1676400 h 2801537"/>
              <a:gd name="connsiteX2" fmla="*/ 206055 w 206055"/>
              <a:gd name="connsiteY2" fmla="*/ 0 h 2801537"/>
              <a:gd name="connsiteX0" fmla="*/ 2016 w 208071"/>
              <a:gd name="connsiteY0" fmla="*/ 2801537 h 2801537"/>
              <a:gd name="connsiteX1" fmla="*/ 46707 w 208071"/>
              <a:gd name="connsiteY1" fmla="*/ 1676400 h 2801537"/>
              <a:gd name="connsiteX2" fmla="*/ 208071 w 208071"/>
              <a:gd name="connsiteY2" fmla="*/ 0 h 2801537"/>
              <a:gd name="connsiteX0" fmla="*/ 0 w 206055"/>
              <a:gd name="connsiteY0" fmla="*/ 2801537 h 2801537"/>
              <a:gd name="connsiteX1" fmla="*/ 71987 w 206055"/>
              <a:gd name="connsiteY1" fmla="*/ 1246495 h 2801537"/>
              <a:gd name="connsiteX2" fmla="*/ 206055 w 206055"/>
              <a:gd name="connsiteY2" fmla="*/ 0 h 2801537"/>
              <a:gd name="connsiteX0" fmla="*/ 0 w 206055"/>
              <a:gd name="connsiteY0" fmla="*/ 2801537 h 2801537"/>
              <a:gd name="connsiteX1" fmla="*/ 85634 w 206055"/>
              <a:gd name="connsiteY1" fmla="*/ 1219200 h 2801537"/>
              <a:gd name="connsiteX2" fmla="*/ 206055 w 206055"/>
              <a:gd name="connsiteY2" fmla="*/ 0 h 2801537"/>
              <a:gd name="connsiteX0" fmla="*/ 0 w 206055"/>
              <a:gd name="connsiteY0" fmla="*/ 2801537 h 2801537"/>
              <a:gd name="connsiteX1" fmla="*/ 113914 w 206055"/>
              <a:gd name="connsiteY1" fmla="*/ 1222342 h 2801537"/>
              <a:gd name="connsiteX2" fmla="*/ 206055 w 206055"/>
              <a:gd name="connsiteY2" fmla="*/ 0 h 2801537"/>
              <a:gd name="connsiteX0" fmla="*/ 0 w 206055"/>
              <a:gd name="connsiteY0" fmla="*/ 2801537 h 2801537"/>
              <a:gd name="connsiteX1" fmla="*/ 113914 w 206055"/>
              <a:gd name="connsiteY1" fmla="*/ 1222342 h 2801537"/>
              <a:gd name="connsiteX2" fmla="*/ 206055 w 206055"/>
              <a:gd name="connsiteY2" fmla="*/ 0 h 2801537"/>
              <a:gd name="connsiteX0" fmla="*/ 0 w 215482"/>
              <a:gd name="connsiteY0" fmla="*/ 2597290 h 2597290"/>
              <a:gd name="connsiteX1" fmla="*/ 113914 w 215482"/>
              <a:gd name="connsiteY1" fmla="*/ 1018095 h 2597290"/>
              <a:gd name="connsiteX2" fmla="*/ 215482 w 215482"/>
              <a:gd name="connsiteY2" fmla="*/ 0 h 2597290"/>
              <a:gd name="connsiteX0" fmla="*/ 1991 w 148343"/>
              <a:gd name="connsiteY0" fmla="*/ 2606717 h 2606717"/>
              <a:gd name="connsiteX1" fmla="*/ 46775 w 148343"/>
              <a:gd name="connsiteY1" fmla="*/ 1018095 h 2606717"/>
              <a:gd name="connsiteX2" fmla="*/ 148343 w 148343"/>
              <a:gd name="connsiteY2" fmla="*/ 0 h 2606717"/>
            </a:gdLst>
            <a:ahLst/>
            <a:cxnLst>
              <a:cxn ang="0">
                <a:pos x="connsiteX0" y="connsiteY0"/>
              </a:cxn>
              <a:cxn ang="0">
                <a:pos x="connsiteX1" y="connsiteY1"/>
              </a:cxn>
              <a:cxn ang="0">
                <a:pos x="connsiteX2" y="connsiteY2"/>
              </a:cxn>
            </a:cxnLst>
            <a:rect l="l" t="t" r="r" b="b"/>
            <a:pathLst>
              <a:path w="148343" h="2606717">
                <a:moveTo>
                  <a:pt x="1991" y="2606717"/>
                </a:moveTo>
                <a:cubicBezTo>
                  <a:pt x="2047" y="1702129"/>
                  <a:pt x="-14484" y="1611260"/>
                  <a:pt x="46775" y="1018095"/>
                </a:cubicBezTo>
                <a:cubicBezTo>
                  <a:pt x="108034" y="424930"/>
                  <a:pt x="98290" y="573367"/>
                  <a:pt x="148343" y="0"/>
                </a:cubicBezTo>
              </a:path>
            </a:pathLst>
          </a:custGeom>
          <a:noFill/>
          <a:ln>
            <a:prstDash val="dash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latin typeface="Century Gothic Pro" panose="020B0502020202020204" pitchFamily="34" charset="0"/>
            </a:endParaRPr>
          </a:p>
        </p:txBody>
      </p:sp>
      <p:sp>
        <p:nvSpPr>
          <p:cNvPr id="121" name="Freeform 120"/>
          <p:cNvSpPr/>
          <p:nvPr/>
        </p:nvSpPr>
        <p:spPr>
          <a:xfrm>
            <a:off x="1114291" y="2352081"/>
            <a:ext cx="333308" cy="2327257"/>
          </a:xfrm>
          <a:custGeom>
            <a:avLst/>
            <a:gdLst>
              <a:gd name="connsiteX0" fmla="*/ 0 w 470848"/>
              <a:gd name="connsiteY0" fmla="*/ 2756848 h 2756848"/>
              <a:gd name="connsiteX1" fmla="*/ 197893 w 470848"/>
              <a:gd name="connsiteY1" fmla="*/ 2176818 h 2756848"/>
              <a:gd name="connsiteX2" fmla="*/ 375314 w 470848"/>
              <a:gd name="connsiteY2" fmla="*/ 955344 h 2756848"/>
              <a:gd name="connsiteX3" fmla="*/ 470848 w 470848"/>
              <a:gd name="connsiteY3" fmla="*/ 0 h 2756848"/>
              <a:gd name="connsiteX0" fmla="*/ 0 w 421421"/>
              <a:gd name="connsiteY0" fmla="*/ 2760967 h 2760967"/>
              <a:gd name="connsiteX1" fmla="*/ 148466 w 421421"/>
              <a:gd name="connsiteY1" fmla="*/ 2176818 h 2760967"/>
              <a:gd name="connsiteX2" fmla="*/ 325887 w 421421"/>
              <a:gd name="connsiteY2" fmla="*/ 955344 h 2760967"/>
              <a:gd name="connsiteX3" fmla="*/ 421421 w 421421"/>
              <a:gd name="connsiteY3" fmla="*/ 0 h 2760967"/>
              <a:gd name="connsiteX0" fmla="*/ 0 w 421421"/>
              <a:gd name="connsiteY0" fmla="*/ 2760967 h 2760967"/>
              <a:gd name="connsiteX1" fmla="*/ 148466 w 421421"/>
              <a:gd name="connsiteY1" fmla="*/ 2176818 h 2760967"/>
              <a:gd name="connsiteX2" fmla="*/ 325887 w 421421"/>
              <a:gd name="connsiteY2" fmla="*/ 955344 h 2760967"/>
              <a:gd name="connsiteX3" fmla="*/ 421421 w 421421"/>
              <a:gd name="connsiteY3" fmla="*/ 0 h 2760967"/>
            </a:gdLst>
            <a:ahLst/>
            <a:cxnLst>
              <a:cxn ang="0">
                <a:pos x="connsiteX0" y="connsiteY0"/>
              </a:cxn>
              <a:cxn ang="0">
                <a:pos x="connsiteX1" y="connsiteY1"/>
              </a:cxn>
              <a:cxn ang="0">
                <a:pos x="connsiteX2" y="connsiteY2"/>
              </a:cxn>
              <a:cxn ang="0">
                <a:pos x="connsiteX3" y="connsiteY3"/>
              </a:cxn>
            </a:cxnLst>
            <a:rect l="l" t="t" r="r" b="b"/>
            <a:pathLst>
              <a:path w="421421" h="2760967">
                <a:moveTo>
                  <a:pt x="0" y="2760967"/>
                </a:moveTo>
                <a:cubicBezTo>
                  <a:pt x="67670" y="2518104"/>
                  <a:pt x="94152" y="2477755"/>
                  <a:pt x="148466" y="2176818"/>
                </a:cubicBezTo>
                <a:cubicBezTo>
                  <a:pt x="202780" y="1875881"/>
                  <a:pt x="280395" y="1318147"/>
                  <a:pt x="325887" y="955344"/>
                </a:cubicBezTo>
                <a:cubicBezTo>
                  <a:pt x="371379" y="592541"/>
                  <a:pt x="396400" y="296270"/>
                  <a:pt x="421421" y="0"/>
                </a:cubicBezTo>
              </a:path>
            </a:pathLst>
          </a:custGeom>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GB">
              <a:latin typeface="Century Gothic Pro" panose="020B0502020202020204" pitchFamily="34" charset="0"/>
            </a:endParaRPr>
          </a:p>
        </p:txBody>
      </p:sp>
      <p:sp>
        <p:nvSpPr>
          <p:cNvPr id="122" name="Freeform 121"/>
          <p:cNvSpPr/>
          <p:nvPr/>
        </p:nvSpPr>
        <p:spPr>
          <a:xfrm>
            <a:off x="967949" y="2352080"/>
            <a:ext cx="453919" cy="2294684"/>
          </a:xfrm>
          <a:custGeom>
            <a:avLst/>
            <a:gdLst>
              <a:gd name="connsiteX0" fmla="*/ 0 w 429905"/>
              <a:gd name="connsiteY0" fmla="*/ 2429302 h 2429302"/>
              <a:gd name="connsiteX1" fmla="*/ 191069 w 429905"/>
              <a:gd name="connsiteY1" fmla="*/ 1828800 h 2429302"/>
              <a:gd name="connsiteX2" fmla="*/ 327546 w 429905"/>
              <a:gd name="connsiteY2" fmla="*/ 798394 h 2429302"/>
              <a:gd name="connsiteX3" fmla="*/ 429905 w 429905"/>
              <a:gd name="connsiteY3" fmla="*/ 0 h 2429302"/>
              <a:gd name="connsiteX0" fmla="*/ 0 w 384597"/>
              <a:gd name="connsiteY0" fmla="*/ 2425183 h 2425183"/>
              <a:gd name="connsiteX1" fmla="*/ 145761 w 384597"/>
              <a:gd name="connsiteY1" fmla="*/ 1828800 h 2425183"/>
              <a:gd name="connsiteX2" fmla="*/ 282238 w 384597"/>
              <a:gd name="connsiteY2" fmla="*/ 798394 h 2425183"/>
              <a:gd name="connsiteX3" fmla="*/ 384597 w 384597"/>
              <a:gd name="connsiteY3" fmla="*/ 0 h 2425183"/>
              <a:gd name="connsiteX0" fmla="*/ 0 w 384597"/>
              <a:gd name="connsiteY0" fmla="*/ 2425183 h 2425183"/>
              <a:gd name="connsiteX1" fmla="*/ 145761 w 384597"/>
              <a:gd name="connsiteY1" fmla="*/ 1828800 h 2425183"/>
              <a:gd name="connsiteX2" fmla="*/ 282238 w 384597"/>
              <a:gd name="connsiteY2" fmla="*/ 798394 h 2425183"/>
              <a:gd name="connsiteX3" fmla="*/ 384597 w 384597"/>
              <a:gd name="connsiteY3" fmla="*/ 0 h 2425183"/>
              <a:gd name="connsiteX0" fmla="*/ 0 w 780522"/>
              <a:gd name="connsiteY0" fmla="*/ 2469175 h 2469175"/>
              <a:gd name="connsiteX1" fmla="*/ 541686 w 780522"/>
              <a:gd name="connsiteY1" fmla="*/ 1828800 h 2469175"/>
              <a:gd name="connsiteX2" fmla="*/ 678163 w 780522"/>
              <a:gd name="connsiteY2" fmla="*/ 798394 h 2469175"/>
              <a:gd name="connsiteX3" fmla="*/ 780522 w 780522"/>
              <a:gd name="connsiteY3" fmla="*/ 0 h 2469175"/>
              <a:gd name="connsiteX0" fmla="*/ 0 w 780522"/>
              <a:gd name="connsiteY0" fmla="*/ 2469175 h 2469175"/>
              <a:gd name="connsiteX1" fmla="*/ 488267 w 780522"/>
              <a:gd name="connsiteY1" fmla="*/ 1762813 h 2469175"/>
              <a:gd name="connsiteX2" fmla="*/ 678163 w 780522"/>
              <a:gd name="connsiteY2" fmla="*/ 798394 h 2469175"/>
              <a:gd name="connsiteX3" fmla="*/ 780522 w 780522"/>
              <a:gd name="connsiteY3" fmla="*/ 0 h 2469175"/>
              <a:gd name="connsiteX0" fmla="*/ 0 w 802518"/>
              <a:gd name="connsiteY0" fmla="*/ 2550874 h 2550874"/>
              <a:gd name="connsiteX1" fmla="*/ 488267 w 802518"/>
              <a:gd name="connsiteY1" fmla="*/ 1844512 h 2550874"/>
              <a:gd name="connsiteX2" fmla="*/ 678163 w 802518"/>
              <a:gd name="connsiteY2" fmla="*/ 880093 h 2550874"/>
              <a:gd name="connsiteX3" fmla="*/ 802518 w 802518"/>
              <a:gd name="connsiteY3" fmla="*/ 0 h 2550874"/>
              <a:gd name="connsiteX0" fmla="*/ 0 w 573918"/>
              <a:gd name="connsiteY0" fmla="*/ 2722324 h 2722324"/>
              <a:gd name="connsiteX1" fmla="*/ 259667 w 573918"/>
              <a:gd name="connsiteY1" fmla="*/ 1844512 h 2722324"/>
              <a:gd name="connsiteX2" fmla="*/ 449563 w 573918"/>
              <a:gd name="connsiteY2" fmla="*/ 880093 h 2722324"/>
              <a:gd name="connsiteX3" fmla="*/ 573918 w 573918"/>
              <a:gd name="connsiteY3" fmla="*/ 0 h 2722324"/>
            </a:gdLst>
            <a:ahLst/>
            <a:cxnLst>
              <a:cxn ang="0">
                <a:pos x="connsiteX0" y="connsiteY0"/>
              </a:cxn>
              <a:cxn ang="0">
                <a:pos x="connsiteX1" y="connsiteY1"/>
              </a:cxn>
              <a:cxn ang="0">
                <a:pos x="connsiteX2" y="connsiteY2"/>
              </a:cxn>
              <a:cxn ang="0">
                <a:pos x="connsiteX3" y="connsiteY3"/>
              </a:cxn>
            </a:cxnLst>
            <a:rect l="l" t="t" r="r" b="b"/>
            <a:pathLst>
              <a:path w="573918" h="2722324">
                <a:moveTo>
                  <a:pt x="0" y="2722324"/>
                </a:moveTo>
                <a:cubicBezTo>
                  <a:pt x="105309" y="2393226"/>
                  <a:pt x="184740" y="2151551"/>
                  <a:pt x="259667" y="1844512"/>
                </a:cubicBezTo>
                <a:cubicBezTo>
                  <a:pt x="334594" y="1537473"/>
                  <a:pt x="409757" y="1184893"/>
                  <a:pt x="449563" y="880093"/>
                </a:cubicBezTo>
                <a:cubicBezTo>
                  <a:pt x="489369" y="575293"/>
                  <a:pt x="542641" y="246797"/>
                  <a:pt x="573918" y="0"/>
                </a:cubicBezTo>
              </a:path>
            </a:pathLst>
          </a:custGeom>
          <a:ln w="25400"/>
        </p:spPr>
        <p:style>
          <a:lnRef idx="3">
            <a:schemeClr val="accent3"/>
          </a:lnRef>
          <a:fillRef idx="0">
            <a:schemeClr val="accent3"/>
          </a:fillRef>
          <a:effectRef idx="2">
            <a:schemeClr val="accent3"/>
          </a:effectRef>
          <a:fontRef idx="minor">
            <a:schemeClr val="tx1"/>
          </a:fontRef>
        </p:style>
        <p:txBody>
          <a:bodyPr rtlCol="0" anchor="ctr"/>
          <a:lstStyle/>
          <a:p>
            <a:pPr algn="ctr"/>
            <a:endParaRPr lang="en-GB">
              <a:latin typeface="Century Gothic Pro" panose="020B0502020202020204" pitchFamily="34" charset="0"/>
            </a:endParaRPr>
          </a:p>
        </p:txBody>
      </p:sp>
      <p:sp>
        <p:nvSpPr>
          <p:cNvPr id="124" name="Freeform 123"/>
          <p:cNvSpPr/>
          <p:nvPr/>
        </p:nvSpPr>
        <p:spPr>
          <a:xfrm>
            <a:off x="1409512" y="2428281"/>
            <a:ext cx="86497" cy="2211195"/>
          </a:xfrm>
          <a:custGeom>
            <a:avLst/>
            <a:gdLst>
              <a:gd name="connsiteX0" fmla="*/ 27754 w 211999"/>
              <a:gd name="connsiteY0" fmla="*/ 2763672 h 2763672"/>
              <a:gd name="connsiteX1" fmla="*/ 7282 w 211999"/>
              <a:gd name="connsiteY1" fmla="*/ 1965278 h 2763672"/>
              <a:gd name="connsiteX2" fmla="*/ 136936 w 211999"/>
              <a:gd name="connsiteY2" fmla="*/ 723332 h 2763672"/>
              <a:gd name="connsiteX3" fmla="*/ 211999 w 211999"/>
              <a:gd name="connsiteY3" fmla="*/ 0 h 2763672"/>
              <a:gd name="connsiteX0" fmla="*/ 3676 w 187921"/>
              <a:gd name="connsiteY0" fmla="*/ 2763672 h 2763672"/>
              <a:gd name="connsiteX1" fmla="*/ 64903 w 187921"/>
              <a:gd name="connsiteY1" fmla="*/ 2008907 h 2763672"/>
              <a:gd name="connsiteX2" fmla="*/ 112858 w 187921"/>
              <a:gd name="connsiteY2" fmla="*/ 723332 h 2763672"/>
              <a:gd name="connsiteX3" fmla="*/ 187921 w 187921"/>
              <a:gd name="connsiteY3" fmla="*/ 0 h 2763672"/>
              <a:gd name="connsiteX0" fmla="*/ 90936 w 124352"/>
              <a:gd name="connsiteY0" fmla="*/ 2825998 h 2825998"/>
              <a:gd name="connsiteX1" fmla="*/ 1334 w 124352"/>
              <a:gd name="connsiteY1" fmla="*/ 2008907 h 2825998"/>
              <a:gd name="connsiteX2" fmla="*/ 49289 w 124352"/>
              <a:gd name="connsiteY2" fmla="*/ 723332 h 2825998"/>
              <a:gd name="connsiteX3" fmla="*/ 124352 w 124352"/>
              <a:gd name="connsiteY3" fmla="*/ 0 h 2825998"/>
              <a:gd name="connsiteX0" fmla="*/ 90936 w 102356"/>
              <a:gd name="connsiteY0" fmla="*/ 2598506 h 2598506"/>
              <a:gd name="connsiteX1" fmla="*/ 1334 w 102356"/>
              <a:gd name="connsiteY1" fmla="*/ 1781415 h 2598506"/>
              <a:gd name="connsiteX2" fmla="*/ 49289 w 102356"/>
              <a:gd name="connsiteY2" fmla="*/ 495840 h 2598506"/>
              <a:gd name="connsiteX3" fmla="*/ 102356 w 102356"/>
              <a:gd name="connsiteY3" fmla="*/ 0 h 2598506"/>
              <a:gd name="connsiteX0" fmla="*/ 90936 w 102356"/>
              <a:gd name="connsiteY0" fmla="*/ 2598506 h 2598506"/>
              <a:gd name="connsiteX1" fmla="*/ 1334 w 102356"/>
              <a:gd name="connsiteY1" fmla="*/ 1781415 h 2598506"/>
              <a:gd name="connsiteX2" fmla="*/ 49289 w 102356"/>
              <a:gd name="connsiteY2" fmla="*/ 495840 h 2598506"/>
              <a:gd name="connsiteX3" fmla="*/ 102356 w 102356"/>
              <a:gd name="connsiteY3" fmla="*/ 0 h 2598506"/>
              <a:gd name="connsiteX0" fmla="*/ 90936 w 102356"/>
              <a:gd name="connsiteY0" fmla="*/ 2598506 h 2598506"/>
              <a:gd name="connsiteX1" fmla="*/ 1334 w 102356"/>
              <a:gd name="connsiteY1" fmla="*/ 1781415 h 2598506"/>
              <a:gd name="connsiteX2" fmla="*/ 49289 w 102356"/>
              <a:gd name="connsiteY2" fmla="*/ 495840 h 2598506"/>
              <a:gd name="connsiteX3" fmla="*/ 102356 w 102356"/>
              <a:gd name="connsiteY3" fmla="*/ 0 h 2598506"/>
              <a:gd name="connsiteX0" fmla="*/ 90439 w 101859"/>
              <a:gd name="connsiteY0" fmla="*/ 2598506 h 2598506"/>
              <a:gd name="connsiteX1" fmla="*/ 837 w 101859"/>
              <a:gd name="connsiteY1" fmla="*/ 1781415 h 2598506"/>
              <a:gd name="connsiteX2" fmla="*/ 55077 w 101859"/>
              <a:gd name="connsiteY2" fmla="*/ 651656 h 2598506"/>
              <a:gd name="connsiteX3" fmla="*/ 101859 w 101859"/>
              <a:gd name="connsiteY3" fmla="*/ 0 h 2598506"/>
              <a:gd name="connsiteX0" fmla="*/ 91660 w 103080"/>
              <a:gd name="connsiteY0" fmla="*/ 2598506 h 2598506"/>
              <a:gd name="connsiteX1" fmla="*/ 2058 w 103080"/>
              <a:gd name="connsiteY1" fmla="*/ 1781415 h 2598506"/>
              <a:gd name="connsiteX2" fmla="*/ 43729 w 103080"/>
              <a:gd name="connsiteY2" fmla="*/ 654772 h 2598506"/>
              <a:gd name="connsiteX3" fmla="*/ 103080 w 103080"/>
              <a:gd name="connsiteY3" fmla="*/ 0 h 2598506"/>
              <a:gd name="connsiteX0" fmla="*/ 91660 w 109364"/>
              <a:gd name="connsiteY0" fmla="*/ 2601622 h 2601622"/>
              <a:gd name="connsiteX1" fmla="*/ 2058 w 109364"/>
              <a:gd name="connsiteY1" fmla="*/ 1784531 h 2601622"/>
              <a:gd name="connsiteX2" fmla="*/ 43729 w 109364"/>
              <a:gd name="connsiteY2" fmla="*/ 657888 h 2601622"/>
              <a:gd name="connsiteX3" fmla="*/ 109364 w 109364"/>
              <a:gd name="connsiteY3" fmla="*/ 0 h 2601622"/>
            </a:gdLst>
            <a:ahLst/>
            <a:cxnLst>
              <a:cxn ang="0">
                <a:pos x="connsiteX0" y="connsiteY0"/>
              </a:cxn>
              <a:cxn ang="0">
                <a:pos x="connsiteX1" y="connsiteY1"/>
              </a:cxn>
              <a:cxn ang="0">
                <a:pos x="connsiteX2" y="connsiteY2"/>
              </a:cxn>
              <a:cxn ang="0">
                <a:pos x="connsiteX3" y="connsiteY3"/>
              </a:cxn>
            </a:cxnLst>
            <a:rect l="l" t="t" r="r" b="b"/>
            <a:pathLst>
              <a:path w="109364" h="2601622">
                <a:moveTo>
                  <a:pt x="91660" y="2601622"/>
                </a:moveTo>
                <a:cubicBezTo>
                  <a:pt x="72325" y="2372453"/>
                  <a:pt x="10046" y="2108487"/>
                  <a:pt x="2058" y="1784531"/>
                </a:cubicBezTo>
                <a:cubicBezTo>
                  <a:pt x="-5930" y="1460575"/>
                  <a:pt x="9609" y="985434"/>
                  <a:pt x="43729" y="657888"/>
                </a:cubicBezTo>
                <a:cubicBezTo>
                  <a:pt x="77849" y="330342"/>
                  <a:pt x="70038" y="400455"/>
                  <a:pt x="109364" y="0"/>
                </a:cubicBezTo>
              </a:path>
            </a:pathLst>
          </a:custGeom>
          <a:ln w="25400"/>
        </p:spPr>
        <p:style>
          <a:lnRef idx="3">
            <a:schemeClr val="accent3"/>
          </a:lnRef>
          <a:fillRef idx="0">
            <a:schemeClr val="accent3"/>
          </a:fillRef>
          <a:effectRef idx="2">
            <a:schemeClr val="accent3"/>
          </a:effectRef>
          <a:fontRef idx="minor">
            <a:schemeClr val="tx1"/>
          </a:fontRef>
        </p:style>
        <p:txBody>
          <a:bodyPr rtlCol="0" anchor="ctr"/>
          <a:lstStyle/>
          <a:p>
            <a:pPr algn="ctr"/>
            <a:endParaRPr lang="en-GB">
              <a:latin typeface="Century Gothic Pro" panose="020B0502020202020204" pitchFamily="34" charset="0"/>
            </a:endParaRPr>
          </a:p>
        </p:txBody>
      </p:sp>
      <p:sp>
        <p:nvSpPr>
          <p:cNvPr id="125" name="Freeform 124"/>
          <p:cNvSpPr/>
          <p:nvPr/>
        </p:nvSpPr>
        <p:spPr>
          <a:xfrm>
            <a:off x="1488196" y="2428281"/>
            <a:ext cx="370538" cy="2300681"/>
          </a:xfrm>
          <a:custGeom>
            <a:avLst/>
            <a:gdLst>
              <a:gd name="connsiteX0" fmla="*/ 13789 w 157091"/>
              <a:gd name="connsiteY0" fmla="*/ 2408830 h 2408830"/>
              <a:gd name="connsiteX1" fmla="*/ 13789 w 157091"/>
              <a:gd name="connsiteY1" fmla="*/ 1733266 h 2408830"/>
              <a:gd name="connsiteX2" fmla="*/ 157091 w 157091"/>
              <a:gd name="connsiteY2" fmla="*/ 0 h 2408830"/>
              <a:gd name="connsiteX0" fmla="*/ 1621 w 144923"/>
              <a:gd name="connsiteY0" fmla="*/ 2408830 h 2408830"/>
              <a:gd name="connsiteX1" fmla="*/ 70750 w 144923"/>
              <a:gd name="connsiteY1" fmla="*/ 1726981 h 2408830"/>
              <a:gd name="connsiteX2" fmla="*/ 144923 w 144923"/>
              <a:gd name="connsiteY2" fmla="*/ 0 h 2408830"/>
              <a:gd name="connsiteX0" fmla="*/ 215445 w 215445"/>
              <a:gd name="connsiteY0" fmla="*/ 2565943 h 2565943"/>
              <a:gd name="connsiteX1" fmla="*/ 1770 w 215445"/>
              <a:gd name="connsiteY1" fmla="*/ 1726981 h 2565943"/>
              <a:gd name="connsiteX2" fmla="*/ 75943 w 215445"/>
              <a:gd name="connsiteY2" fmla="*/ 0 h 2565943"/>
              <a:gd name="connsiteX0" fmla="*/ 215445 w 215445"/>
              <a:gd name="connsiteY0" fmla="*/ 2565943 h 2565943"/>
              <a:gd name="connsiteX1" fmla="*/ 1770 w 215445"/>
              <a:gd name="connsiteY1" fmla="*/ 1726981 h 2565943"/>
              <a:gd name="connsiteX2" fmla="*/ 75943 w 215445"/>
              <a:gd name="connsiteY2" fmla="*/ 0 h 2565943"/>
              <a:gd name="connsiteX0" fmla="*/ 215445 w 215445"/>
              <a:gd name="connsiteY0" fmla="*/ 2719914 h 2719914"/>
              <a:gd name="connsiteX1" fmla="*/ 1770 w 215445"/>
              <a:gd name="connsiteY1" fmla="*/ 1880952 h 2719914"/>
              <a:gd name="connsiteX2" fmla="*/ 91655 w 215445"/>
              <a:gd name="connsiteY2" fmla="*/ 0 h 2719914"/>
              <a:gd name="connsiteX0" fmla="*/ 500237 w 500237"/>
              <a:gd name="connsiteY0" fmla="*/ 2729439 h 2729439"/>
              <a:gd name="connsiteX1" fmla="*/ 812 w 500237"/>
              <a:gd name="connsiteY1" fmla="*/ 1880952 h 2729439"/>
              <a:gd name="connsiteX2" fmla="*/ 90697 w 500237"/>
              <a:gd name="connsiteY2" fmla="*/ 0 h 2729439"/>
              <a:gd name="connsiteX0" fmla="*/ 434365 w 434365"/>
              <a:gd name="connsiteY0" fmla="*/ 2729439 h 2729439"/>
              <a:gd name="connsiteX1" fmla="*/ 11140 w 434365"/>
              <a:gd name="connsiteY1" fmla="*/ 1747602 h 2729439"/>
              <a:gd name="connsiteX2" fmla="*/ 24825 w 434365"/>
              <a:gd name="connsiteY2" fmla="*/ 0 h 2729439"/>
              <a:gd name="connsiteX0" fmla="*/ 481216 w 481216"/>
              <a:gd name="connsiteY0" fmla="*/ 2729439 h 2729439"/>
              <a:gd name="connsiteX1" fmla="*/ 841 w 481216"/>
              <a:gd name="connsiteY1" fmla="*/ 1757127 h 2729439"/>
              <a:gd name="connsiteX2" fmla="*/ 71676 w 481216"/>
              <a:gd name="connsiteY2" fmla="*/ 0 h 2729439"/>
              <a:gd name="connsiteX0" fmla="*/ 480375 w 480375"/>
              <a:gd name="connsiteY0" fmla="*/ 2729439 h 2729439"/>
              <a:gd name="connsiteX1" fmla="*/ 0 w 480375"/>
              <a:gd name="connsiteY1" fmla="*/ 1757127 h 2729439"/>
              <a:gd name="connsiteX2" fmla="*/ 70835 w 480375"/>
              <a:gd name="connsiteY2" fmla="*/ 0 h 2729439"/>
              <a:gd name="connsiteX0" fmla="*/ 451800 w 451800"/>
              <a:gd name="connsiteY0" fmla="*/ 2729439 h 2729439"/>
              <a:gd name="connsiteX1" fmla="*/ 0 w 451800"/>
              <a:gd name="connsiteY1" fmla="*/ 1757127 h 2729439"/>
              <a:gd name="connsiteX2" fmla="*/ 42260 w 451800"/>
              <a:gd name="connsiteY2" fmla="*/ 0 h 2729439"/>
              <a:gd name="connsiteX0" fmla="*/ 452691 w 452691"/>
              <a:gd name="connsiteY0" fmla="*/ 2729439 h 2729439"/>
              <a:gd name="connsiteX1" fmla="*/ 891 w 452691"/>
              <a:gd name="connsiteY1" fmla="*/ 1757127 h 2729439"/>
              <a:gd name="connsiteX2" fmla="*/ 43151 w 452691"/>
              <a:gd name="connsiteY2" fmla="*/ 0 h 2729439"/>
              <a:gd name="connsiteX0" fmla="*/ 432299 w 432299"/>
              <a:gd name="connsiteY0" fmla="*/ 2729439 h 2729439"/>
              <a:gd name="connsiteX1" fmla="*/ 18599 w 432299"/>
              <a:gd name="connsiteY1" fmla="*/ 1776177 h 2729439"/>
              <a:gd name="connsiteX2" fmla="*/ 22759 w 432299"/>
              <a:gd name="connsiteY2" fmla="*/ 0 h 2729439"/>
              <a:gd name="connsiteX0" fmla="*/ 457285 w 457285"/>
              <a:gd name="connsiteY0" fmla="*/ 2729439 h 2729439"/>
              <a:gd name="connsiteX1" fmla="*/ 43585 w 457285"/>
              <a:gd name="connsiteY1" fmla="*/ 1776177 h 2729439"/>
              <a:gd name="connsiteX2" fmla="*/ 47745 w 457285"/>
              <a:gd name="connsiteY2" fmla="*/ 0 h 2729439"/>
              <a:gd name="connsiteX0" fmla="*/ 468494 w 468494"/>
              <a:gd name="connsiteY0" fmla="*/ 2729439 h 2729439"/>
              <a:gd name="connsiteX1" fmla="*/ 35744 w 468494"/>
              <a:gd name="connsiteY1" fmla="*/ 1795227 h 2729439"/>
              <a:gd name="connsiteX2" fmla="*/ 58954 w 468494"/>
              <a:gd name="connsiteY2" fmla="*/ 0 h 2729439"/>
            </a:gdLst>
            <a:ahLst/>
            <a:cxnLst>
              <a:cxn ang="0">
                <a:pos x="connsiteX0" y="connsiteY0"/>
              </a:cxn>
              <a:cxn ang="0">
                <a:pos x="connsiteX1" y="connsiteY1"/>
              </a:cxn>
              <a:cxn ang="0">
                <a:pos x="connsiteX2" y="connsiteY2"/>
              </a:cxn>
            </a:cxnLst>
            <a:rect l="l" t="t" r="r" b="b"/>
            <a:pathLst>
              <a:path w="468494" h="2729439">
                <a:moveTo>
                  <a:pt x="468494" y="2729439"/>
                </a:moveTo>
                <a:cubicBezTo>
                  <a:pt x="456552" y="2592393"/>
                  <a:pt x="97585" y="2225274"/>
                  <a:pt x="35744" y="1795227"/>
                </a:cubicBezTo>
                <a:cubicBezTo>
                  <a:pt x="-26097" y="1365180"/>
                  <a:pt x="-755" y="665897"/>
                  <a:pt x="58954" y="0"/>
                </a:cubicBezTo>
              </a:path>
            </a:pathLst>
          </a:custGeom>
          <a:ln w="25400"/>
        </p:spPr>
        <p:style>
          <a:lnRef idx="3">
            <a:schemeClr val="accent3"/>
          </a:lnRef>
          <a:fillRef idx="0">
            <a:schemeClr val="accent3"/>
          </a:fillRef>
          <a:effectRef idx="2">
            <a:schemeClr val="accent3"/>
          </a:effectRef>
          <a:fontRef idx="minor">
            <a:schemeClr val="tx1"/>
          </a:fontRef>
        </p:style>
        <p:txBody>
          <a:bodyPr rtlCol="0" anchor="ctr"/>
          <a:lstStyle/>
          <a:p>
            <a:pPr algn="ctr"/>
            <a:endParaRPr lang="en-GB">
              <a:latin typeface="Century Gothic Pro" panose="020B0502020202020204" pitchFamily="34" charset="0"/>
            </a:endParaRPr>
          </a:p>
        </p:txBody>
      </p:sp>
      <p:sp>
        <p:nvSpPr>
          <p:cNvPr id="133" name="Freeform 132"/>
          <p:cNvSpPr/>
          <p:nvPr/>
        </p:nvSpPr>
        <p:spPr>
          <a:xfrm>
            <a:off x="732104" y="2449995"/>
            <a:ext cx="582842" cy="2053831"/>
          </a:xfrm>
          <a:custGeom>
            <a:avLst/>
            <a:gdLst>
              <a:gd name="connsiteX0" fmla="*/ 0 w 436729"/>
              <a:gd name="connsiteY0" fmla="*/ 2067635 h 2067635"/>
              <a:gd name="connsiteX1" fmla="*/ 225188 w 436729"/>
              <a:gd name="connsiteY1" fmla="*/ 1221474 h 2067635"/>
              <a:gd name="connsiteX2" fmla="*/ 436729 w 436729"/>
              <a:gd name="connsiteY2" fmla="*/ 0 h 2067635"/>
              <a:gd name="connsiteX0" fmla="*/ 0 w 370826"/>
              <a:gd name="connsiteY0" fmla="*/ 1985257 h 1985257"/>
              <a:gd name="connsiteX1" fmla="*/ 159285 w 370826"/>
              <a:gd name="connsiteY1" fmla="*/ 1221474 h 1985257"/>
              <a:gd name="connsiteX2" fmla="*/ 370826 w 370826"/>
              <a:gd name="connsiteY2" fmla="*/ 0 h 1985257"/>
              <a:gd name="connsiteX0" fmla="*/ 0 w 370826"/>
              <a:gd name="connsiteY0" fmla="*/ 1985257 h 1985257"/>
              <a:gd name="connsiteX1" fmla="*/ 175761 w 370826"/>
              <a:gd name="connsiteY1" fmla="*/ 1217355 h 1985257"/>
              <a:gd name="connsiteX2" fmla="*/ 370826 w 370826"/>
              <a:gd name="connsiteY2" fmla="*/ 0 h 1985257"/>
              <a:gd name="connsiteX0" fmla="*/ 0 w 826454"/>
              <a:gd name="connsiteY0" fmla="*/ 2007253 h 2007253"/>
              <a:gd name="connsiteX1" fmla="*/ 631389 w 826454"/>
              <a:gd name="connsiteY1" fmla="*/ 1217355 h 2007253"/>
              <a:gd name="connsiteX2" fmla="*/ 826454 w 826454"/>
              <a:gd name="connsiteY2" fmla="*/ 0 h 2007253"/>
              <a:gd name="connsiteX0" fmla="*/ 0 w 826454"/>
              <a:gd name="connsiteY0" fmla="*/ 2007253 h 2007253"/>
              <a:gd name="connsiteX1" fmla="*/ 515126 w 826454"/>
              <a:gd name="connsiteY1" fmla="*/ 1201644 h 2007253"/>
              <a:gd name="connsiteX2" fmla="*/ 826454 w 826454"/>
              <a:gd name="connsiteY2" fmla="*/ 0 h 2007253"/>
              <a:gd name="connsiteX0" fmla="*/ 0 w 788747"/>
              <a:gd name="connsiteY0" fmla="*/ 2079525 h 2079525"/>
              <a:gd name="connsiteX1" fmla="*/ 515126 w 788747"/>
              <a:gd name="connsiteY1" fmla="*/ 1273916 h 2079525"/>
              <a:gd name="connsiteX2" fmla="*/ 788747 w 788747"/>
              <a:gd name="connsiteY2" fmla="*/ 0 h 2079525"/>
              <a:gd name="connsiteX0" fmla="*/ 0 w 788747"/>
              <a:gd name="connsiteY0" fmla="*/ 2079525 h 2079525"/>
              <a:gd name="connsiteX1" fmla="*/ 515126 w 788747"/>
              <a:gd name="connsiteY1" fmla="*/ 1273916 h 2079525"/>
              <a:gd name="connsiteX2" fmla="*/ 788747 w 788747"/>
              <a:gd name="connsiteY2" fmla="*/ 0 h 2079525"/>
              <a:gd name="connsiteX0" fmla="*/ 0 w 788747"/>
              <a:gd name="connsiteY0" fmla="*/ 2079525 h 2079525"/>
              <a:gd name="connsiteX1" fmla="*/ 515126 w 788747"/>
              <a:gd name="connsiteY1" fmla="*/ 1273916 h 2079525"/>
              <a:gd name="connsiteX2" fmla="*/ 788747 w 788747"/>
              <a:gd name="connsiteY2" fmla="*/ 0 h 2079525"/>
              <a:gd name="connsiteX0" fmla="*/ 0 w 788747"/>
              <a:gd name="connsiteY0" fmla="*/ 2079525 h 2079525"/>
              <a:gd name="connsiteX1" fmla="*/ 549691 w 788747"/>
              <a:gd name="connsiteY1" fmla="*/ 1157652 h 2079525"/>
              <a:gd name="connsiteX2" fmla="*/ 788747 w 788747"/>
              <a:gd name="connsiteY2" fmla="*/ 0 h 2079525"/>
              <a:gd name="connsiteX0" fmla="*/ 0 w 788747"/>
              <a:gd name="connsiteY0" fmla="*/ 2079525 h 2079525"/>
              <a:gd name="connsiteX1" fmla="*/ 549691 w 788747"/>
              <a:gd name="connsiteY1" fmla="*/ 1157652 h 2079525"/>
              <a:gd name="connsiteX2" fmla="*/ 788747 w 788747"/>
              <a:gd name="connsiteY2" fmla="*/ 0 h 2079525"/>
              <a:gd name="connsiteX0" fmla="*/ 0 w 788747"/>
              <a:gd name="connsiteY0" fmla="*/ 2079525 h 2079525"/>
              <a:gd name="connsiteX1" fmla="*/ 549691 w 788747"/>
              <a:gd name="connsiteY1" fmla="*/ 1157652 h 2079525"/>
              <a:gd name="connsiteX2" fmla="*/ 788747 w 788747"/>
              <a:gd name="connsiteY2" fmla="*/ 0 h 2079525"/>
              <a:gd name="connsiteX0" fmla="*/ 0 w 788747"/>
              <a:gd name="connsiteY0" fmla="*/ 2079525 h 2079525"/>
              <a:gd name="connsiteX1" fmla="*/ 565402 w 788747"/>
              <a:gd name="connsiteY1" fmla="*/ 1091664 h 2079525"/>
              <a:gd name="connsiteX2" fmla="*/ 788747 w 788747"/>
              <a:gd name="connsiteY2" fmla="*/ 0 h 2079525"/>
              <a:gd name="connsiteX0" fmla="*/ 0 w 757324"/>
              <a:gd name="connsiteY0" fmla="*/ 1881562 h 1881562"/>
              <a:gd name="connsiteX1" fmla="*/ 565402 w 757324"/>
              <a:gd name="connsiteY1" fmla="*/ 893701 h 1881562"/>
              <a:gd name="connsiteX2" fmla="*/ 757324 w 757324"/>
              <a:gd name="connsiteY2" fmla="*/ 0 h 1881562"/>
              <a:gd name="connsiteX0" fmla="*/ 0 w 757324"/>
              <a:gd name="connsiteY0" fmla="*/ 1881562 h 1881562"/>
              <a:gd name="connsiteX1" fmla="*/ 565402 w 757324"/>
              <a:gd name="connsiteY1" fmla="*/ 893701 h 1881562"/>
              <a:gd name="connsiteX2" fmla="*/ 712438 w 757324"/>
              <a:gd name="connsiteY2" fmla="*/ 217492 h 1881562"/>
              <a:gd name="connsiteX3" fmla="*/ 757324 w 757324"/>
              <a:gd name="connsiteY3" fmla="*/ 0 h 1881562"/>
              <a:gd name="connsiteX0" fmla="*/ 0 w 713646"/>
              <a:gd name="connsiteY0" fmla="*/ 2424487 h 2424487"/>
              <a:gd name="connsiteX1" fmla="*/ 565402 w 713646"/>
              <a:gd name="connsiteY1" fmla="*/ 1436626 h 2424487"/>
              <a:gd name="connsiteX2" fmla="*/ 712438 w 713646"/>
              <a:gd name="connsiteY2" fmla="*/ 760417 h 2424487"/>
              <a:gd name="connsiteX3" fmla="*/ 138199 w 713646"/>
              <a:gd name="connsiteY3" fmla="*/ 0 h 2424487"/>
              <a:gd name="connsiteX0" fmla="*/ 0 w 712438"/>
              <a:gd name="connsiteY0" fmla="*/ 2424487 h 2424487"/>
              <a:gd name="connsiteX1" fmla="*/ 565402 w 712438"/>
              <a:gd name="connsiteY1" fmla="*/ 1436626 h 2424487"/>
              <a:gd name="connsiteX2" fmla="*/ 712438 w 712438"/>
              <a:gd name="connsiteY2" fmla="*/ 760417 h 2424487"/>
              <a:gd name="connsiteX3" fmla="*/ 436213 w 712438"/>
              <a:gd name="connsiteY3" fmla="*/ 322268 h 2424487"/>
              <a:gd name="connsiteX4" fmla="*/ 138199 w 712438"/>
              <a:gd name="connsiteY4" fmla="*/ 0 h 2424487"/>
              <a:gd name="connsiteX0" fmla="*/ 0 w 765953"/>
              <a:gd name="connsiteY0" fmla="*/ 2424487 h 2424487"/>
              <a:gd name="connsiteX1" fmla="*/ 565402 w 765953"/>
              <a:gd name="connsiteY1" fmla="*/ 1436626 h 2424487"/>
              <a:gd name="connsiteX2" fmla="*/ 712438 w 765953"/>
              <a:gd name="connsiteY2" fmla="*/ 760417 h 2424487"/>
              <a:gd name="connsiteX3" fmla="*/ 731488 w 765953"/>
              <a:gd name="connsiteY3" fmla="*/ 84143 h 2424487"/>
              <a:gd name="connsiteX4" fmla="*/ 138199 w 765953"/>
              <a:gd name="connsiteY4" fmla="*/ 0 h 2424487"/>
              <a:gd name="connsiteX0" fmla="*/ 0 w 765953"/>
              <a:gd name="connsiteY0" fmla="*/ 2424487 h 2424487"/>
              <a:gd name="connsiteX1" fmla="*/ 565402 w 765953"/>
              <a:gd name="connsiteY1" fmla="*/ 1436626 h 2424487"/>
              <a:gd name="connsiteX2" fmla="*/ 712438 w 765953"/>
              <a:gd name="connsiteY2" fmla="*/ 760417 h 2424487"/>
              <a:gd name="connsiteX3" fmla="*/ 731488 w 765953"/>
              <a:gd name="connsiteY3" fmla="*/ 84143 h 2424487"/>
              <a:gd name="connsiteX4" fmla="*/ 138199 w 765953"/>
              <a:gd name="connsiteY4" fmla="*/ 0 h 2424487"/>
              <a:gd name="connsiteX0" fmla="*/ 0 w 765953"/>
              <a:gd name="connsiteY0" fmla="*/ 2424487 h 2424487"/>
              <a:gd name="connsiteX1" fmla="*/ 565402 w 765953"/>
              <a:gd name="connsiteY1" fmla="*/ 1436626 h 2424487"/>
              <a:gd name="connsiteX2" fmla="*/ 712438 w 765953"/>
              <a:gd name="connsiteY2" fmla="*/ 760417 h 2424487"/>
              <a:gd name="connsiteX3" fmla="*/ 731488 w 765953"/>
              <a:gd name="connsiteY3" fmla="*/ 84143 h 2424487"/>
              <a:gd name="connsiteX4" fmla="*/ 138199 w 765953"/>
              <a:gd name="connsiteY4" fmla="*/ 0 h 2424487"/>
              <a:gd name="connsiteX0" fmla="*/ 0 w 772830"/>
              <a:gd name="connsiteY0" fmla="*/ 2424487 h 2424487"/>
              <a:gd name="connsiteX1" fmla="*/ 565402 w 772830"/>
              <a:gd name="connsiteY1" fmla="*/ 1436626 h 2424487"/>
              <a:gd name="connsiteX2" fmla="*/ 712438 w 772830"/>
              <a:gd name="connsiteY2" fmla="*/ 760417 h 2424487"/>
              <a:gd name="connsiteX3" fmla="*/ 731488 w 772830"/>
              <a:gd name="connsiteY3" fmla="*/ 84143 h 2424487"/>
              <a:gd name="connsiteX4" fmla="*/ 138199 w 772830"/>
              <a:gd name="connsiteY4" fmla="*/ 0 h 2424487"/>
              <a:gd name="connsiteX0" fmla="*/ 0 w 771718"/>
              <a:gd name="connsiteY0" fmla="*/ 2424487 h 2424487"/>
              <a:gd name="connsiteX1" fmla="*/ 565402 w 771718"/>
              <a:gd name="connsiteY1" fmla="*/ 1436626 h 2424487"/>
              <a:gd name="connsiteX2" fmla="*/ 664812 w 771718"/>
              <a:gd name="connsiteY2" fmla="*/ 1065218 h 2424487"/>
              <a:gd name="connsiteX3" fmla="*/ 712438 w 771718"/>
              <a:gd name="connsiteY3" fmla="*/ 760417 h 2424487"/>
              <a:gd name="connsiteX4" fmla="*/ 731488 w 771718"/>
              <a:gd name="connsiteY4" fmla="*/ 84143 h 2424487"/>
              <a:gd name="connsiteX5" fmla="*/ 138199 w 771718"/>
              <a:gd name="connsiteY5" fmla="*/ 0 h 2424487"/>
              <a:gd name="connsiteX0" fmla="*/ 0 w 774026"/>
              <a:gd name="connsiteY0" fmla="*/ 2424487 h 2424487"/>
              <a:gd name="connsiteX1" fmla="*/ 565402 w 774026"/>
              <a:gd name="connsiteY1" fmla="*/ 1436626 h 2424487"/>
              <a:gd name="connsiteX2" fmla="*/ 664812 w 774026"/>
              <a:gd name="connsiteY2" fmla="*/ 1065218 h 2424487"/>
              <a:gd name="connsiteX3" fmla="*/ 721963 w 774026"/>
              <a:gd name="connsiteY3" fmla="*/ 627067 h 2424487"/>
              <a:gd name="connsiteX4" fmla="*/ 731488 w 774026"/>
              <a:gd name="connsiteY4" fmla="*/ 84143 h 2424487"/>
              <a:gd name="connsiteX5" fmla="*/ 138199 w 774026"/>
              <a:gd name="connsiteY5" fmla="*/ 0 h 2424487"/>
              <a:gd name="connsiteX0" fmla="*/ 0 w 774026"/>
              <a:gd name="connsiteY0" fmla="*/ 2424487 h 2424487"/>
              <a:gd name="connsiteX1" fmla="*/ 565402 w 774026"/>
              <a:gd name="connsiteY1" fmla="*/ 1436626 h 2424487"/>
              <a:gd name="connsiteX2" fmla="*/ 721963 w 774026"/>
              <a:gd name="connsiteY2" fmla="*/ 627067 h 2424487"/>
              <a:gd name="connsiteX3" fmla="*/ 731488 w 774026"/>
              <a:gd name="connsiteY3" fmla="*/ 84143 h 2424487"/>
              <a:gd name="connsiteX4" fmla="*/ 138199 w 774026"/>
              <a:gd name="connsiteY4" fmla="*/ 0 h 2424487"/>
              <a:gd name="connsiteX0" fmla="*/ 0 w 774026"/>
              <a:gd name="connsiteY0" fmla="*/ 2424487 h 2424487"/>
              <a:gd name="connsiteX1" fmla="*/ 565402 w 774026"/>
              <a:gd name="connsiteY1" fmla="*/ 1436626 h 2424487"/>
              <a:gd name="connsiteX2" fmla="*/ 721963 w 774026"/>
              <a:gd name="connsiteY2" fmla="*/ 741367 h 2424487"/>
              <a:gd name="connsiteX3" fmla="*/ 731488 w 774026"/>
              <a:gd name="connsiteY3" fmla="*/ 84143 h 2424487"/>
              <a:gd name="connsiteX4" fmla="*/ 138199 w 774026"/>
              <a:gd name="connsiteY4" fmla="*/ 0 h 2424487"/>
              <a:gd name="connsiteX0" fmla="*/ 0 w 783654"/>
              <a:gd name="connsiteY0" fmla="*/ 2424487 h 2424487"/>
              <a:gd name="connsiteX1" fmla="*/ 565402 w 783654"/>
              <a:gd name="connsiteY1" fmla="*/ 1436626 h 2424487"/>
              <a:gd name="connsiteX2" fmla="*/ 721963 w 783654"/>
              <a:gd name="connsiteY2" fmla="*/ 741367 h 2424487"/>
              <a:gd name="connsiteX3" fmla="*/ 731488 w 783654"/>
              <a:gd name="connsiteY3" fmla="*/ 84143 h 2424487"/>
              <a:gd name="connsiteX4" fmla="*/ 138199 w 783654"/>
              <a:gd name="connsiteY4" fmla="*/ 0 h 2424487"/>
              <a:gd name="connsiteX0" fmla="*/ 0 w 781007"/>
              <a:gd name="connsiteY0" fmla="*/ 2424487 h 2424487"/>
              <a:gd name="connsiteX1" fmla="*/ 565402 w 781007"/>
              <a:gd name="connsiteY1" fmla="*/ 1436626 h 2424487"/>
              <a:gd name="connsiteX2" fmla="*/ 721963 w 781007"/>
              <a:gd name="connsiteY2" fmla="*/ 741367 h 2424487"/>
              <a:gd name="connsiteX3" fmla="*/ 731488 w 781007"/>
              <a:gd name="connsiteY3" fmla="*/ 84143 h 2424487"/>
              <a:gd name="connsiteX4" fmla="*/ 138199 w 781007"/>
              <a:gd name="connsiteY4" fmla="*/ 0 h 2424487"/>
              <a:gd name="connsiteX0" fmla="*/ 0 w 781007"/>
              <a:gd name="connsiteY0" fmla="*/ 2424487 h 2424487"/>
              <a:gd name="connsiteX1" fmla="*/ 565402 w 781007"/>
              <a:gd name="connsiteY1" fmla="*/ 1436626 h 2424487"/>
              <a:gd name="connsiteX2" fmla="*/ 721963 w 781007"/>
              <a:gd name="connsiteY2" fmla="*/ 741367 h 2424487"/>
              <a:gd name="connsiteX3" fmla="*/ 731488 w 781007"/>
              <a:gd name="connsiteY3" fmla="*/ 84143 h 2424487"/>
              <a:gd name="connsiteX4" fmla="*/ 52474 w 781007"/>
              <a:gd name="connsiteY4" fmla="*/ 0 h 2424487"/>
              <a:gd name="connsiteX0" fmla="*/ 0 w 781007"/>
              <a:gd name="connsiteY0" fmla="*/ 2424721 h 2424721"/>
              <a:gd name="connsiteX1" fmla="*/ 565402 w 781007"/>
              <a:gd name="connsiteY1" fmla="*/ 1436860 h 2424721"/>
              <a:gd name="connsiteX2" fmla="*/ 721963 w 781007"/>
              <a:gd name="connsiteY2" fmla="*/ 741601 h 2424721"/>
              <a:gd name="connsiteX3" fmla="*/ 731488 w 781007"/>
              <a:gd name="connsiteY3" fmla="*/ 84377 h 2424721"/>
              <a:gd name="connsiteX4" fmla="*/ 52474 w 781007"/>
              <a:gd name="connsiteY4" fmla="*/ 234 h 2424721"/>
              <a:gd name="connsiteX0" fmla="*/ 0 w 774904"/>
              <a:gd name="connsiteY0" fmla="*/ 2424721 h 2424721"/>
              <a:gd name="connsiteX1" fmla="*/ 565402 w 774904"/>
              <a:gd name="connsiteY1" fmla="*/ 1436860 h 2424721"/>
              <a:gd name="connsiteX2" fmla="*/ 700862 w 774904"/>
              <a:gd name="connsiteY2" fmla="*/ 727534 h 2424721"/>
              <a:gd name="connsiteX3" fmla="*/ 731488 w 774904"/>
              <a:gd name="connsiteY3" fmla="*/ 84377 h 2424721"/>
              <a:gd name="connsiteX4" fmla="*/ 52474 w 774904"/>
              <a:gd name="connsiteY4" fmla="*/ 234 h 2424721"/>
              <a:gd name="connsiteX0" fmla="*/ 0 w 774904"/>
              <a:gd name="connsiteY0" fmla="*/ 2424721 h 2424721"/>
              <a:gd name="connsiteX1" fmla="*/ 565402 w 774904"/>
              <a:gd name="connsiteY1" fmla="*/ 1436860 h 2424721"/>
              <a:gd name="connsiteX2" fmla="*/ 700862 w 774904"/>
              <a:gd name="connsiteY2" fmla="*/ 727534 h 2424721"/>
              <a:gd name="connsiteX3" fmla="*/ 731488 w 774904"/>
              <a:gd name="connsiteY3" fmla="*/ 84377 h 2424721"/>
              <a:gd name="connsiteX4" fmla="*/ 52474 w 774904"/>
              <a:gd name="connsiteY4" fmla="*/ 234 h 2424721"/>
              <a:gd name="connsiteX0" fmla="*/ 0 w 781007"/>
              <a:gd name="connsiteY0" fmla="*/ 2424721 h 2424721"/>
              <a:gd name="connsiteX1" fmla="*/ 565402 w 781007"/>
              <a:gd name="connsiteY1" fmla="*/ 1436860 h 2424721"/>
              <a:gd name="connsiteX2" fmla="*/ 721964 w 781007"/>
              <a:gd name="connsiteY2" fmla="*/ 657196 h 2424721"/>
              <a:gd name="connsiteX3" fmla="*/ 731488 w 781007"/>
              <a:gd name="connsiteY3" fmla="*/ 84377 h 2424721"/>
              <a:gd name="connsiteX4" fmla="*/ 52474 w 781007"/>
              <a:gd name="connsiteY4" fmla="*/ 234 h 2424721"/>
              <a:gd name="connsiteX0" fmla="*/ 0 w 777391"/>
              <a:gd name="connsiteY0" fmla="*/ 2424721 h 2424721"/>
              <a:gd name="connsiteX1" fmla="*/ 565402 w 777391"/>
              <a:gd name="connsiteY1" fmla="*/ 1436860 h 2424721"/>
              <a:gd name="connsiteX2" fmla="*/ 721964 w 777391"/>
              <a:gd name="connsiteY2" fmla="*/ 657196 h 2424721"/>
              <a:gd name="connsiteX3" fmla="*/ 731488 w 777391"/>
              <a:gd name="connsiteY3" fmla="*/ 84377 h 2424721"/>
              <a:gd name="connsiteX4" fmla="*/ 52474 w 777391"/>
              <a:gd name="connsiteY4" fmla="*/ 234 h 2424721"/>
              <a:gd name="connsiteX0" fmla="*/ 0 w 777899"/>
              <a:gd name="connsiteY0" fmla="*/ 2424721 h 2424721"/>
              <a:gd name="connsiteX1" fmla="*/ 565402 w 777899"/>
              <a:gd name="connsiteY1" fmla="*/ 1436860 h 2424721"/>
              <a:gd name="connsiteX2" fmla="*/ 721964 w 777899"/>
              <a:gd name="connsiteY2" fmla="*/ 657196 h 2424721"/>
              <a:gd name="connsiteX3" fmla="*/ 731488 w 777899"/>
              <a:gd name="connsiteY3" fmla="*/ 84377 h 2424721"/>
              <a:gd name="connsiteX4" fmla="*/ 52474 w 777899"/>
              <a:gd name="connsiteY4" fmla="*/ 234 h 2424721"/>
              <a:gd name="connsiteX0" fmla="*/ 0 w 777899"/>
              <a:gd name="connsiteY0" fmla="*/ 2424721 h 2424721"/>
              <a:gd name="connsiteX1" fmla="*/ 565402 w 777899"/>
              <a:gd name="connsiteY1" fmla="*/ 1436860 h 2424721"/>
              <a:gd name="connsiteX2" fmla="*/ 721964 w 777899"/>
              <a:gd name="connsiteY2" fmla="*/ 657196 h 2424721"/>
              <a:gd name="connsiteX3" fmla="*/ 731488 w 777899"/>
              <a:gd name="connsiteY3" fmla="*/ 84377 h 2424721"/>
              <a:gd name="connsiteX4" fmla="*/ 52474 w 777899"/>
              <a:gd name="connsiteY4" fmla="*/ 234 h 2424721"/>
              <a:gd name="connsiteX0" fmla="*/ 157076 w 725425"/>
              <a:gd name="connsiteY0" fmla="*/ 2519971 h 2519971"/>
              <a:gd name="connsiteX1" fmla="*/ 512928 w 725425"/>
              <a:gd name="connsiteY1" fmla="*/ 1436860 h 2519971"/>
              <a:gd name="connsiteX2" fmla="*/ 669490 w 725425"/>
              <a:gd name="connsiteY2" fmla="*/ 657196 h 2519971"/>
              <a:gd name="connsiteX3" fmla="*/ 679014 w 725425"/>
              <a:gd name="connsiteY3" fmla="*/ 84377 h 2519971"/>
              <a:gd name="connsiteX4" fmla="*/ 0 w 725425"/>
              <a:gd name="connsiteY4" fmla="*/ 234 h 2519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5425" h="2519971">
                <a:moveTo>
                  <a:pt x="157076" y="2519971"/>
                </a:moveTo>
                <a:cubicBezTo>
                  <a:pt x="233276" y="2269193"/>
                  <a:pt x="379287" y="1783470"/>
                  <a:pt x="512928" y="1436860"/>
                </a:cubicBezTo>
                <a:cubicBezTo>
                  <a:pt x="591052" y="1137290"/>
                  <a:pt x="641809" y="882610"/>
                  <a:pt x="669490" y="657196"/>
                </a:cubicBezTo>
                <a:cubicBezTo>
                  <a:pt x="697171" y="431782"/>
                  <a:pt x="774721" y="211113"/>
                  <a:pt x="679014" y="84377"/>
                </a:cubicBezTo>
                <a:cubicBezTo>
                  <a:pt x="583308" y="-42359"/>
                  <a:pt x="249694" y="15845"/>
                  <a:pt x="0" y="234"/>
                </a:cubicBezTo>
              </a:path>
            </a:pathLst>
          </a:custGeom>
          <a:ln w="25400"/>
        </p:spPr>
        <p:style>
          <a:lnRef idx="3">
            <a:schemeClr val="accent3"/>
          </a:lnRef>
          <a:fillRef idx="0">
            <a:schemeClr val="accent3"/>
          </a:fillRef>
          <a:effectRef idx="2">
            <a:schemeClr val="accent3"/>
          </a:effectRef>
          <a:fontRef idx="minor">
            <a:schemeClr val="tx1"/>
          </a:fontRef>
        </p:style>
        <p:txBody>
          <a:bodyPr rtlCol="0" anchor="ctr"/>
          <a:lstStyle/>
          <a:p>
            <a:pPr algn="ctr"/>
            <a:endParaRPr lang="en-GB" dirty="0">
              <a:latin typeface="Century Gothic Pro" panose="020B0502020202020204" pitchFamily="34" charset="0"/>
            </a:endParaRPr>
          </a:p>
        </p:txBody>
      </p:sp>
      <p:sp>
        <p:nvSpPr>
          <p:cNvPr id="136" name="Freeform 135"/>
          <p:cNvSpPr/>
          <p:nvPr/>
        </p:nvSpPr>
        <p:spPr>
          <a:xfrm>
            <a:off x="1559364" y="2470444"/>
            <a:ext cx="764849" cy="2275807"/>
          </a:xfrm>
          <a:custGeom>
            <a:avLst/>
            <a:gdLst>
              <a:gd name="connsiteX0" fmla="*/ 19301 w 101188"/>
              <a:gd name="connsiteY0" fmla="*/ 2340591 h 2340591"/>
              <a:gd name="connsiteX1" fmla="*/ 5653 w 101188"/>
              <a:gd name="connsiteY1" fmla="*/ 1685499 h 2340591"/>
              <a:gd name="connsiteX2" fmla="*/ 101188 w 101188"/>
              <a:gd name="connsiteY2" fmla="*/ 0 h 2340591"/>
              <a:gd name="connsiteX0" fmla="*/ 19301 w 104331"/>
              <a:gd name="connsiteY0" fmla="*/ 1862966 h 1862966"/>
              <a:gd name="connsiteX1" fmla="*/ 5653 w 104331"/>
              <a:gd name="connsiteY1" fmla="*/ 1207874 h 1862966"/>
              <a:gd name="connsiteX2" fmla="*/ 104331 w 104331"/>
              <a:gd name="connsiteY2" fmla="*/ 0 h 1862966"/>
              <a:gd name="connsiteX0" fmla="*/ 19301 w 108820"/>
              <a:gd name="connsiteY0" fmla="*/ 1862966 h 1862966"/>
              <a:gd name="connsiteX1" fmla="*/ 5653 w 108820"/>
              <a:gd name="connsiteY1" fmla="*/ 1207874 h 1862966"/>
              <a:gd name="connsiteX2" fmla="*/ 104331 w 108820"/>
              <a:gd name="connsiteY2" fmla="*/ 0 h 1862966"/>
              <a:gd name="connsiteX0" fmla="*/ 1498 w 102192"/>
              <a:gd name="connsiteY0" fmla="*/ 1862966 h 1862966"/>
              <a:gd name="connsiteX1" fmla="*/ 85260 w 102192"/>
              <a:gd name="connsiteY1" fmla="*/ 1251866 h 1862966"/>
              <a:gd name="connsiteX2" fmla="*/ 86528 w 102192"/>
              <a:gd name="connsiteY2" fmla="*/ 0 h 1862966"/>
              <a:gd name="connsiteX0" fmla="*/ 1498 w 97145"/>
              <a:gd name="connsiteY0" fmla="*/ 1862966 h 1862966"/>
              <a:gd name="connsiteX1" fmla="*/ 85260 w 97145"/>
              <a:gd name="connsiteY1" fmla="*/ 1251866 h 1862966"/>
              <a:gd name="connsiteX2" fmla="*/ 86528 w 97145"/>
              <a:gd name="connsiteY2" fmla="*/ 0 h 1862966"/>
              <a:gd name="connsiteX0" fmla="*/ 1498 w 87012"/>
              <a:gd name="connsiteY0" fmla="*/ 1862966 h 1862966"/>
              <a:gd name="connsiteX1" fmla="*/ 85260 w 87012"/>
              <a:gd name="connsiteY1" fmla="*/ 1251866 h 1862966"/>
              <a:gd name="connsiteX2" fmla="*/ 86528 w 87012"/>
              <a:gd name="connsiteY2" fmla="*/ 0 h 1862966"/>
              <a:gd name="connsiteX0" fmla="*/ 421898 w 421898"/>
              <a:gd name="connsiteY0" fmla="*/ 2142628 h 2142628"/>
              <a:gd name="connsiteX1" fmla="*/ 2897 w 421898"/>
              <a:gd name="connsiteY1" fmla="*/ 1251866 h 2142628"/>
              <a:gd name="connsiteX2" fmla="*/ 4165 w 421898"/>
              <a:gd name="connsiteY2" fmla="*/ 0 h 2142628"/>
              <a:gd name="connsiteX0" fmla="*/ 417733 w 417733"/>
              <a:gd name="connsiteY0" fmla="*/ 2142628 h 2142628"/>
              <a:gd name="connsiteX1" fmla="*/ 99285 w 417733"/>
              <a:gd name="connsiteY1" fmla="*/ 1277004 h 2142628"/>
              <a:gd name="connsiteX2" fmla="*/ 0 w 417733"/>
              <a:gd name="connsiteY2" fmla="*/ 0 h 2142628"/>
              <a:gd name="connsiteX0" fmla="*/ 417733 w 417733"/>
              <a:gd name="connsiteY0" fmla="*/ 2142628 h 2142628"/>
              <a:gd name="connsiteX1" fmla="*/ 99285 w 417733"/>
              <a:gd name="connsiteY1" fmla="*/ 1277004 h 2142628"/>
              <a:gd name="connsiteX2" fmla="*/ 0 w 417733"/>
              <a:gd name="connsiteY2" fmla="*/ 0 h 2142628"/>
              <a:gd name="connsiteX0" fmla="*/ 417733 w 417733"/>
              <a:gd name="connsiteY0" fmla="*/ 2142628 h 2142628"/>
              <a:gd name="connsiteX1" fmla="*/ 99285 w 417733"/>
              <a:gd name="connsiteY1" fmla="*/ 1277004 h 2142628"/>
              <a:gd name="connsiteX2" fmla="*/ 0 w 417733"/>
              <a:gd name="connsiteY2" fmla="*/ 0 h 2142628"/>
              <a:gd name="connsiteX0" fmla="*/ 392595 w 392595"/>
              <a:gd name="connsiteY0" fmla="*/ 2158339 h 2158339"/>
              <a:gd name="connsiteX1" fmla="*/ 74147 w 392595"/>
              <a:gd name="connsiteY1" fmla="*/ 1292715 h 2158339"/>
              <a:gd name="connsiteX2" fmla="*/ 0 w 392595"/>
              <a:gd name="connsiteY2" fmla="*/ 0 h 2158339"/>
              <a:gd name="connsiteX0" fmla="*/ 392595 w 392595"/>
              <a:gd name="connsiteY0" fmla="*/ 2158339 h 2158339"/>
              <a:gd name="connsiteX1" fmla="*/ 74147 w 392595"/>
              <a:gd name="connsiteY1" fmla="*/ 1292715 h 2158339"/>
              <a:gd name="connsiteX2" fmla="*/ 16214 w 392595"/>
              <a:gd name="connsiteY2" fmla="*/ 218342 h 2158339"/>
              <a:gd name="connsiteX3" fmla="*/ 0 w 392595"/>
              <a:gd name="connsiteY3" fmla="*/ 0 h 2158339"/>
              <a:gd name="connsiteX0" fmla="*/ 377616 w 377616"/>
              <a:gd name="connsiteY0" fmla="*/ 2777464 h 2777464"/>
              <a:gd name="connsiteX1" fmla="*/ 59168 w 377616"/>
              <a:gd name="connsiteY1" fmla="*/ 1911840 h 2777464"/>
              <a:gd name="connsiteX2" fmla="*/ 1235 w 377616"/>
              <a:gd name="connsiteY2" fmla="*/ 837467 h 2777464"/>
              <a:gd name="connsiteX3" fmla="*/ 70746 w 377616"/>
              <a:gd name="connsiteY3" fmla="*/ 0 h 2777464"/>
              <a:gd name="connsiteX0" fmla="*/ 376438 w 376438"/>
              <a:gd name="connsiteY0" fmla="*/ 2777464 h 2777464"/>
              <a:gd name="connsiteX1" fmla="*/ 57990 w 376438"/>
              <a:gd name="connsiteY1" fmla="*/ 1911840 h 2777464"/>
              <a:gd name="connsiteX2" fmla="*/ 57 w 376438"/>
              <a:gd name="connsiteY2" fmla="*/ 837467 h 2777464"/>
              <a:gd name="connsiteX3" fmla="*/ 47681 w 376438"/>
              <a:gd name="connsiteY3" fmla="*/ 256442 h 2777464"/>
              <a:gd name="connsiteX4" fmla="*/ 69568 w 376438"/>
              <a:gd name="connsiteY4" fmla="*/ 0 h 2777464"/>
              <a:gd name="connsiteX0" fmla="*/ 376438 w 1022068"/>
              <a:gd name="connsiteY0" fmla="*/ 2653639 h 2653639"/>
              <a:gd name="connsiteX1" fmla="*/ 57990 w 1022068"/>
              <a:gd name="connsiteY1" fmla="*/ 1788015 h 2653639"/>
              <a:gd name="connsiteX2" fmla="*/ 57 w 1022068"/>
              <a:gd name="connsiteY2" fmla="*/ 713642 h 2653639"/>
              <a:gd name="connsiteX3" fmla="*/ 47681 w 1022068"/>
              <a:gd name="connsiteY3" fmla="*/ 132617 h 2653639"/>
              <a:gd name="connsiteX4" fmla="*/ 1022068 w 1022068"/>
              <a:gd name="connsiteY4" fmla="*/ 0 h 2653639"/>
              <a:gd name="connsiteX0" fmla="*/ 376491 w 1022121"/>
              <a:gd name="connsiteY0" fmla="*/ 2658909 h 2658909"/>
              <a:gd name="connsiteX1" fmla="*/ 58043 w 1022121"/>
              <a:gd name="connsiteY1" fmla="*/ 1793285 h 2658909"/>
              <a:gd name="connsiteX2" fmla="*/ 110 w 1022121"/>
              <a:gd name="connsiteY2" fmla="*/ 718912 h 2658909"/>
              <a:gd name="connsiteX3" fmla="*/ 28684 w 1022121"/>
              <a:gd name="connsiteY3" fmla="*/ 71212 h 2658909"/>
              <a:gd name="connsiteX4" fmla="*/ 1022121 w 1022121"/>
              <a:gd name="connsiteY4" fmla="*/ 5270 h 2658909"/>
              <a:gd name="connsiteX0" fmla="*/ 471741 w 1022121"/>
              <a:gd name="connsiteY0" fmla="*/ 2725584 h 2725584"/>
              <a:gd name="connsiteX1" fmla="*/ 58043 w 1022121"/>
              <a:gd name="connsiteY1" fmla="*/ 1793285 h 2725584"/>
              <a:gd name="connsiteX2" fmla="*/ 110 w 1022121"/>
              <a:gd name="connsiteY2" fmla="*/ 718912 h 2725584"/>
              <a:gd name="connsiteX3" fmla="*/ 28684 w 1022121"/>
              <a:gd name="connsiteY3" fmla="*/ 71212 h 2725584"/>
              <a:gd name="connsiteX4" fmla="*/ 1022121 w 1022121"/>
              <a:gd name="connsiteY4" fmla="*/ 5270 h 2725584"/>
              <a:gd name="connsiteX0" fmla="*/ 471741 w 1022121"/>
              <a:gd name="connsiteY0" fmla="*/ 2725584 h 2725584"/>
              <a:gd name="connsiteX1" fmla="*/ 143768 w 1022121"/>
              <a:gd name="connsiteY1" fmla="*/ 1793285 h 2725584"/>
              <a:gd name="connsiteX2" fmla="*/ 110 w 1022121"/>
              <a:gd name="connsiteY2" fmla="*/ 718912 h 2725584"/>
              <a:gd name="connsiteX3" fmla="*/ 28684 w 1022121"/>
              <a:gd name="connsiteY3" fmla="*/ 71212 h 2725584"/>
              <a:gd name="connsiteX4" fmla="*/ 1022121 w 1022121"/>
              <a:gd name="connsiteY4" fmla="*/ 5270 h 2725584"/>
              <a:gd name="connsiteX0" fmla="*/ 471741 w 1022121"/>
              <a:gd name="connsiteY0" fmla="*/ 2725584 h 2725584"/>
              <a:gd name="connsiteX1" fmla="*/ 143768 w 1022121"/>
              <a:gd name="connsiteY1" fmla="*/ 1793285 h 2725584"/>
              <a:gd name="connsiteX2" fmla="*/ 110 w 1022121"/>
              <a:gd name="connsiteY2" fmla="*/ 718912 h 2725584"/>
              <a:gd name="connsiteX3" fmla="*/ 28684 w 1022121"/>
              <a:gd name="connsiteY3" fmla="*/ 71212 h 2725584"/>
              <a:gd name="connsiteX4" fmla="*/ 1022121 w 1022121"/>
              <a:gd name="connsiteY4" fmla="*/ 5270 h 2725584"/>
              <a:gd name="connsiteX0" fmla="*/ 471741 w 1022121"/>
              <a:gd name="connsiteY0" fmla="*/ 2725584 h 2725584"/>
              <a:gd name="connsiteX1" fmla="*/ 143768 w 1022121"/>
              <a:gd name="connsiteY1" fmla="*/ 1793285 h 2725584"/>
              <a:gd name="connsiteX2" fmla="*/ 110 w 1022121"/>
              <a:gd name="connsiteY2" fmla="*/ 718912 h 2725584"/>
              <a:gd name="connsiteX3" fmla="*/ 28684 w 1022121"/>
              <a:gd name="connsiteY3" fmla="*/ 71212 h 2725584"/>
              <a:gd name="connsiteX4" fmla="*/ 1022121 w 1022121"/>
              <a:gd name="connsiteY4" fmla="*/ 5270 h 2725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2121" h="2725584">
                <a:moveTo>
                  <a:pt x="471741" y="2725584"/>
                </a:moveTo>
                <a:cubicBezTo>
                  <a:pt x="458093" y="2593087"/>
                  <a:pt x="358131" y="2161485"/>
                  <a:pt x="143768" y="1793285"/>
                </a:cubicBezTo>
                <a:cubicBezTo>
                  <a:pt x="-33262" y="1412802"/>
                  <a:pt x="12468" y="934364"/>
                  <a:pt x="110" y="718912"/>
                </a:cubicBezTo>
                <a:cubicBezTo>
                  <a:pt x="-1608" y="443012"/>
                  <a:pt x="17099" y="210790"/>
                  <a:pt x="28684" y="71212"/>
                </a:cubicBezTo>
                <a:cubicBezTo>
                  <a:pt x="40269" y="-68366"/>
                  <a:pt x="1018473" y="48010"/>
                  <a:pt x="1022121" y="5270"/>
                </a:cubicBezTo>
              </a:path>
            </a:pathLst>
          </a:custGeom>
          <a:ln w="25400"/>
        </p:spPr>
        <p:style>
          <a:lnRef idx="3">
            <a:schemeClr val="accent3"/>
          </a:lnRef>
          <a:fillRef idx="0">
            <a:schemeClr val="accent3"/>
          </a:fillRef>
          <a:effectRef idx="2">
            <a:schemeClr val="accent3"/>
          </a:effectRef>
          <a:fontRef idx="minor">
            <a:schemeClr val="tx1"/>
          </a:fontRef>
        </p:style>
        <p:txBody>
          <a:bodyPr rtlCol="0" anchor="ctr"/>
          <a:lstStyle/>
          <a:p>
            <a:pPr algn="ctr"/>
            <a:endParaRPr lang="en-GB">
              <a:latin typeface="Century Gothic Pro" panose="020B0502020202020204" pitchFamily="34" charset="0"/>
            </a:endParaRPr>
          </a:p>
        </p:txBody>
      </p:sp>
      <p:sp>
        <p:nvSpPr>
          <p:cNvPr id="137" name="Isosceles Triangle 136"/>
          <p:cNvSpPr/>
          <p:nvPr/>
        </p:nvSpPr>
        <p:spPr>
          <a:xfrm rot="348671">
            <a:off x="1399780" y="2056350"/>
            <a:ext cx="196319" cy="338671"/>
          </a:xfrm>
          <a:prstGeom prst="triangle">
            <a:avLst/>
          </a:prstGeom>
        </p:spPr>
        <p:style>
          <a:lnRef idx="0">
            <a:schemeClr val="accent3"/>
          </a:lnRef>
          <a:fillRef idx="3">
            <a:schemeClr val="accent3"/>
          </a:fillRef>
          <a:effectRef idx="3">
            <a:schemeClr val="accent3"/>
          </a:effectRef>
          <a:fontRef idx="minor">
            <a:schemeClr val="lt1"/>
          </a:fontRef>
        </p:style>
        <p:txBody>
          <a:bodyPr rtlCol="0" anchor="ctr"/>
          <a:lstStyle/>
          <a:p>
            <a:pPr algn="ctr"/>
            <a:endParaRPr lang="en-GB">
              <a:latin typeface="Century Gothic Pro" panose="020B0502020202020204" pitchFamily="34" charset="0"/>
            </a:endParaRPr>
          </a:p>
        </p:txBody>
      </p:sp>
      <p:grpSp>
        <p:nvGrpSpPr>
          <p:cNvPr id="33" name="Group 32"/>
          <p:cNvGrpSpPr/>
          <p:nvPr/>
        </p:nvGrpSpPr>
        <p:grpSpPr>
          <a:xfrm>
            <a:off x="696110" y="4124755"/>
            <a:ext cx="1464412" cy="1453624"/>
            <a:chOff x="8492134" y="4459538"/>
            <a:chExt cx="1464412" cy="1453624"/>
          </a:xfrm>
        </p:grpSpPr>
        <p:pic>
          <p:nvPicPr>
            <p:cNvPr id="138" name="Picture 137"/>
            <p:cNvPicPr>
              <a:picLocks noChangeAspect="1"/>
            </p:cNvPicPr>
            <p:nvPr/>
          </p:nvPicPr>
          <p:blipFill rotWithShape="1">
            <a:blip r:embed="rId10">
              <a:clrChange>
                <a:clrFrom>
                  <a:srgbClr val="FFFFFF"/>
                </a:clrFrom>
                <a:clrTo>
                  <a:srgbClr val="FFFFFF">
                    <a:alpha val="0"/>
                  </a:srgbClr>
                </a:clrTo>
              </a:clrChange>
              <a:duotone>
                <a:schemeClr val="bg2">
                  <a:shade val="45000"/>
                  <a:satMod val="135000"/>
                </a:schemeClr>
                <a:prstClr val="white"/>
              </a:duotone>
              <a:extLst>
                <a:ext uri="{BEBA8EAE-BF5A-486C-A8C5-ECC9F3942E4B}">
                  <a14:imgProps xmlns:a14="http://schemas.microsoft.com/office/drawing/2010/main">
                    <a14:imgLayer r:embed="rId11">
                      <a14:imgEffect>
                        <a14:brightnessContrast contrast="-20000"/>
                      </a14:imgEffect>
                    </a14:imgLayer>
                  </a14:imgProps>
                </a:ext>
                <a:ext uri="{28A0092B-C50C-407E-A947-70E740481C1C}">
                  <a14:useLocalDpi xmlns:a14="http://schemas.microsoft.com/office/drawing/2010/main" val="0"/>
                </a:ext>
              </a:extLst>
            </a:blip>
            <a:srcRect t="18767" r="41027"/>
            <a:stretch/>
          </p:blipFill>
          <p:spPr>
            <a:xfrm rot="386084">
              <a:off x="8492134" y="4459538"/>
              <a:ext cx="1464412" cy="1453624"/>
            </a:xfrm>
            <a:prstGeom prst="ellipse">
              <a:avLst/>
            </a:prstGeom>
            <a:ln w="63500" cap="rnd">
              <a:noFill/>
            </a:ln>
            <a:effectLst>
              <a:softEdge rad="31750"/>
            </a:effectLst>
            <a:scene3d>
              <a:camera prst="orthographicFront"/>
              <a:lightRig rig="contrasting" dir="t">
                <a:rot lat="0" lon="0" rev="3000000"/>
              </a:lightRig>
            </a:scene3d>
            <a:sp3d contourW="7620">
              <a:bevelT w="95250" h="31750"/>
              <a:contourClr>
                <a:srgbClr val="333333"/>
              </a:contourClr>
            </a:sp3d>
          </p:spPr>
        </p:pic>
        <p:sp>
          <p:nvSpPr>
            <p:cNvPr id="139" name="Freeform 138"/>
            <p:cNvSpPr/>
            <p:nvPr/>
          </p:nvSpPr>
          <p:spPr bwMode="auto">
            <a:xfrm rot="334217">
              <a:off x="9022265" y="4688023"/>
              <a:ext cx="411059" cy="1141086"/>
            </a:xfrm>
            <a:custGeom>
              <a:avLst/>
              <a:gdLst>
                <a:gd name="connsiteX0" fmla="*/ 118937 w 1223178"/>
                <a:gd name="connsiteY0" fmla="*/ 4214 h 1843402"/>
                <a:gd name="connsiteX1" fmla="*/ 6970 w 1223178"/>
                <a:gd name="connsiteY1" fmla="*/ 685349 h 1843402"/>
                <a:gd name="connsiteX2" fmla="*/ 72284 w 1223178"/>
                <a:gd name="connsiteY2" fmla="*/ 1375814 h 1843402"/>
                <a:gd name="connsiteX3" fmla="*/ 557476 w 1223178"/>
                <a:gd name="connsiteY3" fmla="*/ 1814353 h 1843402"/>
                <a:gd name="connsiteX4" fmla="*/ 818733 w 1223178"/>
                <a:gd name="connsiteY4" fmla="*/ 1749038 h 1843402"/>
                <a:gd name="connsiteX5" fmla="*/ 1154635 w 1223178"/>
                <a:gd name="connsiteY5" fmla="*/ 1319830 h 1843402"/>
                <a:gd name="connsiteX6" fmla="*/ 1219950 w 1223178"/>
                <a:gd name="connsiteY6" fmla="*/ 787985 h 1843402"/>
                <a:gd name="connsiteX7" fmla="*/ 1098652 w 1223178"/>
                <a:gd name="connsiteY7" fmla="*/ 4214 h 1843402"/>
                <a:gd name="connsiteX8" fmla="*/ 1117313 w 1223178"/>
                <a:gd name="connsiteY8" fmla="*/ 498736 h 1843402"/>
                <a:gd name="connsiteX9" fmla="*/ 1117313 w 1223178"/>
                <a:gd name="connsiteY9" fmla="*/ 993259 h 1843402"/>
                <a:gd name="connsiteX10" fmla="*/ 958692 w 1223178"/>
                <a:gd name="connsiteY10" fmla="*/ 1431798 h 1843402"/>
                <a:gd name="connsiteX11" fmla="*/ 762750 w 1223178"/>
                <a:gd name="connsiteY11" fmla="*/ 1665063 h 1843402"/>
                <a:gd name="connsiteX12" fmla="*/ 641452 w 1223178"/>
                <a:gd name="connsiteY12" fmla="*/ 1693055 h 1843402"/>
                <a:gd name="connsiteX13" fmla="*/ 632121 w 1223178"/>
                <a:gd name="connsiteY13" fmla="*/ 1525104 h 1843402"/>
                <a:gd name="connsiteX14" fmla="*/ 734758 w 1223178"/>
                <a:gd name="connsiteY14" fmla="*/ 1291838 h 1843402"/>
                <a:gd name="connsiteX15" fmla="*/ 706766 w 1223178"/>
                <a:gd name="connsiteY15" fmla="*/ 1077234 h 1843402"/>
                <a:gd name="connsiteX16" fmla="*/ 594799 w 1223178"/>
                <a:gd name="connsiteY16" fmla="*/ 666687 h 1843402"/>
                <a:gd name="connsiteX17" fmla="*/ 445509 w 1223178"/>
                <a:gd name="connsiteY17" fmla="*/ 1039912 h 1843402"/>
                <a:gd name="connsiteX18" fmla="*/ 436178 w 1223178"/>
                <a:gd name="connsiteY18" fmla="*/ 1375814 h 1843402"/>
                <a:gd name="connsiteX19" fmla="*/ 529484 w 1223178"/>
                <a:gd name="connsiteY19" fmla="*/ 1553096 h 1843402"/>
                <a:gd name="connsiteX20" fmla="*/ 548145 w 1223178"/>
                <a:gd name="connsiteY20" fmla="*/ 1683724 h 1843402"/>
                <a:gd name="connsiteX21" fmla="*/ 249566 w 1223178"/>
                <a:gd name="connsiteY21" fmla="*/ 1487781 h 1843402"/>
                <a:gd name="connsiteX22" fmla="*/ 100276 w 1223178"/>
                <a:gd name="connsiteY22" fmla="*/ 1049242 h 1843402"/>
                <a:gd name="connsiteX23" fmla="*/ 146929 w 1223178"/>
                <a:gd name="connsiteY23" fmla="*/ 508067 h 1843402"/>
                <a:gd name="connsiteX24" fmla="*/ 174921 w 1223178"/>
                <a:gd name="connsiteY24" fmla="*/ 13545 h 1843402"/>
                <a:gd name="connsiteX25" fmla="*/ 174921 w 1223178"/>
                <a:gd name="connsiteY25" fmla="*/ 13545 h 1843402"/>
                <a:gd name="connsiteX0" fmla="*/ 118937 w 1223178"/>
                <a:gd name="connsiteY0" fmla="*/ 38655 h 1877843"/>
                <a:gd name="connsiteX1" fmla="*/ 6970 w 1223178"/>
                <a:gd name="connsiteY1" fmla="*/ 719790 h 1877843"/>
                <a:gd name="connsiteX2" fmla="*/ 72284 w 1223178"/>
                <a:gd name="connsiteY2" fmla="*/ 1410255 h 1877843"/>
                <a:gd name="connsiteX3" fmla="*/ 557476 w 1223178"/>
                <a:gd name="connsiteY3" fmla="*/ 1848794 h 1877843"/>
                <a:gd name="connsiteX4" fmla="*/ 818733 w 1223178"/>
                <a:gd name="connsiteY4" fmla="*/ 1783479 h 1877843"/>
                <a:gd name="connsiteX5" fmla="*/ 1154635 w 1223178"/>
                <a:gd name="connsiteY5" fmla="*/ 1354271 h 1877843"/>
                <a:gd name="connsiteX6" fmla="*/ 1219950 w 1223178"/>
                <a:gd name="connsiteY6" fmla="*/ 822426 h 1877843"/>
                <a:gd name="connsiteX7" fmla="*/ 1098652 w 1223178"/>
                <a:gd name="connsiteY7" fmla="*/ 38655 h 1877843"/>
                <a:gd name="connsiteX8" fmla="*/ 1117313 w 1223178"/>
                <a:gd name="connsiteY8" fmla="*/ 533177 h 1877843"/>
                <a:gd name="connsiteX9" fmla="*/ 1117313 w 1223178"/>
                <a:gd name="connsiteY9" fmla="*/ 1027700 h 1877843"/>
                <a:gd name="connsiteX10" fmla="*/ 958692 w 1223178"/>
                <a:gd name="connsiteY10" fmla="*/ 1466239 h 1877843"/>
                <a:gd name="connsiteX11" fmla="*/ 762750 w 1223178"/>
                <a:gd name="connsiteY11" fmla="*/ 1699504 h 1877843"/>
                <a:gd name="connsiteX12" fmla="*/ 641452 w 1223178"/>
                <a:gd name="connsiteY12" fmla="*/ 1727496 h 1877843"/>
                <a:gd name="connsiteX13" fmla="*/ 632121 w 1223178"/>
                <a:gd name="connsiteY13" fmla="*/ 1559545 h 1877843"/>
                <a:gd name="connsiteX14" fmla="*/ 734758 w 1223178"/>
                <a:gd name="connsiteY14" fmla="*/ 1326279 h 1877843"/>
                <a:gd name="connsiteX15" fmla="*/ 706766 w 1223178"/>
                <a:gd name="connsiteY15" fmla="*/ 1111675 h 1877843"/>
                <a:gd name="connsiteX16" fmla="*/ 594799 w 1223178"/>
                <a:gd name="connsiteY16" fmla="*/ 701128 h 1877843"/>
                <a:gd name="connsiteX17" fmla="*/ 445509 w 1223178"/>
                <a:gd name="connsiteY17" fmla="*/ 1074353 h 1877843"/>
                <a:gd name="connsiteX18" fmla="*/ 436178 w 1223178"/>
                <a:gd name="connsiteY18" fmla="*/ 1410255 h 1877843"/>
                <a:gd name="connsiteX19" fmla="*/ 529484 w 1223178"/>
                <a:gd name="connsiteY19" fmla="*/ 1587537 h 1877843"/>
                <a:gd name="connsiteX20" fmla="*/ 548145 w 1223178"/>
                <a:gd name="connsiteY20" fmla="*/ 1718165 h 1877843"/>
                <a:gd name="connsiteX21" fmla="*/ 249566 w 1223178"/>
                <a:gd name="connsiteY21" fmla="*/ 1522222 h 1877843"/>
                <a:gd name="connsiteX22" fmla="*/ 100276 w 1223178"/>
                <a:gd name="connsiteY22" fmla="*/ 1083683 h 1877843"/>
                <a:gd name="connsiteX23" fmla="*/ 146929 w 1223178"/>
                <a:gd name="connsiteY23" fmla="*/ 542508 h 1877843"/>
                <a:gd name="connsiteX24" fmla="*/ 174921 w 1223178"/>
                <a:gd name="connsiteY24" fmla="*/ 47986 h 1877843"/>
                <a:gd name="connsiteX25" fmla="*/ 118937 w 1223178"/>
                <a:gd name="connsiteY25" fmla="*/ 10663 h 1877843"/>
                <a:gd name="connsiteX0" fmla="*/ 118937 w 1223178"/>
                <a:gd name="connsiteY0" fmla="*/ 38655 h 1877843"/>
                <a:gd name="connsiteX1" fmla="*/ 6970 w 1223178"/>
                <a:gd name="connsiteY1" fmla="*/ 719790 h 1877843"/>
                <a:gd name="connsiteX2" fmla="*/ 72284 w 1223178"/>
                <a:gd name="connsiteY2" fmla="*/ 1410255 h 1877843"/>
                <a:gd name="connsiteX3" fmla="*/ 557476 w 1223178"/>
                <a:gd name="connsiteY3" fmla="*/ 1848794 h 1877843"/>
                <a:gd name="connsiteX4" fmla="*/ 818733 w 1223178"/>
                <a:gd name="connsiteY4" fmla="*/ 1783479 h 1877843"/>
                <a:gd name="connsiteX5" fmla="*/ 1154635 w 1223178"/>
                <a:gd name="connsiteY5" fmla="*/ 1354271 h 1877843"/>
                <a:gd name="connsiteX6" fmla="*/ 1219950 w 1223178"/>
                <a:gd name="connsiteY6" fmla="*/ 822426 h 1877843"/>
                <a:gd name="connsiteX7" fmla="*/ 1098652 w 1223178"/>
                <a:gd name="connsiteY7" fmla="*/ 38655 h 1877843"/>
                <a:gd name="connsiteX8" fmla="*/ 1117313 w 1223178"/>
                <a:gd name="connsiteY8" fmla="*/ 533177 h 1877843"/>
                <a:gd name="connsiteX9" fmla="*/ 1117313 w 1223178"/>
                <a:gd name="connsiteY9" fmla="*/ 1027700 h 1877843"/>
                <a:gd name="connsiteX10" fmla="*/ 958692 w 1223178"/>
                <a:gd name="connsiteY10" fmla="*/ 1466239 h 1877843"/>
                <a:gd name="connsiteX11" fmla="*/ 762750 w 1223178"/>
                <a:gd name="connsiteY11" fmla="*/ 1699504 h 1877843"/>
                <a:gd name="connsiteX12" fmla="*/ 641452 w 1223178"/>
                <a:gd name="connsiteY12" fmla="*/ 1727496 h 1877843"/>
                <a:gd name="connsiteX13" fmla="*/ 632121 w 1223178"/>
                <a:gd name="connsiteY13" fmla="*/ 1559545 h 1877843"/>
                <a:gd name="connsiteX14" fmla="*/ 734758 w 1223178"/>
                <a:gd name="connsiteY14" fmla="*/ 1326279 h 1877843"/>
                <a:gd name="connsiteX15" fmla="*/ 706766 w 1223178"/>
                <a:gd name="connsiteY15" fmla="*/ 1111675 h 1877843"/>
                <a:gd name="connsiteX16" fmla="*/ 594799 w 1223178"/>
                <a:gd name="connsiteY16" fmla="*/ 701128 h 1877843"/>
                <a:gd name="connsiteX17" fmla="*/ 445509 w 1223178"/>
                <a:gd name="connsiteY17" fmla="*/ 1074353 h 1877843"/>
                <a:gd name="connsiteX18" fmla="*/ 436178 w 1223178"/>
                <a:gd name="connsiteY18" fmla="*/ 1410255 h 1877843"/>
                <a:gd name="connsiteX19" fmla="*/ 529484 w 1223178"/>
                <a:gd name="connsiteY19" fmla="*/ 1587537 h 1877843"/>
                <a:gd name="connsiteX20" fmla="*/ 548145 w 1223178"/>
                <a:gd name="connsiteY20" fmla="*/ 1718165 h 1877843"/>
                <a:gd name="connsiteX21" fmla="*/ 249566 w 1223178"/>
                <a:gd name="connsiteY21" fmla="*/ 1522222 h 1877843"/>
                <a:gd name="connsiteX22" fmla="*/ 100276 w 1223178"/>
                <a:gd name="connsiteY22" fmla="*/ 1083683 h 1877843"/>
                <a:gd name="connsiteX23" fmla="*/ 146929 w 1223178"/>
                <a:gd name="connsiteY23" fmla="*/ 542508 h 1877843"/>
                <a:gd name="connsiteX24" fmla="*/ 174921 w 1223178"/>
                <a:gd name="connsiteY24" fmla="*/ 47986 h 1877843"/>
                <a:gd name="connsiteX25" fmla="*/ 118937 w 1223178"/>
                <a:gd name="connsiteY25" fmla="*/ 10663 h 1877843"/>
                <a:gd name="connsiteX26" fmla="*/ 118937 w 1223178"/>
                <a:gd name="connsiteY26" fmla="*/ 38655 h 1877843"/>
                <a:gd name="connsiteX0" fmla="*/ 118937 w 1223178"/>
                <a:gd name="connsiteY0" fmla="*/ 10663 h 1877843"/>
                <a:gd name="connsiteX1" fmla="*/ 6970 w 1223178"/>
                <a:gd name="connsiteY1" fmla="*/ 719790 h 1877843"/>
                <a:gd name="connsiteX2" fmla="*/ 72284 w 1223178"/>
                <a:gd name="connsiteY2" fmla="*/ 1410255 h 1877843"/>
                <a:gd name="connsiteX3" fmla="*/ 557476 w 1223178"/>
                <a:gd name="connsiteY3" fmla="*/ 1848794 h 1877843"/>
                <a:gd name="connsiteX4" fmla="*/ 818733 w 1223178"/>
                <a:gd name="connsiteY4" fmla="*/ 1783479 h 1877843"/>
                <a:gd name="connsiteX5" fmla="*/ 1154635 w 1223178"/>
                <a:gd name="connsiteY5" fmla="*/ 1354271 h 1877843"/>
                <a:gd name="connsiteX6" fmla="*/ 1219950 w 1223178"/>
                <a:gd name="connsiteY6" fmla="*/ 822426 h 1877843"/>
                <a:gd name="connsiteX7" fmla="*/ 1098652 w 1223178"/>
                <a:gd name="connsiteY7" fmla="*/ 38655 h 1877843"/>
                <a:gd name="connsiteX8" fmla="*/ 1117313 w 1223178"/>
                <a:gd name="connsiteY8" fmla="*/ 533177 h 1877843"/>
                <a:gd name="connsiteX9" fmla="*/ 1117313 w 1223178"/>
                <a:gd name="connsiteY9" fmla="*/ 1027700 h 1877843"/>
                <a:gd name="connsiteX10" fmla="*/ 958692 w 1223178"/>
                <a:gd name="connsiteY10" fmla="*/ 1466239 h 1877843"/>
                <a:gd name="connsiteX11" fmla="*/ 762750 w 1223178"/>
                <a:gd name="connsiteY11" fmla="*/ 1699504 h 1877843"/>
                <a:gd name="connsiteX12" fmla="*/ 641452 w 1223178"/>
                <a:gd name="connsiteY12" fmla="*/ 1727496 h 1877843"/>
                <a:gd name="connsiteX13" fmla="*/ 632121 w 1223178"/>
                <a:gd name="connsiteY13" fmla="*/ 1559545 h 1877843"/>
                <a:gd name="connsiteX14" fmla="*/ 734758 w 1223178"/>
                <a:gd name="connsiteY14" fmla="*/ 1326279 h 1877843"/>
                <a:gd name="connsiteX15" fmla="*/ 706766 w 1223178"/>
                <a:gd name="connsiteY15" fmla="*/ 1111675 h 1877843"/>
                <a:gd name="connsiteX16" fmla="*/ 594799 w 1223178"/>
                <a:gd name="connsiteY16" fmla="*/ 701128 h 1877843"/>
                <a:gd name="connsiteX17" fmla="*/ 445509 w 1223178"/>
                <a:gd name="connsiteY17" fmla="*/ 1074353 h 1877843"/>
                <a:gd name="connsiteX18" fmla="*/ 436178 w 1223178"/>
                <a:gd name="connsiteY18" fmla="*/ 1410255 h 1877843"/>
                <a:gd name="connsiteX19" fmla="*/ 529484 w 1223178"/>
                <a:gd name="connsiteY19" fmla="*/ 1587537 h 1877843"/>
                <a:gd name="connsiteX20" fmla="*/ 548145 w 1223178"/>
                <a:gd name="connsiteY20" fmla="*/ 1718165 h 1877843"/>
                <a:gd name="connsiteX21" fmla="*/ 249566 w 1223178"/>
                <a:gd name="connsiteY21" fmla="*/ 1522222 h 1877843"/>
                <a:gd name="connsiteX22" fmla="*/ 100276 w 1223178"/>
                <a:gd name="connsiteY22" fmla="*/ 1083683 h 1877843"/>
                <a:gd name="connsiteX23" fmla="*/ 146929 w 1223178"/>
                <a:gd name="connsiteY23" fmla="*/ 542508 h 1877843"/>
                <a:gd name="connsiteX24" fmla="*/ 174921 w 1223178"/>
                <a:gd name="connsiteY24" fmla="*/ 47986 h 1877843"/>
                <a:gd name="connsiteX25" fmla="*/ 118937 w 1223178"/>
                <a:gd name="connsiteY25" fmla="*/ 10663 h 1877843"/>
                <a:gd name="connsiteX0" fmla="*/ 118937 w 1223178"/>
                <a:gd name="connsiteY0" fmla="*/ 13287 h 1880467"/>
                <a:gd name="connsiteX1" fmla="*/ 6970 w 1223178"/>
                <a:gd name="connsiteY1" fmla="*/ 722414 h 1880467"/>
                <a:gd name="connsiteX2" fmla="*/ 72284 w 1223178"/>
                <a:gd name="connsiteY2" fmla="*/ 1412879 h 1880467"/>
                <a:gd name="connsiteX3" fmla="*/ 557476 w 1223178"/>
                <a:gd name="connsiteY3" fmla="*/ 1851418 h 1880467"/>
                <a:gd name="connsiteX4" fmla="*/ 818733 w 1223178"/>
                <a:gd name="connsiteY4" fmla="*/ 1786103 h 1880467"/>
                <a:gd name="connsiteX5" fmla="*/ 1154635 w 1223178"/>
                <a:gd name="connsiteY5" fmla="*/ 1356895 h 1880467"/>
                <a:gd name="connsiteX6" fmla="*/ 1219950 w 1223178"/>
                <a:gd name="connsiteY6" fmla="*/ 825050 h 1880467"/>
                <a:gd name="connsiteX7" fmla="*/ 1098652 w 1223178"/>
                <a:gd name="connsiteY7" fmla="*/ 41279 h 1880467"/>
                <a:gd name="connsiteX8" fmla="*/ 1117313 w 1223178"/>
                <a:gd name="connsiteY8" fmla="*/ 535801 h 1880467"/>
                <a:gd name="connsiteX9" fmla="*/ 1117313 w 1223178"/>
                <a:gd name="connsiteY9" fmla="*/ 1030324 h 1880467"/>
                <a:gd name="connsiteX10" fmla="*/ 958692 w 1223178"/>
                <a:gd name="connsiteY10" fmla="*/ 1468863 h 1880467"/>
                <a:gd name="connsiteX11" fmla="*/ 762750 w 1223178"/>
                <a:gd name="connsiteY11" fmla="*/ 1702128 h 1880467"/>
                <a:gd name="connsiteX12" fmla="*/ 641452 w 1223178"/>
                <a:gd name="connsiteY12" fmla="*/ 1730120 h 1880467"/>
                <a:gd name="connsiteX13" fmla="*/ 632121 w 1223178"/>
                <a:gd name="connsiteY13" fmla="*/ 1562169 h 1880467"/>
                <a:gd name="connsiteX14" fmla="*/ 734758 w 1223178"/>
                <a:gd name="connsiteY14" fmla="*/ 1328903 h 1880467"/>
                <a:gd name="connsiteX15" fmla="*/ 706766 w 1223178"/>
                <a:gd name="connsiteY15" fmla="*/ 1114299 h 1880467"/>
                <a:gd name="connsiteX16" fmla="*/ 594799 w 1223178"/>
                <a:gd name="connsiteY16" fmla="*/ 703752 h 1880467"/>
                <a:gd name="connsiteX17" fmla="*/ 445509 w 1223178"/>
                <a:gd name="connsiteY17" fmla="*/ 1076977 h 1880467"/>
                <a:gd name="connsiteX18" fmla="*/ 436178 w 1223178"/>
                <a:gd name="connsiteY18" fmla="*/ 1412879 h 1880467"/>
                <a:gd name="connsiteX19" fmla="*/ 529484 w 1223178"/>
                <a:gd name="connsiteY19" fmla="*/ 1590161 h 1880467"/>
                <a:gd name="connsiteX20" fmla="*/ 548145 w 1223178"/>
                <a:gd name="connsiteY20" fmla="*/ 1720789 h 1880467"/>
                <a:gd name="connsiteX21" fmla="*/ 249566 w 1223178"/>
                <a:gd name="connsiteY21" fmla="*/ 1524846 h 1880467"/>
                <a:gd name="connsiteX22" fmla="*/ 100276 w 1223178"/>
                <a:gd name="connsiteY22" fmla="*/ 1086307 h 1880467"/>
                <a:gd name="connsiteX23" fmla="*/ 118937 w 1223178"/>
                <a:gd name="connsiteY23" fmla="*/ 582455 h 1880467"/>
                <a:gd name="connsiteX24" fmla="*/ 174921 w 1223178"/>
                <a:gd name="connsiteY24" fmla="*/ 50610 h 1880467"/>
                <a:gd name="connsiteX25" fmla="*/ 118937 w 1223178"/>
                <a:gd name="connsiteY25" fmla="*/ 13287 h 1880467"/>
                <a:gd name="connsiteX0" fmla="*/ 118937 w 1223178"/>
                <a:gd name="connsiteY0" fmla="*/ 948 h 1868128"/>
                <a:gd name="connsiteX1" fmla="*/ 6970 w 1223178"/>
                <a:gd name="connsiteY1" fmla="*/ 710075 h 1868128"/>
                <a:gd name="connsiteX2" fmla="*/ 72284 w 1223178"/>
                <a:gd name="connsiteY2" fmla="*/ 1400540 h 1868128"/>
                <a:gd name="connsiteX3" fmla="*/ 557476 w 1223178"/>
                <a:gd name="connsiteY3" fmla="*/ 1839079 h 1868128"/>
                <a:gd name="connsiteX4" fmla="*/ 818733 w 1223178"/>
                <a:gd name="connsiteY4" fmla="*/ 1773764 h 1868128"/>
                <a:gd name="connsiteX5" fmla="*/ 1154635 w 1223178"/>
                <a:gd name="connsiteY5" fmla="*/ 1344556 h 1868128"/>
                <a:gd name="connsiteX6" fmla="*/ 1219950 w 1223178"/>
                <a:gd name="connsiteY6" fmla="*/ 812711 h 1868128"/>
                <a:gd name="connsiteX7" fmla="*/ 1098652 w 1223178"/>
                <a:gd name="connsiteY7" fmla="*/ 28940 h 1868128"/>
                <a:gd name="connsiteX8" fmla="*/ 1117313 w 1223178"/>
                <a:gd name="connsiteY8" fmla="*/ 523462 h 1868128"/>
                <a:gd name="connsiteX9" fmla="*/ 1117313 w 1223178"/>
                <a:gd name="connsiteY9" fmla="*/ 1017985 h 1868128"/>
                <a:gd name="connsiteX10" fmla="*/ 958692 w 1223178"/>
                <a:gd name="connsiteY10" fmla="*/ 1456524 h 1868128"/>
                <a:gd name="connsiteX11" fmla="*/ 762750 w 1223178"/>
                <a:gd name="connsiteY11" fmla="*/ 1689789 h 1868128"/>
                <a:gd name="connsiteX12" fmla="*/ 641452 w 1223178"/>
                <a:gd name="connsiteY12" fmla="*/ 1717781 h 1868128"/>
                <a:gd name="connsiteX13" fmla="*/ 632121 w 1223178"/>
                <a:gd name="connsiteY13" fmla="*/ 1549830 h 1868128"/>
                <a:gd name="connsiteX14" fmla="*/ 734758 w 1223178"/>
                <a:gd name="connsiteY14" fmla="*/ 1316564 h 1868128"/>
                <a:gd name="connsiteX15" fmla="*/ 706766 w 1223178"/>
                <a:gd name="connsiteY15" fmla="*/ 1101960 h 1868128"/>
                <a:gd name="connsiteX16" fmla="*/ 594799 w 1223178"/>
                <a:gd name="connsiteY16" fmla="*/ 691413 h 1868128"/>
                <a:gd name="connsiteX17" fmla="*/ 445509 w 1223178"/>
                <a:gd name="connsiteY17" fmla="*/ 1064638 h 1868128"/>
                <a:gd name="connsiteX18" fmla="*/ 436178 w 1223178"/>
                <a:gd name="connsiteY18" fmla="*/ 1400540 h 1868128"/>
                <a:gd name="connsiteX19" fmla="*/ 529484 w 1223178"/>
                <a:gd name="connsiteY19" fmla="*/ 1577822 h 1868128"/>
                <a:gd name="connsiteX20" fmla="*/ 548145 w 1223178"/>
                <a:gd name="connsiteY20" fmla="*/ 1708450 h 1868128"/>
                <a:gd name="connsiteX21" fmla="*/ 249566 w 1223178"/>
                <a:gd name="connsiteY21" fmla="*/ 1512507 h 1868128"/>
                <a:gd name="connsiteX22" fmla="*/ 100276 w 1223178"/>
                <a:gd name="connsiteY22" fmla="*/ 1073968 h 1868128"/>
                <a:gd name="connsiteX23" fmla="*/ 118937 w 1223178"/>
                <a:gd name="connsiteY23" fmla="*/ 570116 h 1868128"/>
                <a:gd name="connsiteX24" fmla="*/ 118937 w 1223178"/>
                <a:gd name="connsiteY24" fmla="*/ 948 h 1868128"/>
                <a:gd name="connsiteX0" fmla="*/ 118937 w 1223178"/>
                <a:gd name="connsiteY0" fmla="*/ 823 h 1868003"/>
                <a:gd name="connsiteX1" fmla="*/ 6970 w 1223178"/>
                <a:gd name="connsiteY1" fmla="*/ 709950 h 1868003"/>
                <a:gd name="connsiteX2" fmla="*/ 72284 w 1223178"/>
                <a:gd name="connsiteY2" fmla="*/ 1400415 h 1868003"/>
                <a:gd name="connsiteX3" fmla="*/ 557476 w 1223178"/>
                <a:gd name="connsiteY3" fmla="*/ 1838954 h 1868003"/>
                <a:gd name="connsiteX4" fmla="*/ 818733 w 1223178"/>
                <a:gd name="connsiteY4" fmla="*/ 1773639 h 1868003"/>
                <a:gd name="connsiteX5" fmla="*/ 1154635 w 1223178"/>
                <a:gd name="connsiteY5" fmla="*/ 1344431 h 1868003"/>
                <a:gd name="connsiteX6" fmla="*/ 1219950 w 1223178"/>
                <a:gd name="connsiteY6" fmla="*/ 812586 h 1868003"/>
                <a:gd name="connsiteX7" fmla="*/ 1098652 w 1223178"/>
                <a:gd name="connsiteY7" fmla="*/ 28815 h 1868003"/>
                <a:gd name="connsiteX8" fmla="*/ 1117313 w 1223178"/>
                <a:gd name="connsiteY8" fmla="*/ 523337 h 1868003"/>
                <a:gd name="connsiteX9" fmla="*/ 1117313 w 1223178"/>
                <a:gd name="connsiteY9" fmla="*/ 1017860 h 1868003"/>
                <a:gd name="connsiteX10" fmla="*/ 958692 w 1223178"/>
                <a:gd name="connsiteY10" fmla="*/ 1456399 h 1868003"/>
                <a:gd name="connsiteX11" fmla="*/ 762750 w 1223178"/>
                <a:gd name="connsiteY11" fmla="*/ 1689664 h 1868003"/>
                <a:gd name="connsiteX12" fmla="*/ 641452 w 1223178"/>
                <a:gd name="connsiteY12" fmla="*/ 1717656 h 1868003"/>
                <a:gd name="connsiteX13" fmla="*/ 632121 w 1223178"/>
                <a:gd name="connsiteY13" fmla="*/ 1549705 h 1868003"/>
                <a:gd name="connsiteX14" fmla="*/ 734758 w 1223178"/>
                <a:gd name="connsiteY14" fmla="*/ 1316439 h 1868003"/>
                <a:gd name="connsiteX15" fmla="*/ 706766 w 1223178"/>
                <a:gd name="connsiteY15" fmla="*/ 1101835 h 1868003"/>
                <a:gd name="connsiteX16" fmla="*/ 594799 w 1223178"/>
                <a:gd name="connsiteY16" fmla="*/ 691288 h 1868003"/>
                <a:gd name="connsiteX17" fmla="*/ 445509 w 1223178"/>
                <a:gd name="connsiteY17" fmla="*/ 1064513 h 1868003"/>
                <a:gd name="connsiteX18" fmla="*/ 436178 w 1223178"/>
                <a:gd name="connsiteY18" fmla="*/ 1400415 h 1868003"/>
                <a:gd name="connsiteX19" fmla="*/ 529484 w 1223178"/>
                <a:gd name="connsiteY19" fmla="*/ 1577697 h 1868003"/>
                <a:gd name="connsiteX20" fmla="*/ 548145 w 1223178"/>
                <a:gd name="connsiteY20" fmla="*/ 1708325 h 1868003"/>
                <a:gd name="connsiteX21" fmla="*/ 249566 w 1223178"/>
                <a:gd name="connsiteY21" fmla="*/ 1512382 h 1868003"/>
                <a:gd name="connsiteX22" fmla="*/ 100276 w 1223178"/>
                <a:gd name="connsiteY22" fmla="*/ 1073843 h 1868003"/>
                <a:gd name="connsiteX23" fmla="*/ 90945 w 1223178"/>
                <a:gd name="connsiteY23" fmla="*/ 635305 h 1868003"/>
                <a:gd name="connsiteX24" fmla="*/ 118937 w 1223178"/>
                <a:gd name="connsiteY24" fmla="*/ 823 h 1868003"/>
                <a:gd name="connsiteX0" fmla="*/ 118937 w 1223178"/>
                <a:gd name="connsiteY0" fmla="*/ 823 h 1868003"/>
                <a:gd name="connsiteX1" fmla="*/ 6970 w 1223178"/>
                <a:gd name="connsiteY1" fmla="*/ 709950 h 1868003"/>
                <a:gd name="connsiteX2" fmla="*/ 72284 w 1223178"/>
                <a:gd name="connsiteY2" fmla="*/ 1400415 h 1868003"/>
                <a:gd name="connsiteX3" fmla="*/ 557476 w 1223178"/>
                <a:gd name="connsiteY3" fmla="*/ 1838954 h 1868003"/>
                <a:gd name="connsiteX4" fmla="*/ 818733 w 1223178"/>
                <a:gd name="connsiteY4" fmla="*/ 1773639 h 1868003"/>
                <a:gd name="connsiteX5" fmla="*/ 1154635 w 1223178"/>
                <a:gd name="connsiteY5" fmla="*/ 1344431 h 1868003"/>
                <a:gd name="connsiteX6" fmla="*/ 1219950 w 1223178"/>
                <a:gd name="connsiteY6" fmla="*/ 812586 h 1868003"/>
                <a:gd name="connsiteX7" fmla="*/ 1098652 w 1223178"/>
                <a:gd name="connsiteY7" fmla="*/ 28815 h 1868003"/>
                <a:gd name="connsiteX8" fmla="*/ 1117313 w 1223178"/>
                <a:gd name="connsiteY8" fmla="*/ 523337 h 1868003"/>
                <a:gd name="connsiteX9" fmla="*/ 1117313 w 1223178"/>
                <a:gd name="connsiteY9" fmla="*/ 1017860 h 1868003"/>
                <a:gd name="connsiteX10" fmla="*/ 958692 w 1223178"/>
                <a:gd name="connsiteY10" fmla="*/ 1456399 h 1868003"/>
                <a:gd name="connsiteX11" fmla="*/ 762750 w 1223178"/>
                <a:gd name="connsiteY11" fmla="*/ 1689664 h 1868003"/>
                <a:gd name="connsiteX12" fmla="*/ 641452 w 1223178"/>
                <a:gd name="connsiteY12" fmla="*/ 1717656 h 1868003"/>
                <a:gd name="connsiteX13" fmla="*/ 632121 w 1223178"/>
                <a:gd name="connsiteY13" fmla="*/ 1549705 h 1868003"/>
                <a:gd name="connsiteX14" fmla="*/ 734758 w 1223178"/>
                <a:gd name="connsiteY14" fmla="*/ 1316439 h 1868003"/>
                <a:gd name="connsiteX15" fmla="*/ 706766 w 1223178"/>
                <a:gd name="connsiteY15" fmla="*/ 1101835 h 1868003"/>
                <a:gd name="connsiteX16" fmla="*/ 594799 w 1223178"/>
                <a:gd name="connsiteY16" fmla="*/ 691288 h 1868003"/>
                <a:gd name="connsiteX17" fmla="*/ 445509 w 1223178"/>
                <a:gd name="connsiteY17" fmla="*/ 1064513 h 1868003"/>
                <a:gd name="connsiteX18" fmla="*/ 436178 w 1223178"/>
                <a:gd name="connsiteY18" fmla="*/ 1400415 h 1868003"/>
                <a:gd name="connsiteX19" fmla="*/ 529484 w 1223178"/>
                <a:gd name="connsiteY19" fmla="*/ 1577697 h 1868003"/>
                <a:gd name="connsiteX20" fmla="*/ 548145 w 1223178"/>
                <a:gd name="connsiteY20" fmla="*/ 1708325 h 1868003"/>
                <a:gd name="connsiteX21" fmla="*/ 249566 w 1223178"/>
                <a:gd name="connsiteY21" fmla="*/ 1512382 h 1868003"/>
                <a:gd name="connsiteX22" fmla="*/ 90945 w 1223178"/>
                <a:gd name="connsiteY22" fmla="*/ 635305 h 1868003"/>
                <a:gd name="connsiteX23" fmla="*/ 118937 w 1223178"/>
                <a:gd name="connsiteY23" fmla="*/ 823 h 1868003"/>
                <a:gd name="connsiteX0" fmla="*/ 118937 w 1223178"/>
                <a:gd name="connsiteY0" fmla="*/ 1 h 1867181"/>
                <a:gd name="connsiteX1" fmla="*/ 6970 w 1223178"/>
                <a:gd name="connsiteY1" fmla="*/ 709128 h 1867181"/>
                <a:gd name="connsiteX2" fmla="*/ 72284 w 1223178"/>
                <a:gd name="connsiteY2" fmla="*/ 1399593 h 1867181"/>
                <a:gd name="connsiteX3" fmla="*/ 557476 w 1223178"/>
                <a:gd name="connsiteY3" fmla="*/ 1838132 h 1867181"/>
                <a:gd name="connsiteX4" fmla="*/ 818733 w 1223178"/>
                <a:gd name="connsiteY4" fmla="*/ 1772817 h 1867181"/>
                <a:gd name="connsiteX5" fmla="*/ 1154635 w 1223178"/>
                <a:gd name="connsiteY5" fmla="*/ 1343609 h 1867181"/>
                <a:gd name="connsiteX6" fmla="*/ 1219950 w 1223178"/>
                <a:gd name="connsiteY6" fmla="*/ 811764 h 1867181"/>
                <a:gd name="connsiteX7" fmla="*/ 1098652 w 1223178"/>
                <a:gd name="connsiteY7" fmla="*/ 27993 h 1867181"/>
                <a:gd name="connsiteX8" fmla="*/ 1117313 w 1223178"/>
                <a:gd name="connsiteY8" fmla="*/ 522515 h 1867181"/>
                <a:gd name="connsiteX9" fmla="*/ 1117313 w 1223178"/>
                <a:gd name="connsiteY9" fmla="*/ 1017038 h 1867181"/>
                <a:gd name="connsiteX10" fmla="*/ 958692 w 1223178"/>
                <a:gd name="connsiteY10" fmla="*/ 1455577 h 1867181"/>
                <a:gd name="connsiteX11" fmla="*/ 762750 w 1223178"/>
                <a:gd name="connsiteY11" fmla="*/ 1688842 h 1867181"/>
                <a:gd name="connsiteX12" fmla="*/ 641452 w 1223178"/>
                <a:gd name="connsiteY12" fmla="*/ 1716834 h 1867181"/>
                <a:gd name="connsiteX13" fmla="*/ 632121 w 1223178"/>
                <a:gd name="connsiteY13" fmla="*/ 1548883 h 1867181"/>
                <a:gd name="connsiteX14" fmla="*/ 734758 w 1223178"/>
                <a:gd name="connsiteY14" fmla="*/ 1315617 h 1867181"/>
                <a:gd name="connsiteX15" fmla="*/ 706766 w 1223178"/>
                <a:gd name="connsiteY15" fmla="*/ 1101013 h 1867181"/>
                <a:gd name="connsiteX16" fmla="*/ 594799 w 1223178"/>
                <a:gd name="connsiteY16" fmla="*/ 690466 h 1867181"/>
                <a:gd name="connsiteX17" fmla="*/ 445509 w 1223178"/>
                <a:gd name="connsiteY17" fmla="*/ 1063691 h 1867181"/>
                <a:gd name="connsiteX18" fmla="*/ 436178 w 1223178"/>
                <a:gd name="connsiteY18" fmla="*/ 1399593 h 1867181"/>
                <a:gd name="connsiteX19" fmla="*/ 529484 w 1223178"/>
                <a:gd name="connsiteY19" fmla="*/ 1576875 h 1867181"/>
                <a:gd name="connsiteX20" fmla="*/ 548145 w 1223178"/>
                <a:gd name="connsiteY20" fmla="*/ 1707503 h 1867181"/>
                <a:gd name="connsiteX21" fmla="*/ 249566 w 1223178"/>
                <a:gd name="connsiteY21" fmla="*/ 1511560 h 1867181"/>
                <a:gd name="connsiteX22" fmla="*/ 118937 w 1223178"/>
                <a:gd name="connsiteY22" fmla="*/ 1 h 1867181"/>
                <a:gd name="connsiteX0" fmla="*/ 259218 w 1232830"/>
                <a:gd name="connsiteY0" fmla="*/ 1487782 h 1843403"/>
                <a:gd name="connsiteX1" fmla="*/ 16622 w 1232830"/>
                <a:gd name="connsiteY1" fmla="*/ 685350 h 1843403"/>
                <a:gd name="connsiteX2" fmla="*/ 81936 w 1232830"/>
                <a:gd name="connsiteY2" fmla="*/ 1375815 h 1843403"/>
                <a:gd name="connsiteX3" fmla="*/ 567128 w 1232830"/>
                <a:gd name="connsiteY3" fmla="*/ 1814354 h 1843403"/>
                <a:gd name="connsiteX4" fmla="*/ 828385 w 1232830"/>
                <a:gd name="connsiteY4" fmla="*/ 1749039 h 1843403"/>
                <a:gd name="connsiteX5" fmla="*/ 1164287 w 1232830"/>
                <a:gd name="connsiteY5" fmla="*/ 1319831 h 1843403"/>
                <a:gd name="connsiteX6" fmla="*/ 1229602 w 1232830"/>
                <a:gd name="connsiteY6" fmla="*/ 787986 h 1843403"/>
                <a:gd name="connsiteX7" fmla="*/ 1108304 w 1232830"/>
                <a:gd name="connsiteY7" fmla="*/ 4215 h 1843403"/>
                <a:gd name="connsiteX8" fmla="*/ 1126965 w 1232830"/>
                <a:gd name="connsiteY8" fmla="*/ 498737 h 1843403"/>
                <a:gd name="connsiteX9" fmla="*/ 1126965 w 1232830"/>
                <a:gd name="connsiteY9" fmla="*/ 993260 h 1843403"/>
                <a:gd name="connsiteX10" fmla="*/ 968344 w 1232830"/>
                <a:gd name="connsiteY10" fmla="*/ 1431799 h 1843403"/>
                <a:gd name="connsiteX11" fmla="*/ 772402 w 1232830"/>
                <a:gd name="connsiteY11" fmla="*/ 1665064 h 1843403"/>
                <a:gd name="connsiteX12" fmla="*/ 651104 w 1232830"/>
                <a:gd name="connsiteY12" fmla="*/ 1693056 h 1843403"/>
                <a:gd name="connsiteX13" fmla="*/ 641773 w 1232830"/>
                <a:gd name="connsiteY13" fmla="*/ 1525105 h 1843403"/>
                <a:gd name="connsiteX14" fmla="*/ 744410 w 1232830"/>
                <a:gd name="connsiteY14" fmla="*/ 1291839 h 1843403"/>
                <a:gd name="connsiteX15" fmla="*/ 716418 w 1232830"/>
                <a:gd name="connsiteY15" fmla="*/ 1077235 h 1843403"/>
                <a:gd name="connsiteX16" fmla="*/ 604451 w 1232830"/>
                <a:gd name="connsiteY16" fmla="*/ 666688 h 1843403"/>
                <a:gd name="connsiteX17" fmla="*/ 455161 w 1232830"/>
                <a:gd name="connsiteY17" fmla="*/ 1039913 h 1843403"/>
                <a:gd name="connsiteX18" fmla="*/ 445830 w 1232830"/>
                <a:gd name="connsiteY18" fmla="*/ 1375815 h 1843403"/>
                <a:gd name="connsiteX19" fmla="*/ 539136 w 1232830"/>
                <a:gd name="connsiteY19" fmla="*/ 1553097 h 1843403"/>
                <a:gd name="connsiteX20" fmla="*/ 557797 w 1232830"/>
                <a:gd name="connsiteY20" fmla="*/ 1683725 h 1843403"/>
                <a:gd name="connsiteX21" fmla="*/ 259218 w 1232830"/>
                <a:gd name="connsiteY21" fmla="*/ 1487782 h 1843403"/>
                <a:gd name="connsiteX0" fmla="*/ 187783 w 1161395"/>
                <a:gd name="connsiteY0" fmla="*/ 1487782 h 1843403"/>
                <a:gd name="connsiteX1" fmla="*/ 10501 w 1161395"/>
                <a:gd name="connsiteY1" fmla="*/ 1375815 h 1843403"/>
                <a:gd name="connsiteX2" fmla="*/ 495693 w 1161395"/>
                <a:gd name="connsiteY2" fmla="*/ 1814354 h 1843403"/>
                <a:gd name="connsiteX3" fmla="*/ 756950 w 1161395"/>
                <a:gd name="connsiteY3" fmla="*/ 1749039 h 1843403"/>
                <a:gd name="connsiteX4" fmla="*/ 1092852 w 1161395"/>
                <a:gd name="connsiteY4" fmla="*/ 1319831 h 1843403"/>
                <a:gd name="connsiteX5" fmla="*/ 1158167 w 1161395"/>
                <a:gd name="connsiteY5" fmla="*/ 787986 h 1843403"/>
                <a:gd name="connsiteX6" fmla="*/ 1036869 w 1161395"/>
                <a:gd name="connsiteY6" fmla="*/ 4215 h 1843403"/>
                <a:gd name="connsiteX7" fmla="*/ 1055530 w 1161395"/>
                <a:gd name="connsiteY7" fmla="*/ 498737 h 1843403"/>
                <a:gd name="connsiteX8" fmla="*/ 1055530 w 1161395"/>
                <a:gd name="connsiteY8" fmla="*/ 993260 h 1843403"/>
                <a:gd name="connsiteX9" fmla="*/ 896909 w 1161395"/>
                <a:gd name="connsiteY9" fmla="*/ 1431799 h 1843403"/>
                <a:gd name="connsiteX10" fmla="*/ 700967 w 1161395"/>
                <a:gd name="connsiteY10" fmla="*/ 1665064 h 1843403"/>
                <a:gd name="connsiteX11" fmla="*/ 579669 w 1161395"/>
                <a:gd name="connsiteY11" fmla="*/ 1693056 h 1843403"/>
                <a:gd name="connsiteX12" fmla="*/ 570338 w 1161395"/>
                <a:gd name="connsiteY12" fmla="*/ 1525105 h 1843403"/>
                <a:gd name="connsiteX13" fmla="*/ 672975 w 1161395"/>
                <a:gd name="connsiteY13" fmla="*/ 1291839 h 1843403"/>
                <a:gd name="connsiteX14" fmla="*/ 644983 w 1161395"/>
                <a:gd name="connsiteY14" fmla="*/ 1077235 h 1843403"/>
                <a:gd name="connsiteX15" fmla="*/ 533016 w 1161395"/>
                <a:gd name="connsiteY15" fmla="*/ 666688 h 1843403"/>
                <a:gd name="connsiteX16" fmla="*/ 383726 w 1161395"/>
                <a:gd name="connsiteY16" fmla="*/ 1039913 h 1843403"/>
                <a:gd name="connsiteX17" fmla="*/ 374395 w 1161395"/>
                <a:gd name="connsiteY17" fmla="*/ 1375815 h 1843403"/>
                <a:gd name="connsiteX18" fmla="*/ 467701 w 1161395"/>
                <a:gd name="connsiteY18" fmla="*/ 1553097 h 1843403"/>
                <a:gd name="connsiteX19" fmla="*/ 486362 w 1161395"/>
                <a:gd name="connsiteY19" fmla="*/ 1683725 h 1843403"/>
                <a:gd name="connsiteX20" fmla="*/ 187783 w 1161395"/>
                <a:gd name="connsiteY20" fmla="*/ 1487782 h 1843403"/>
                <a:gd name="connsiteX0" fmla="*/ 187783 w 1160184"/>
                <a:gd name="connsiteY0" fmla="*/ 993157 h 1348778"/>
                <a:gd name="connsiteX1" fmla="*/ 10501 w 1160184"/>
                <a:gd name="connsiteY1" fmla="*/ 881190 h 1348778"/>
                <a:gd name="connsiteX2" fmla="*/ 495693 w 1160184"/>
                <a:gd name="connsiteY2" fmla="*/ 1319729 h 1348778"/>
                <a:gd name="connsiteX3" fmla="*/ 756950 w 1160184"/>
                <a:gd name="connsiteY3" fmla="*/ 1254414 h 1348778"/>
                <a:gd name="connsiteX4" fmla="*/ 1092852 w 1160184"/>
                <a:gd name="connsiteY4" fmla="*/ 825206 h 1348778"/>
                <a:gd name="connsiteX5" fmla="*/ 1158167 w 1160184"/>
                <a:gd name="connsiteY5" fmla="*/ 293361 h 1348778"/>
                <a:gd name="connsiteX6" fmla="*/ 1055530 w 1160184"/>
                <a:gd name="connsiteY6" fmla="*/ 4112 h 1348778"/>
                <a:gd name="connsiteX7" fmla="*/ 1055530 w 1160184"/>
                <a:gd name="connsiteY7" fmla="*/ 498635 h 1348778"/>
                <a:gd name="connsiteX8" fmla="*/ 896909 w 1160184"/>
                <a:gd name="connsiteY8" fmla="*/ 937174 h 1348778"/>
                <a:gd name="connsiteX9" fmla="*/ 700967 w 1160184"/>
                <a:gd name="connsiteY9" fmla="*/ 1170439 h 1348778"/>
                <a:gd name="connsiteX10" fmla="*/ 579669 w 1160184"/>
                <a:gd name="connsiteY10" fmla="*/ 1198431 h 1348778"/>
                <a:gd name="connsiteX11" fmla="*/ 570338 w 1160184"/>
                <a:gd name="connsiteY11" fmla="*/ 1030480 h 1348778"/>
                <a:gd name="connsiteX12" fmla="*/ 672975 w 1160184"/>
                <a:gd name="connsiteY12" fmla="*/ 797214 h 1348778"/>
                <a:gd name="connsiteX13" fmla="*/ 644983 w 1160184"/>
                <a:gd name="connsiteY13" fmla="*/ 582610 h 1348778"/>
                <a:gd name="connsiteX14" fmla="*/ 533016 w 1160184"/>
                <a:gd name="connsiteY14" fmla="*/ 172063 h 1348778"/>
                <a:gd name="connsiteX15" fmla="*/ 383726 w 1160184"/>
                <a:gd name="connsiteY15" fmla="*/ 545288 h 1348778"/>
                <a:gd name="connsiteX16" fmla="*/ 374395 w 1160184"/>
                <a:gd name="connsiteY16" fmla="*/ 881190 h 1348778"/>
                <a:gd name="connsiteX17" fmla="*/ 467701 w 1160184"/>
                <a:gd name="connsiteY17" fmla="*/ 1058472 h 1348778"/>
                <a:gd name="connsiteX18" fmla="*/ 486362 w 1160184"/>
                <a:gd name="connsiteY18" fmla="*/ 1189100 h 1348778"/>
                <a:gd name="connsiteX19" fmla="*/ 187783 w 1160184"/>
                <a:gd name="connsiteY19" fmla="*/ 993157 h 1348778"/>
                <a:gd name="connsiteX0" fmla="*/ 187783 w 1160184"/>
                <a:gd name="connsiteY0" fmla="*/ 821205 h 1176826"/>
                <a:gd name="connsiteX1" fmla="*/ 10501 w 1160184"/>
                <a:gd name="connsiteY1" fmla="*/ 709238 h 1176826"/>
                <a:gd name="connsiteX2" fmla="*/ 495693 w 1160184"/>
                <a:gd name="connsiteY2" fmla="*/ 1147777 h 1176826"/>
                <a:gd name="connsiteX3" fmla="*/ 756950 w 1160184"/>
                <a:gd name="connsiteY3" fmla="*/ 1082462 h 1176826"/>
                <a:gd name="connsiteX4" fmla="*/ 1092852 w 1160184"/>
                <a:gd name="connsiteY4" fmla="*/ 653254 h 1176826"/>
                <a:gd name="connsiteX5" fmla="*/ 1158167 w 1160184"/>
                <a:gd name="connsiteY5" fmla="*/ 121409 h 1176826"/>
                <a:gd name="connsiteX6" fmla="*/ 1055530 w 1160184"/>
                <a:gd name="connsiteY6" fmla="*/ 326683 h 1176826"/>
                <a:gd name="connsiteX7" fmla="*/ 896909 w 1160184"/>
                <a:gd name="connsiteY7" fmla="*/ 765222 h 1176826"/>
                <a:gd name="connsiteX8" fmla="*/ 700967 w 1160184"/>
                <a:gd name="connsiteY8" fmla="*/ 998487 h 1176826"/>
                <a:gd name="connsiteX9" fmla="*/ 579669 w 1160184"/>
                <a:gd name="connsiteY9" fmla="*/ 1026479 h 1176826"/>
                <a:gd name="connsiteX10" fmla="*/ 570338 w 1160184"/>
                <a:gd name="connsiteY10" fmla="*/ 858528 h 1176826"/>
                <a:gd name="connsiteX11" fmla="*/ 672975 w 1160184"/>
                <a:gd name="connsiteY11" fmla="*/ 625262 h 1176826"/>
                <a:gd name="connsiteX12" fmla="*/ 644983 w 1160184"/>
                <a:gd name="connsiteY12" fmla="*/ 410658 h 1176826"/>
                <a:gd name="connsiteX13" fmla="*/ 533016 w 1160184"/>
                <a:gd name="connsiteY13" fmla="*/ 111 h 1176826"/>
                <a:gd name="connsiteX14" fmla="*/ 383726 w 1160184"/>
                <a:gd name="connsiteY14" fmla="*/ 373336 h 1176826"/>
                <a:gd name="connsiteX15" fmla="*/ 374395 w 1160184"/>
                <a:gd name="connsiteY15" fmla="*/ 709238 h 1176826"/>
                <a:gd name="connsiteX16" fmla="*/ 467701 w 1160184"/>
                <a:gd name="connsiteY16" fmla="*/ 886520 h 1176826"/>
                <a:gd name="connsiteX17" fmla="*/ 486362 w 1160184"/>
                <a:gd name="connsiteY17" fmla="*/ 1017148 h 1176826"/>
                <a:gd name="connsiteX18" fmla="*/ 187783 w 1160184"/>
                <a:gd name="connsiteY18" fmla="*/ 821205 h 1176826"/>
                <a:gd name="connsiteX0" fmla="*/ 187783 w 1112929"/>
                <a:gd name="connsiteY0" fmla="*/ 821205 h 1176826"/>
                <a:gd name="connsiteX1" fmla="*/ 10501 w 1112929"/>
                <a:gd name="connsiteY1" fmla="*/ 709238 h 1176826"/>
                <a:gd name="connsiteX2" fmla="*/ 495693 w 1112929"/>
                <a:gd name="connsiteY2" fmla="*/ 1147777 h 1176826"/>
                <a:gd name="connsiteX3" fmla="*/ 756950 w 1112929"/>
                <a:gd name="connsiteY3" fmla="*/ 1082462 h 1176826"/>
                <a:gd name="connsiteX4" fmla="*/ 1092852 w 1112929"/>
                <a:gd name="connsiteY4" fmla="*/ 653254 h 1176826"/>
                <a:gd name="connsiteX5" fmla="*/ 1055530 w 1112929"/>
                <a:gd name="connsiteY5" fmla="*/ 326683 h 1176826"/>
                <a:gd name="connsiteX6" fmla="*/ 896909 w 1112929"/>
                <a:gd name="connsiteY6" fmla="*/ 765222 h 1176826"/>
                <a:gd name="connsiteX7" fmla="*/ 700967 w 1112929"/>
                <a:gd name="connsiteY7" fmla="*/ 998487 h 1176826"/>
                <a:gd name="connsiteX8" fmla="*/ 579669 w 1112929"/>
                <a:gd name="connsiteY8" fmla="*/ 1026479 h 1176826"/>
                <a:gd name="connsiteX9" fmla="*/ 570338 w 1112929"/>
                <a:gd name="connsiteY9" fmla="*/ 858528 h 1176826"/>
                <a:gd name="connsiteX10" fmla="*/ 672975 w 1112929"/>
                <a:gd name="connsiteY10" fmla="*/ 625262 h 1176826"/>
                <a:gd name="connsiteX11" fmla="*/ 644983 w 1112929"/>
                <a:gd name="connsiteY11" fmla="*/ 410658 h 1176826"/>
                <a:gd name="connsiteX12" fmla="*/ 533016 w 1112929"/>
                <a:gd name="connsiteY12" fmla="*/ 111 h 1176826"/>
                <a:gd name="connsiteX13" fmla="*/ 383726 w 1112929"/>
                <a:gd name="connsiteY13" fmla="*/ 373336 h 1176826"/>
                <a:gd name="connsiteX14" fmla="*/ 374395 w 1112929"/>
                <a:gd name="connsiteY14" fmla="*/ 709238 h 1176826"/>
                <a:gd name="connsiteX15" fmla="*/ 467701 w 1112929"/>
                <a:gd name="connsiteY15" fmla="*/ 886520 h 1176826"/>
                <a:gd name="connsiteX16" fmla="*/ 486362 w 1112929"/>
                <a:gd name="connsiteY16" fmla="*/ 1017148 h 1176826"/>
                <a:gd name="connsiteX17" fmla="*/ 187783 w 1112929"/>
                <a:gd name="connsiteY17" fmla="*/ 821205 h 1176826"/>
                <a:gd name="connsiteX0" fmla="*/ 187783 w 1095236"/>
                <a:gd name="connsiteY0" fmla="*/ 821205 h 1176826"/>
                <a:gd name="connsiteX1" fmla="*/ 10501 w 1095236"/>
                <a:gd name="connsiteY1" fmla="*/ 709238 h 1176826"/>
                <a:gd name="connsiteX2" fmla="*/ 495693 w 1095236"/>
                <a:gd name="connsiteY2" fmla="*/ 1147777 h 1176826"/>
                <a:gd name="connsiteX3" fmla="*/ 756950 w 1095236"/>
                <a:gd name="connsiteY3" fmla="*/ 1082462 h 1176826"/>
                <a:gd name="connsiteX4" fmla="*/ 1092852 w 1095236"/>
                <a:gd name="connsiteY4" fmla="*/ 653254 h 1176826"/>
                <a:gd name="connsiteX5" fmla="*/ 896909 w 1095236"/>
                <a:gd name="connsiteY5" fmla="*/ 765222 h 1176826"/>
                <a:gd name="connsiteX6" fmla="*/ 700967 w 1095236"/>
                <a:gd name="connsiteY6" fmla="*/ 998487 h 1176826"/>
                <a:gd name="connsiteX7" fmla="*/ 579669 w 1095236"/>
                <a:gd name="connsiteY7" fmla="*/ 1026479 h 1176826"/>
                <a:gd name="connsiteX8" fmla="*/ 570338 w 1095236"/>
                <a:gd name="connsiteY8" fmla="*/ 858528 h 1176826"/>
                <a:gd name="connsiteX9" fmla="*/ 672975 w 1095236"/>
                <a:gd name="connsiteY9" fmla="*/ 625262 h 1176826"/>
                <a:gd name="connsiteX10" fmla="*/ 644983 w 1095236"/>
                <a:gd name="connsiteY10" fmla="*/ 410658 h 1176826"/>
                <a:gd name="connsiteX11" fmla="*/ 533016 w 1095236"/>
                <a:gd name="connsiteY11" fmla="*/ 111 h 1176826"/>
                <a:gd name="connsiteX12" fmla="*/ 383726 w 1095236"/>
                <a:gd name="connsiteY12" fmla="*/ 373336 h 1176826"/>
                <a:gd name="connsiteX13" fmla="*/ 374395 w 1095236"/>
                <a:gd name="connsiteY13" fmla="*/ 709238 h 1176826"/>
                <a:gd name="connsiteX14" fmla="*/ 467701 w 1095236"/>
                <a:gd name="connsiteY14" fmla="*/ 886520 h 1176826"/>
                <a:gd name="connsiteX15" fmla="*/ 486362 w 1095236"/>
                <a:gd name="connsiteY15" fmla="*/ 1017148 h 1176826"/>
                <a:gd name="connsiteX16" fmla="*/ 187783 w 1095236"/>
                <a:gd name="connsiteY16" fmla="*/ 821205 h 1176826"/>
                <a:gd name="connsiteX0" fmla="*/ 187783 w 897635"/>
                <a:gd name="connsiteY0" fmla="*/ 821205 h 1173185"/>
                <a:gd name="connsiteX1" fmla="*/ 10501 w 897635"/>
                <a:gd name="connsiteY1" fmla="*/ 709238 h 1173185"/>
                <a:gd name="connsiteX2" fmla="*/ 495693 w 897635"/>
                <a:gd name="connsiteY2" fmla="*/ 1147777 h 1173185"/>
                <a:gd name="connsiteX3" fmla="*/ 756950 w 897635"/>
                <a:gd name="connsiteY3" fmla="*/ 1082462 h 1173185"/>
                <a:gd name="connsiteX4" fmla="*/ 896909 w 897635"/>
                <a:gd name="connsiteY4" fmla="*/ 765222 h 1173185"/>
                <a:gd name="connsiteX5" fmla="*/ 700967 w 897635"/>
                <a:gd name="connsiteY5" fmla="*/ 998487 h 1173185"/>
                <a:gd name="connsiteX6" fmla="*/ 579669 w 897635"/>
                <a:gd name="connsiteY6" fmla="*/ 1026479 h 1173185"/>
                <a:gd name="connsiteX7" fmla="*/ 570338 w 897635"/>
                <a:gd name="connsiteY7" fmla="*/ 858528 h 1173185"/>
                <a:gd name="connsiteX8" fmla="*/ 672975 w 897635"/>
                <a:gd name="connsiteY8" fmla="*/ 625262 h 1173185"/>
                <a:gd name="connsiteX9" fmla="*/ 644983 w 897635"/>
                <a:gd name="connsiteY9" fmla="*/ 410658 h 1173185"/>
                <a:gd name="connsiteX10" fmla="*/ 533016 w 897635"/>
                <a:gd name="connsiteY10" fmla="*/ 111 h 1173185"/>
                <a:gd name="connsiteX11" fmla="*/ 383726 w 897635"/>
                <a:gd name="connsiteY11" fmla="*/ 373336 h 1173185"/>
                <a:gd name="connsiteX12" fmla="*/ 374395 w 897635"/>
                <a:gd name="connsiteY12" fmla="*/ 709238 h 1173185"/>
                <a:gd name="connsiteX13" fmla="*/ 467701 w 897635"/>
                <a:gd name="connsiteY13" fmla="*/ 886520 h 1173185"/>
                <a:gd name="connsiteX14" fmla="*/ 486362 w 897635"/>
                <a:gd name="connsiteY14" fmla="*/ 1017148 h 1173185"/>
                <a:gd name="connsiteX15" fmla="*/ 187783 w 897635"/>
                <a:gd name="connsiteY15" fmla="*/ 821205 h 1173185"/>
                <a:gd name="connsiteX0" fmla="*/ 187783 w 767120"/>
                <a:gd name="connsiteY0" fmla="*/ 821205 h 1167492"/>
                <a:gd name="connsiteX1" fmla="*/ 10501 w 767120"/>
                <a:gd name="connsiteY1" fmla="*/ 709238 h 1167492"/>
                <a:gd name="connsiteX2" fmla="*/ 495693 w 767120"/>
                <a:gd name="connsiteY2" fmla="*/ 1147777 h 1167492"/>
                <a:gd name="connsiteX3" fmla="*/ 756950 w 767120"/>
                <a:gd name="connsiteY3" fmla="*/ 1082462 h 1167492"/>
                <a:gd name="connsiteX4" fmla="*/ 700967 w 767120"/>
                <a:gd name="connsiteY4" fmla="*/ 998487 h 1167492"/>
                <a:gd name="connsiteX5" fmla="*/ 579669 w 767120"/>
                <a:gd name="connsiteY5" fmla="*/ 1026479 h 1167492"/>
                <a:gd name="connsiteX6" fmla="*/ 570338 w 767120"/>
                <a:gd name="connsiteY6" fmla="*/ 858528 h 1167492"/>
                <a:gd name="connsiteX7" fmla="*/ 672975 w 767120"/>
                <a:gd name="connsiteY7" fmla="*/ 625262 h 1167492"/>
                <a:gd name="connsiteX8" fmla="*/ 644983 w 767120"/>
                <a:gd name="connsiteY8" fmla="*/ 410658 h 1167492"/>
                <a:gd name="connsiteX9" fmla="*/ 533016 w 767120"/>
                <a:gd name="connsiteY9" fmla="*/ 111 h 1167492"/>
                <a:gd name="connsiteX10" fmla="*/ 383726 w 767120"/>
                <a:gd name="connsiteY10" fmla="*/ 373336 h 1167492"/>
                <a:gd name="connsiteX11" fmla="*/ 374395 w 767120"/>
                <a:gd name="connsiteY11" fmla="*/ 709238 h 1167492"/>
                <a:gd name="connsiteX12" fmla="*/ 467701 w 767120"/>
                <a:gd name="connsiteY12" fmla="*/ 886520 h 1167492"/>
                <a:gd name="connsiteX13" fmla="*/ 486362 w 767120"/>
                <a:gd name="connsiteY13" fmla="*/ 1017148 h 1167492"/>
                <a:gd name="connsiteX14" fmla="*/ 187783 w 767120"/>
                <a:gd name="connsiteY14" fmla="*/ 821205 h 1167492"/>
                <a:gd name="connsiteX0" fmla="*/ 475867 w 756625"/>
                <a:gd name="connsiteY0" fmla="*/ 1017148 h 1167492"/>
                <a:gd name="connsiteX1" fmla="*/ 6 w 756625"/>
                <a:gd name="connsiteY1" fmla="*/ 709238 h 1167492"/>
                <a:gd name="connsiteX2" fmla="*/ 485198 w 756625"/>
                <a:gd name="connsiteY2" fmla="*/ 1147777 h 1167492"/>
                <a:gd name="connsiteX3" fmla="*/ 746455 w 756625"/>
                <a:gd name="connsiteY3" fmla="*/ 1082462 h 1167492"/>
                <a:gd name="connsiteX4" fmla="*/ 690472 w 756625"/>
                <a:gd name="connsiteY4" fmla="*/ 998487 h 1167492"/>
                <a:gd name="connsiteX5" fmla="*/ 569174 w 756625"/>
                <a:gd name="connsiteY5" fmla="*/ 1026479 h 1167492"/>
                <a:gd name="connsiteX6" fmla="*/ 559843 w 756625"/>
                <a:gd name="connsiteY6" fmla="*/ 858528 h 1167492"/>
                <a:gd name="connsiteX7" fmla="*/ 662480 w 756625"/>
                <a:gd name="connsiteY7" fmla="*/ 625262 h 1167492"/>
                <a:gd name="connsiteX8" fmla="*/ 634488 w 756625"/>
                <a:gd name="connsiteY8" fmla="*/ 410658 h 1167492"/>
                <a:gd name="connsiteX9" fmla="*/ 522521 w 756625"/>
                <a:gd name="connsiteY9" fmla="*/ 111 h 1167492"/>
                <a:gd name="connsiteX10" fmla="*/ 373231 w 756625"/>
                <a:gd name="connsiteY10" fmla="*/ 373336 h 1167492"/>
                <a:gd name="connsiteX11" fmla="*/ 363900 w 756625"/>
                <a:gd name="connsiteY11" fmla="*/ 709238 h 1167492"/>
                <a:gd name="connsiteX12" fmla="*/ 457206 w 756625"/>
                <a:gd name="connsiteY12" fmla="*/ 886520 h 1167492"/>
                <a:gd name="connsiteX13" fmla="*/ 475867 w 756625"/>
                <a:gd name="connsiteY13" fmla="*/ 1017148 h 1167492"/>
                <a:gd name="connsiteX0" fmla="*/ 122556 w 403314"/>
                <a:gd name="connsiteY0" fmla="*/ 1017148 h 1149270"/>
                <a:gd name="connsiteX1" fmla="*/ 131887 w 403314"/>
                <a:gd name="connsiteY1" fmla="*/ 1147777 h 1149270"/>
                <a:gd name="connsiteX2" fmla="*/ 393144 w 403314"/>
                <a:gd name="connsiteY2" fmla="*/ 1082462 h 1149270"/>
                <a:gd name="connsiteX3" fmla="*/ 337161 w 403314"/>
                <a:gd name="connsiteY3" fmla="*/ 998487 h 1149270"/>
                <a:gd name="connsiteX4" fmla="*/ 215863 w 403314"/>
                <a:gd name="connsiteY4" fmla="*/ 1026479 h 1149270"/>
                <a:gd name="connsiteX5" fmla="*/ 206532 w 403314"/>
                <a:gd name="connsiteY5" fmla="*/ 858528 h 1149270"/>
                <a:gd name="connsiteX6" fmla="*/ 309169 w 403314"/>
                <a:gd name="connsiteY6" fmla="*/ 625262 h 1149270"/>
                <a:gd name="connsiteX7" fmla="*/ 281177 w 403314"/>
                <a:gd name="connsiteY7" fmla="*/ 410658 h 1149270"/>
                <a:gd name="connsiteX8" fmla="*/ 169210 w 403314"/>
                <a:gd name="connsiteY8" fmla="*/ 111 h 1149270"/>
                <a:gd name="connsiteX9" fmla="*/ 19920 w 403314"/>
                <a:gd name="connsiteY9" fmla="*/ 373336 h 1149270"/>
                <a:gd name="connsiteX10" fmla="*/ 10589 w 403314"/>
                <a:gd name="connsiteY10" fmla="*/ 709238 h 1149270"/>
                <a:gd name="connsiteX11" fmla="*/ 103895 w 403314"/>
                <a:gd name="connsiteY11" fmla="*/ 886520 h 1149270"/>
                <a:gd name="connsiteX12" fmla="*/ 122556 w 403314"/>
                <a:gd name="connsiteY12" fmla="*/ 1017148 h 1149270"/>
                <a:gd name="connsiteX0" fmla="*/ 122556 w 394007"/>
                <a:gd name="connsiteY0" fmla="*/ 1017148 h 1149166"/>
                <a:gd name="connsiteX1" fmla="*/ 131887 w 394007"/>
                <a:gd name="connsiteY1" fmla="*/ 1147777 h 1149166"/>
                <a:gd name="connsiteX2" fmla="*/ 393144 w 394007"/>
                <a:gd name="connsiteY2" fmla="*/ 1082462 h 1149166"/>
                <a:gd name="connsiteX3" fmla="*/ 215863 w 394007"/>
                <a:gd name="connsiteY3" fmla="*/ 1026479 h 1149166"/>
                <a:gd name="connsiteX4" fmla="*/ 206532 w 394007"/>
                <a:gd name="connsiteY4" fmla="*/ 858528 h 1149166"/>
                <a:gd name="connsiteX5" fmla="*/ 309169 w 394007"/>
                <a:gd name="connsiteY5" fmla="*/ 625262 h 1149166"/>
                <a:gd name="connsiteX6" fmla="*/ 281177 w 394007"/>
                <a:gd name="connsiteY6" fmla="*/ 410658 h 1149166"/>
                <a:gd name="connsiteX7" fmla="*/ 169210 w 394007"/>
                <a:gd name="connsiteY7" fmla="*/ 111 h 1149166"/>
                <a:gd name="connsiteX8" fmla="*/ 19920 w 394007"/>
                <a:gd name="connsiteY8" fmla="*/ 373336 h 1149166"/>
                <a:gd name="connsiteX9" fmla="*/ 10589 w 394007"/>
                <a:gd name="connsiteY9" fmla="*/ 709238 h 1149166"/>
                <a:gd name="connsiteX10" fmla="*/ 103895 w 394007"/>
                <a:gd name="connsiteY10" fmla="*/ 886520 h 1149166"/>
                <a:gd name="connsiteX11" fmla="*/ 122556 w 394007"/>
                <a:gd name="connsiteY11" fmla="*/ 1017148 h 1149166"/>
                <a:gd name="connsiteX0" fmla="*/ 122556 w 313346"/>
                <a:gd name="connsiteY0" fmla="*/ 1017148 h 1147800"/>
                <a:gd name="connsiteX1" fmla="*/ 131887 w 313346"/>
                <a:gd name="connsiteY1" fmla="*/ 1147777 h 1147800"/>
                <a:gd name="connsiteX2" fmla="*/ 215863 w 313346"/>
                <a:gd name="connsiteY2" fmla="*/ 1026479 h 1147800"/>
                <a:gd name="connsiteX3" fmla="*/ 206532 w 313346"/>
                <a:gd name="connsiteY3" fmla="*/ 858528 h 1147800"/>
                <a:gd name="connsiteX4" fmla="*/ 309169 w 313346"/>
                <a:gd name="connsiteY4" fmla="*/ 625262 h 1147800"/>
                <a:gd name="connsiteX5" fmla="*/ 281177 w 313346"/>
                <a:gd name="connsiteY5" fmla="*/ 410658 h 1147800"/>
                <a:gd name="connsiteX6" fmla="*/ 169210 w 313346"/>
                <a:gd name="connsiteY6" fmla="*/ 111 h 1147800"/>
                <a:gd name="connsiteX7" fmla="*/ 19920 w 313346"/>
                <a:gd name="connsiteY7" fmla="*/ 373336 h 1147800"/>
                <a:gd name="connsiteX8" fmla="*/ 10589 w 313346"/>
                <a:gd name="connsiteY8" fmla="*/ 709238 h 1147800"/>
                <a:gd name="connsiteX9" fmla="*/ 103895 w 313346"/>
                <a:gd name="connsiteY9" fmla="*/ 886520 h 1147800"/>
                <a:gd name="connsiteX10" fmla="*/ 122556 w 313346"/>
                <a:gd name="connsiteY10" fmla="*/ 1017148 h 1147800"/>
                <a:gd name="connsiteX0" fmla="*/ 122555 w 313347"/>
                <a:gd name="connsiteY0" fmla="*/ 1017146 h 1041332"/>
                <a:gd name="connsiteX1" fmla="*/ 215862 w 313347"/>
                <a:gd name="connsiteY1" fmla="*/ 1026477 h 1041332"/>
                <a:gd name="connsiteX2" fmla="*/ 206531 w 313347"/>
                <a:gd name="connsiteY2" fmla="*/ 858526 h 1041332"/>
                <a:gd name="connsiteX3" fmla="*/ 309168 w 313347"/>
                <a:gd name="connsiteY3" fmla="*/ 625260 h 1041332"/>
                <a:gd name="connsiteX4" fmla="*/ 281176 w 313347"/>
                <a:gd name="connsiteY4" fmla="*/ 410656 h 1041332"/>
                <a:gd name="connsiteX5" fmla="*/ 169209 w 313347"/>
                <a:gd name="connsiteY5" fmla="*/ 109 h 1041332"/>
                <a:gd name="connsiteX6" fmla="*/ 19919 w 313347"/>
                <a:gd name="connsiteY6" fmla="*/ 373334 h 1041332"/>
                <a:gd name="connsiteX7" fmla="*/ 10588 w 313347"/>
                <a:gd name="connsiteY7" fmla="*/ 709236 h 1041332"/>
                <a:gd name="connsiteX8" fmla="*/ 103894 w 313347"/>
                <a:gd name="connsiteY8" fmla="*/ 886518 h 1041332"/>
                <a:gd name="connsiteX9" fmla="*/ 122555 w 313347"/>
                <a:gd name="connsiteY9" fmla="*/ 1017146 h 1041332"/>
                <a:gd name="connsiteX0" fmla="*/ 122555 w 313347"/>
                <a:gd name="connsiteY0" fmla="*/ 1017146 h 1042574"/>
                <a:gd name="connsiteX1" fmla="*/ 215862 w 313347"/>
                <a:gd name="connsiteY1" fmla="*/ 1026477 h 1042574"/>
                <a:gd name="connsiteX2" fmla="*/ 206531 w 313347"/>
                <a:gd name="connsiteY2" fmla="*/ 858526 h 1042574"/>
                <a:gd name="connsiteX3" fmla="*/ 309168 w 313347"/>
                <a:gd name="connsiteY3" fmla="*/ 625260 h 1042574"/>
                <a:gd name="connsiteX4" fmla="*/ 281176 w 313347"/>
                <a:gd name="connsiteY4" fmla="*/ 410656 h 1042574"/>
                <a:gd name="connsiteX5" fmla="*/ 169209 w 313347"/>
                <a:gd name="connsiteY5" fmla="*/ 109 h 1042574"/>
                <a:gd name="connsiteX6" fmla="*/ 19919 w 313347"/>
                <a:gd name="connsiteY6" fmla="*/ 373334 h 1042574"/>
                <a:gd name="connsiteX7" fmla="*/ 10588 w 313347"/>
                <a:gd name="connsiteY7" fmla="*/ 709236 h 1042574"/>
                <a:gd name="connsiteX8" fmla="*/ 103894 w 313347"/>
                <a:gd name="connsiteY8" fmla="*/ 886518 h 1042574"/>
                <a:gd name="connsiteX9" fmla="*/ 122555 w 313347"/>
                <a:gd name="connsiteY9" fmla="*/ 1017146 h 1042574"/>
                <a:gd name="connsiteX0" fmla="*/ 91699 w 313347"/>
                <a:gd name="connsiteY0" fmla="*/ 1080058 h 1088652"/>
                <a:gd name="connsiteX1" fmla="*/ 215862 w 313347"/>
                <a:gd name="connsiteY1" fmla="*/ 1026477 h 1088652"/>
                <a:gd name="connsiteX2" fmla="*/ 206531 w 313347"/>
                <a:gd name="connsiteY2" fmla="*/ 858526 h 1088652"/>
                <a:gd name="connsiteX3" fmla="*/ 309168 w 313347"/>
                <a:gd name="connsiteY3" fmla="*/ 625260 h 1088652"/>
                <a:gd name="connsiteX4" fmla="*/ 281176 w 313347"/>
                <a:gd name="connsiteY4" fmla="*/ 410656 h 1088652"/>
                <a:gd name="connsiteX5" fmla="*/ 169209 w 313347"/>
                <a:gd name="connsiteY5" fmla="*/ 109 h 1088652"/>
                <a:gd name="connsiteX6" fmla="*/ 19919 w 313347"/>
                <a:gd name="connsiteY6" fmla="*/ 373334 h 1088652"/>
                <a:gd name="connsiteX7" fmla="*/ 10588 w 313347"/>
                <a:gd name="connsiteY7" fmla="*/ 709236 h 1088652"/>
                <a:gd name="connsiteX8" fmla="*/ 103894 w 313347"/>
                <a:gd name="connsiteY8" fmla="*/ 886518 h 1088652"/>
                <a:gd name="connsiteX9" fmla="*/ 91699 w 313347"/>
                <a:gd name="connsiteY9" fmla="*/ 1080058 h 1088652"/>
                <a:gd name="connsiteX0" fmla="*/ 91699 w 313347"/>
                <a:gd name="connsiteY0" fmla="*/ 1080058 h 1123507"/>
                <a:gd name="connsiteX1" fmla="*/ 215862 w 313347"/>
                <a:gd name="connsiteY1" fmla="*/ 1026477 h 1123507"/>
                <a:gd name="connsiteX2" fmla="*/ 206531 w 313347"/>
                <a:gd name="connsiteY2" fmla="*/ 858526 h 1123507"/>
                <a:gd name="connsiteX3" fmla="*/ 309168 w 313347"/>
                <a:gd name="connsiteY3" fmla="*/ 625260 h 1123507"/>
                <a:gd name="connsiteX4" fmla="*/ 281176 w 313347"/>
                <a:gd name="connsiteY4" fmla="*/ 410656 h 1123507"/>
                <a:gd name="connsiteX5" fmla="*/ 169209 w 313347"/>
                <a:gd name="connsiteY5" fmla="*/ 109 h 1123507"/>
                <a:gd name="connsiteX6" fmla="*/ 19919 w 313347"/>
                <a:gd name="connsiteY6" fmla="*/ 373334 h 1123507"/>
                <a:gd name="connsiteX7" fmla="*/ 10588 w 313347"/>
                <a:gd name="connsiteY7" fmla="*/ 709236 h 1123507"/>
                <a:gd name="connsiteX8" fmla="*/ 103894 w 313347"/>
                <a:gd name="connsiteY8" fmla="*/ 886518 h 1123507"/>
                <a:gd name="connsiteX9" fmla="*/ 91699 w 313347"/>
                <a:gd name="connsiteY9" fmla="*/ 1080058 h 1123507"/>
                <a:gd name="connsiteX0" fmla="*/ 106099 w 313347"/>
                <a:gd name="connsiteY0" fmla="*/ 1025537 h 1081018"/>
                <a:gd name="connsiteX1" fmla="*/ 215862 w 313347"/>
                <a:gd name="connsiteY1" fmla="*/ 1026477 h 1081018"/>
                <a:gd name="connsiteX2" fmla="*/ 206531 w 313347"/>
                <a:gd name="connsiteY2" fmla="*/ 858526 h 1081018"/>
                <a:gd name="connsiteX3" fmla="*/ 309168 w 313347"/>
                <a:gd name="connsiteY3" fmla="*/ 625260 h 1081018"/>
                <a:gd name="connsiteX4" fmla="*/ 281176 w 313347"/>
                <a:gd name="connsiteY4" fmla="*/ 410656 h 1081018"/>
                <a:gd name="connsiteX5" fmla="*/ 169209 w 313347"/>
                <a:gd name="connsiteY5" fmla="*/ 109 h 1081018"/>
                <a:gd name="connsiteX6" fmla="*/ 19919 w 313347"/>
                <a:gd name="connsiteY6" fmla="*/ 373334 h 1081018"/>
                <a:gd name="connsiteX7" fmla="*/ 10588 w 313347"/>
                <a:gd name="connsiteY7" fmla="*/ 709236 h 1081018"/>
                <a:gd name="connsiteX8" fmla="*/ 103894 w 313347"/>
                <a:gd name="connsiteY8" fmla="*/ 886518 h 1081018"/>
                <a:gd name="connsiteX9" fmla="*/ 106099 w 313347"/>
                <a:gd name="connsiteY9" fmla="*/ 1025537 h 1081018"/>
                <a:gd name="connsiteX0" fmla="*/ 106099 w 313347"/>
                <a:gd name="connsiteY0" fmla="*/ 1025537 h 1045266"/>
                <a:gd name="connsiteX1" fmla="*/ 207633 w 313347"/>
                <a:gd name="connsiteY1" fmla="*/ 1026476 h 1045266"/>
                <a:gd name="connsiteX2" fmla="*/ 206531 w 313347"/>
                <a:gd name="connsiteY2" fmla="*/ 858526 h 1045266"/>
                <a:gd name="connsiteX3" fmla="*/ 309168 w 313347"/>
                <a:gd name="connsiteY3" fmla="*/ 625260 h 1045266"/>
                <a:gd name="connsiteX4" fmla="*/ 281176 w 313347"/>
                <a:gd name="connsiteY4" fmla="*/ 410656 h 1045266"/>
                <a:gd name="connsiteX5" fmla="*/ 169209 w 313347"/>
                <a:gd name="connsiteY5" fmla="*/ 109 h 1045266"/>
                <a:gd name="connsiteX6" fmla="*/ 19919 w 313347"/>
                <a:gd name="connsiteY6" fmla="*/ 373334 h 1045266"/>
                <a:gd name="connsiteX7" fmla="*/ 10588 w 313347"/>
                <a:gd name="connsiteY7" fmla="*/ 709236 h 1045266"/>
                <a:gd name="connsiteX8" fmla="*/ 103894 w 313347"/>
                <a:gd name="connsiteY8" fmla="*/ 886518 h 1045266"/>
                <a:gd name="connsiteX9" fmla="*/ 106099 w 313347"/>
                <a:gd name="connsiteY9" fmla="*/ 1025537 h 1045266"/>
                <a:gd name="connsiteX0" fmla="*/ 106099 w 309762"/>
                <a:gd name="connsiteY0" fmla="*/ 1025537 h 1045266"/>
                <a:gd name="connsiteX1" fmla="*/ 207633 w 309762"/>
                <a:gd name="connsiteY1" fmla="*/ 1026476 h 1045266"/>
                <a:gd name="connsiteX2" fmla="*/ 206531 w 309762"/>
                <a:gd name="connsiteY2" fmla="*/ 858526 h 1045266"/>
                <a:gd name="connsiteX3" fmla="*/ 305054 w 309762"/>
                <a:gd name="connsiteY3" fmla="*/ 683976 h 1045266"/>
                <a:gd name="connsiteX4" fmla="*/ 281176 w 309762"/>
                <a:gd name="connsiteY4" fmla="*/ 410656 h 1045266"/>
                <a:gd name="connsiteX5" fmla="*/ 169209 w 309762"/>
                <a:gd name="connsiteY5" fmla="*/ 109 h 1045266"/>
                <a:gd name="connsiteX6" fmla="*/ 19919 w 309762"/>
                <a:gd name="connsiteY6" fmla="*/ 373334 h 1045266"/>
                <a:gd name="connsiteX7" fmla="*/ 10588 w 309762"/>
                <a:gd name="connsiteY7" fmla="*/ 709236 h 1045266"/>
                <a:gd name="connsiteX8" fmla="*/ 103894 w 309762"/>
                <a:gd name="connsiteY8" fmla="*/ 886518 h 1045266"/>
                <a:gd name="connsiteX9" fmla="*/ 106099 w 309762"/>
                <a:gd name="connsiteY9" fmla="*/ 1025537 h 1045266"/>
                <a:gd name="connsiteX0" fmla="*/ 106099 w 309762"/>
                <a:gd name="connsiteY0" fmla="*/ 1025537 h 1043896"/>
                <a:gd name="connsiteX1" fmla="*/ 207633 w 309762"/>
                <a:gd name="connsiteY1" fmla="*/ 1026476 h 1043896"/>
                <a:gd name="connsiteX2" fmla="*/ 206531 w 309762"/>
                <a:gd name="connsiteY2" fmla="*/ 879497 h 1043896"/>
                <a:gd name="connsiteX3" fmla="*/ 305054 w 309762"/>
                <a:gd name="connsiteY3" fmla="*/ 683976 h 1043896"/>
                <a:gd name="connsiteX4" fmla="*/ 281176 w 309762"/>
                <a:gd name="connsiteY4" fmla="*/ 410656 h 1043896"/>
                <a:gd name="connsiteX5" fmla="*/ 169209 w 309762"/>
                <a:gd name="connsiteY5" fmla="*/ 109 h 1043896"/>
                <a:gd name="connsiteX6" fmla="*/ 19919 w 309762"/>
                <a:gd name="connsiteY6" fmla="*/ 373334 h 1043896"/>
                <a:gd name="connsiteX7" fmla="*/ 10588 w 309762"/>
                <a:gd name="connsiteY7" fmla="*/ 709236 h 1043896"/>
                <a:gd name="connsiteX8" fmla="*/ 103894 w 309762"/>
                <a:gd name="connsiteY8" fmla="*/ 886518 h 1043896"/>
                <a:gd name="connsiteX9" fmla="*/ 106099 w 309762"/>
                <a:gd name="connsiteY9" fmla="*/ 1025537 h 1043896"/>
                <a:gd name="connsiteX0" fmla="*/ 106099 w 309294"/>
                <a:gd name="connsiteY0" fmla="*/ 1025485 h 1043846"/>
                <a:gd name="connsiteX1" fmla="*/ 207633 w 309294"/>
                <a:gd name="connsiteY1" fmla="*/ 1026424 h 1043846"/>
                <a:gd name="connsiteX2" fmla="*/ 206531 w 309294"/>
                <a:gd name="connsiteY2" fmla="*/ 879445 h 1043846"/>
                <a:gd name="connsiteX3" fmla="*/ 305054 w 309294"/>
                <a:gd name="connsiteY3" fmla="*/ 683924 h 1043846"/>
                <a:gd name="connsiteX4" fmla="*/ 279118 w 309294"/>
                <a:gd name="connsiteY4" fmla="*/ 347692 h 1043846"/>
                <a:gd name="connsiteX5" fmla="*/ 169209 w 309294"/>
                <a:gd name="connsiteY5" fmla="*/ 57 h 1043846"/>
                <a:gd name="connsiteX6" fmla="*/ 19919 w 309294"/>
                <a:gd name="connsiteY6" fmla="*/ 373282 h 1043846"/>
                <a:gd name="connsiteX7" fmla="*/ 10588 w 309294"/>
                <a:gd name="connsiteY7" fmla="*/ 709184 h 1043846"/>
                <a:gd name="connsiteX8" fmla="*/ 103894 w 309294"/>
                <a:gd name="connsiteY8" fmla="*/ 886466 h 1043846"/>
                <a:gd name="connsiteX9" fmla="*/ 106099 w 309294"/>
                <a:gd name="connsiteY9" fmla="*/ 1025485 h 1043846"/>
                <a:gd name="connsiteX0" fmla="*/ 105520 w 308952"/>
                <a:gd name="connsiteY0" fmla="*/ 1029678 h 1048038"/>
                <a:gd name="connsiteX1" fmla="*/ 207054 w 308952"/>
                <a:gd name="connsiteY1" fmla="*/ 1030617 h 1048038"/>
                <a:gd name="connsiteX2" fmla="*/ 205952 w 308952"/>
                <a:gd name="connsiteY2" fmla="*/ 883638 h 1048038"/>
                <a:gd name="connsiteX3" fmla="*/ 304475 w 308952"/>
                <a:gd name="connsiteY3" fmla="*/ 688117 h 1048038"/>
                <a:gd name="connsiteX4" fmla="*/ 278539 w 308952"/>
                <a:gd name="connsiteY4" fmla="*/ 351885 h 1048038"/>
                <a:gd name="connsiteX5" fmla="*/ 158345 w 308952"/>
                <a:gd name="connsiteY5" fmla="*/ 55 h 1048038"/>
                <a:gd name="connsiteX6" fmla="*/ 19340 w 308952"/>
                <a:gd name="connsiteY6" fmla="*/ 377475 h 1048038"/>
                <a:gd name="connsiteX7" fmla="*/ 10009 w 308952"/>
                <a:gd name="connsiteY7" fmla="*/ 713377 h 1048038"/>
                <a:gd name="connsiteX8" fmla="*/ 103315 w 308952"/>
                <a:gd name="connsiteY8" fmla="*/ 890659 h 1048038"/>
                <a:gd name="connsiteX9" fmla="*/ 105520 w 308952"/>
                <a:gd name="connsiteY9" fmla="*/ 1029678 h 1048038"/>
                <a:gd name="connsiteX0" fmla="*/ 105520 w 308952"/>
                <a:gd name="connsiteY0" fmla="*/ 1029678 h 1048038"/>
                <a:gd name="connsiteX1" fmla="*/ 207054 w 308952"/>
                <a:gd name="connsiteY1" fmla="*/ 1030617 h 1048038"/>
                <a:gd name="connsiteX2" fmla="*/ 205952 w 308952"/>
                <a:gd name="connsiteY2" fmla="*/ 883638 h 1048038"/>
                <a:gd name="connsiteX3" fmla="*/ 304475 w 308952"/>
                <a:gd name="connsiteY3" fmla="*/ 688117 h 1048038"/>
                <a:gd name="connsiteX4" fmla="*/ 278539 w 308952"/>
                <a:gd name="connsiteY4" fmla="*/ 351885 h 1048038"/>
                <a:gd name="connsiteX5" fmla="*/ 158345 w 308952"/>
                <a:gd name="connsiteY5" fmla="*/ 55 h 1048038"/>
                <a:gd name="connsiteX6" fmla="*/ 19340 w 308952"/>
                <a:gd name="connsiteY6" fmla="*/ 377475 h 1048038"/>
                <a:gd name="connsiteX7" fmla="*/ 10009 w 308952"/>
                <a:gd name="connsiteY7" fmla="*/ 713377 h 1048038"/>
                <a:gd name="connsiteX8" fmla="*/ 103315 w 308952"/>
                <a:gd name="connsiteY8" fmla="*/ 890659 h 1048038"/>
                <a:gd name="connsiteX9" fmla="*/ 105520 w 308952"/>
                <a:gd name="connsiteY9" fmla="*/ 1029678 h 1048038"/>
                <a:gd name="connsiteX0" fmla="*/ 108959 w 308952"/>
                <a:gd name="connsiteY0" fmla="*/ 964412 h 1032668"/>
                <a:gd name="connsiteX1" fmla="*/ 207054 w 308952"/>
                <a:gd name="connsiteY1" fmla="*/ 1030617 h 1032668"/>
                <a:gd name="connsiteX2" fmla="*/ 205952 w 308952"/>
                <a:gd name="connsiteY2" fmla="*/ 883638 h 1032668"/>
                <a:gd name="connsiteX3" fmla="*/ 304475 w 308952"/>
                <a:gd name="connsiteY3" fmla="*/ 688117 h 1032668"/>
                <a:gd name="connsiteX4" fmla="*/ 278539 w 308952"/>
                <a:gd name="connsiteY4" fmla="*/ 351885 h 1032668"/>
                <a:gd name="connsiteX5" fmla="*/ 158345 w 308952"/>
                <a:gd name="connsiteY5" fmla="*/ 55 h 1032668"/>
                <a:gd name="connsiteX6" fmla="*/ 19340 w 308952"/>
                <a:gd name="connsiteY6" fmla="*/ 377475 h 1032668"/>
                <a:gd name="connsiteX7" fmla="*/ 10009 w 308952"/>
                <a:gd name="connsiteY7" fmla="*/ 713377 h 1032668"/>
                <a:gd name="connsiteX8" fmla="*/ 103315 w 308952"/>
                <a:gd name="connsiteY8" fmla="*/ 890659 h 1032668"/>
                <a:gd name="connsiteX9" fmla="*/ 108959 w 308952"/>
                <a:gd name="connsiteY9" fmla="*/ 964412 h 1032668"/>
                <a:gd name="connsiteX0" fmla="*/ 108959 w 308952"/>
                <a:gd name="connsiteY0" fmla="*/ 964412 h 970745"/>
                <a:gd name="connsiteX1" fmla="*/ 205334 w 308952"/>
                <a:gd name="connsiteY1" fmla="*/ 957672 h 970745"/>
                <a:gd name="connsiteX2" fmla="*/ 205952 w 308952"/>
                <a:gd name="connsiteY2" fmla="*/ 883638 h 970745"/>
                <a:gd name="connsiteX3" fmla="*/ 304475 w 308952"/>
                <a:gd name="connsiteY3" fmla="*/ 688117 h 970745"/>
                <a:gd name="connsiteX4" fmla="*/ 278539 w 308952"/>
                <a:gd name="connsiteY4" fmla="*/ 351885 h 970745"/>
                <a:gd name="connsiteX5" fmla="*/ 158345 w 308952"/>
                <a:gd name="connsiteY5" fmla="*/ 55 h 970745"/>
                <a:gd name="connsiteX6" fmla="*/ 19340 w 308952"/>
                <a:gd name="connsiteY6" fmla="*/ 377475 h 970745"/>
                <a:gd name="connsiteX7" fmla="*/ 10009 w 308952"/>
                <a:gd name="connsiteY7" fmla="*/ 713377 h 970745"/>
                <a:gd name="connsiteX8" fmla="*/ 103315 w 308952"/>
                <a:gd name="connsiteY8" fmla="*/ 890659 h 970745"/>
                <a:gd name="connsiteX9" fmla="*/ 108959 w 308952"/>
                <a:gd name="connsiteY9" fmla="*/ 964412 h 970745"/>
                <a:gd name="connsiteX0" fmla="*/ 117555 w 308952"/>
                <a:gd name="connsiteY0" fmla="*/ 956733 h 965991"/>
                <a:gd name="connsiteX1" fmla="*/ 205334 w 308952"/>
                <a:gd name="connsiteY1" fmla="*/ 957672 h 965991"/>
                <a:gd name="connsiteX2" fmla="*/ 205952 w 308952"/>
                <a:gd name="connsiteY2" fmla="*/ 883638 h 965991"/>
                <a:gd name="connsiteX3" fmla="*/ 304475 w 308952"/>
                <a:gd name="connsiteY3" fmla="*/ 688117 h 965991"/>
                <a:gd name="connsiteX4" fmla="*/ 278539 w 308952"/>
                <a:gd name="connsiteY4" fmla="*/ 351885 h 965991"/>
                <a:gd name="connsiteX5" fmla="*/ 158345 w 308952"/>
                <a:gd name="connsiteY5" fmla="*/ 55 h 965991"/>
                <a:gd name="connsiteX6" fmla="*/ 19340 w 308952"/>
                <a:gd name="connsiteY6" fmla="*/ 377475 h 965991"/>
                <a:gd name="connsiteX7" fmla="*/ 10009 w 308952"/>
                <a:gd name="connsiteY7" fmla="*/ 713377 h 965991"/>
                <a:gd name="connsiteX8" fmla="*/ 103315 w 308952"/>
                <a:gd name="connsiteY8" fmla="*/ 890659 h 965991"/>
                <a:gd name="connsiteX9" fmla="*/ 117555 w 308952"/>
                <a:gd name="connsiteY9" fmla="*/ 956733 h 965991"/>
                <a:gd name="connsiteX0" fmla="*/ 117555 w 308952"/>
                <a:gd name="connsiteY0" fmla="*/ 956733 h 965993"/>
                <a:gd name="connsiteX1" fmla="*/ 191580 w 308952"/>
                <a:gd name="connsiteY1" fmla="*/ 957672 h 965993"/>
                <a:gd name="connsiteX2" fmla="*/ 205952 w 308952"/>
                <a:gd name="connsiteY2" fmla="*/ 883638 h 965993"/>
                <a:gd name="connsiteX3" fmla="*/ 304475 w 308952"/>
                <a:gd name="connsiteY3" fmla="*/ 688117 h 965993"/>
                <a:gd name="connsiteX4" fmla="*/ 278539 w 308952"/>
                <a:gd name="connsiteY4" fmla="*/ 351885 h 965993"/>
                <a:gd name="connsiteX5" fmla="*/ 158345 w 308952"/>
                <a:gd name="connsiteY5" fmla="*/ 55 h 965993"/>
                <a:gd name="connsiteX6" fmla="*/ 19340 w 308952"/>
                <a:gd name="connsiteY6" fmla="*/ 377475 h 965993"/>
                <a:gd name="connsiteX7" fmla="*/ 10009 w 308952"/>
                <a:gd name="connsiteY7" fmla="*/ 713377 h 965993"/>
                <a:gd name="connsiteX8" fmla="*/ 103315 w 308952"/>
                <a:gd name="connsiteY8" fmla="*/ 890659 h 965993"/>
                <a:gd name="connsiteX9" fmla="*/ 117555 w 308952"/>
                <a:gd name="connsiteY9" fmla="*/ 956733 h 965993"/>
                <a:gd name="connsiteX0" fmla="*/ 119274 w 308952"/>
                <a:gd name="connsiteY0" fmla="*/ 960573 h 968186"/>
                <a:gd name="connsiteX1" fmla="*/ 191580 w 308952"/>
                <a:gd name="connsiteY1" fmla="*/ 957672 h 968186"/>
                <a:gd name="connsiteX2" fmla="*/ 205952 w 308952"/>
                <a:gd name="connsiteY2" fmla="*/ 883638 h 968186"/>
                <a:gd name="connsiteX3" fmla="*/ 304475 w 308952"/>
                <a:gd name="connsiteY3" fmla="*/ 688117 h 968186"/>
                <a:gd name="connsiteX4" fmla="*/ 278539 w 308952"/>
                <a:gd name="connsiteY4" fmla="*/ 351885 h 968186"/>
                <a:gd name="connsiteX5" fmla="*/ 158345 w 308952"/>
                <a:gd name="connsiteY5" fmla="*/ 55 h 968186"/>
                <a:gd name="connsiteX6" fmla="*/ 19340 w 308952"/>
                <a:gd name="connsiteY6" fmla="*/ 377475 h 968186"/>
                <a:gd name="connsiteX7" fmla="*/ 10009 w 308952"/>
                <a:gd name="connsiteY7" fmla="*/ 713377 h 968186"/>
                <a:gd name="connsiteX8" fmla="*/ 103315 w 308952"/>
                <a:gd name="connsiteY8" fmla="*/ 890659 h 968186"/>
                <a:gd name="connsiteX9" fmla="*/ 119274 w 308952"/>
                <a:gd name="connsiteY9" fmla="*/ 960573 h 968186"/>
                <a:gd name="connsiteX0" fmla="*/ 119274 w 311062"/>
                <a:gd name="connsiteY0" fmla="*/ 960573 h 969012"/>
                <a:gd name="connsiteX1" fmla="*/ 191580 w 311062"/>
                <a:gd name="connsiteY1" fmla="*/ 957672 h 969012"/>
                <a:gd name="connsiteX2" fmla="*/ 176371 w 311062"/>
                <a:gd name="connsiteY2" fmla="*/ 869530 h 969012"/>
                <a:gd name="connsiteX3" fmla="*/ 304475 w 311062"/>
                <a:gd name="connsiteY3" fmla="*/ 688117 h 969012"/>
                <a:gd name="connsiteX4" fmla="*/ 278539 w 311062"/>
                <a:gd name="connsiteY4" fmla="*/ 351885 h 969012"/>
                <a:gd name="connsiteX5" fmla="*/ 158345 w 311062"/>
                <a:gd name="connsiteY5" fmla="*/ 55 h 969012"/>
                <a:gd name="connsiteX6" fmla="*/ 19340 w 311062"/>
                <a:gd name="connsiteY6" fmla="*/ 377475 h 969012"/>
                <a:gd name="connsiteX7" fmla="*/ 10009 w 311062"/>
                <a:gd name="connsiteY7" fmla="*/ 713377 h 969012"/>
                <a:gd name="connsiteX8" fmla="*/ 103315 w 311062"/>
                <a:gd name="connsiteY8" fmla="*/ 890659 h 969012"/>
                <a:gd name="connsiteX9" fmla="*/ 119274 w 311062"/>
                <a:gd name="connsiteY9" fmla="*/ 960573 h 969012"/>
                <a:gd name="connsiteX0" fmla="*/ 119274 w 311062"/>
                <a:gd name="connsiteY0" fmla="*/ 960573 h 970966"/>
                <a:gd name="connsiteX1" fmla="*/ 191580 w 311062"/>
                <a:gd name="connsiteY1" fmla="*/ 957672 h 970966"/>
                <a:gd name="connsiteX2" fmla="*/ 176371 w 311062"/>
                <a:gd name="connsiteY2" fmla="*/ 869530 h 970966"/>
                <a:gd name="connsiteX3" fmla="*/ 304475 w 311062"/>
                <a:gd name="connsiteY3" fmla="*/ 688117 h 970966"/>
                <a:gd name="connsiteX4" fmla="*/ 278539 w 311062"/>
                <a:gd name="connsiteY4" fmla="*/ 351885 h 970966"/>
                <a:gd name="connsiteX5" fmla="*/ 158345 w 311062"/>
                <a:gd name="connsiteY5" fmla="*/ 55 h 970966"/>
                <a:gd name="connsiteX6" fmla="*/ 19340 w 311062"/>
                <a:gd name="connsiteY6" fmla="*/ 377475 h 970966"/>
                <a:gd name="connsiteX7" fmla="*/ 10009 w 311062"/>
                <a:gd name="connsiteY7" fmla="*/ 713377 h 970966"/>
                <a:gd name="connsiteX8" fmla="*/ 117222 w 311062"/>
                <a:gd name="connsiteY8" fmla="*/ 861344 h 970966"/>
                <a:gd name="connsiteX9" fmla="*/ 119274 w 311062"/>
                <a:gd name="connsiteY9" fmla="*/ 960573 h 970966"/>
                <a:gd name="connsiteX0" fmla="*/ 112722 w 304510"/>
                <a:gd name="connsiteY0" fmla="*/ 960573 h 970966"/>
                <a:gd name="connsiteX1" fmla="*/ 185028 w 304510"/>
                <a:gd name="connsiteY1" fmla="*/ 957672 h 970966"/>
                <a:gd name="connsiteX2" fmla="*/ 169819 w 304510"/>
                <a:gd name="connsiteY2" fmla="*/ 869530 h 970966"/>
                <a:gd name="connsiteX3" fmla="*/ 297923 w 304510"/>
                <a:gd name="connsiteY3" fmla="*/ 688117 h 970966"/>
                <a:gd name="connsiteX4" fmla="*/ 271987 w 304510"/>
                <a:gd name="connsiteY4" fmla="*/ 351885 h 970966"/>
                <a:gd name="connsiteX5" fmla="*/ 151793 w 304510"/>
                <a:gd name="connsiteY5" fmla="*/ 55 h 970966"/>
                <a:gd name="connsiteX6" fmla="*/ 12788 w 304510"/>
                <a:gd name="connsiteY6" fmla="*/ 377475 h 970966"/>
                <a:gd name="connsiteX7" fmla="*/ 15750 w 304510"/>
                <a:gd name="connsiteY7" fmla="*/ 707096 h 970966"/>
                <a:gd name="connsiteX8" fmla="*/ 110670 w 304510"/>
                <a:gd name="connsiteY8" fmla="*/ 861344 h 970966"/>
                <a:gd name="connsiteX9" fmla="*/ 112722 w 304510"/>
                <a:gd name="connsiteY9" fmla="*/ 960573 h 970966"/>
                <a:gd name="connsiteX0" fmla="*/ 112722 w 304510"/>
                <a:gd name="connsiteY0" fmla="*/ 960573 h 970845"/>
                <a:gd name="connsiteX1" fmla="*/ 185028 w 304510"/>
                <a:gd name="connsiteY1" fmla="*/ 957672 h 970845"/>
                <a:gd name="connsiteX2" fmla="*/ 169819 w 304510"/>
                <a:gd name="connsiteY2" fmla="*/ 869530 h 970845"/>
                <a:gd name="connsiteX3" fmla="*/ 297923 w 304510"/>
                <a:gd name="connsiteY3" fmla="*/ 688117 h 970845"/>
                <a:gd name="connsiteX4" fmla="*/ 271987 w 304510"/>
                <a:gd name="connsiteY4" fmla="*/ 351885 h 970845"/>
                <a:gd name="connsiteX5" fmla="*/ 151793 w 304510"/>
                <a:gd name="connsiteY5" fmla="*/ 55 h 970845"/>
                <a:gd name="connsiteX6" fmla="*/ 12788 w 304510"/>
                <a:gd name="connsiteY6" fmla="*/ 377475 h 970845"/>
                <a:gd name="connsiteX7" fmla="*/ 15750 w 304510"/>
                <a:gd name="connsiteY7" fmla="*/ 707096 h 970845"/>
                <a:gd name="connsiteX8" fmla="*/ 98069 w 304510"/>
                <a:gd name="connsiteY8" fmla="*/ 863107 h 970845"/>
                <a:gd name="connsiteX9" fmla="*/ 112722 w 304510"/>
                <a:gd name="connsiteY9" fmla="*/ 960573 h 970845"/>
                <a:gd name="connsiteX0" fmla="*/ 95664 w 304510"/>
                <a:gd name="connsiteY0" fmla="*/ 990328 h 994917"/>
                <a:gd name="connsiteX1" fmla="*/ 185028 w 304510"/>
                <a:gd name="connsiteY1" fmla="*/ 957672 h 994917"/>
                <a:gd name="connsiteX2" fmla="*/ 169819 w 304510"/>
                <a:gd name="connsiteY2" fmla="*/ 869530 h 994917"/>
                <a:gd name="connsiteX3" fmla="*/ 297923 w 304510"/>
                <a:gd name="connsiteY3" fmla="*/ 688117 h 994917"/>
                <a:gd name="connsiteX4" fmla="*/ 271987 w 304510"/>
                <a:gd name="connsiteY4" fmla="*/ 351885 h 994917"/>
                <a:gd name="connsiteX5" fmla="*/ 151793 w 304510"/>
                <a:gd name="connsiteY5" fmla="*/ 55 h 994917"/>
                <a:gd name="connsiteX6" fmla="*/ 12788 w 304510"/>
                <a:gd name="connsiteY6" fmla="*/ 377475 h 994917"/>
                <a:gd name="connsiteX7" fmla="*/ 15750 w 304510"/>
                <a:gd name="connsiteY7" fmla="*/ 707096 h 994917"/>
                <a:gd name="connsiteX8" fmla="*/ 98069 w 304510"/>
                <a:gd name="connsiteY8" fmla="*/ 863107 h 994917"/>
                <a:gd name="connsiteX9" fmla="*/ 95664 w 304510"/>
                <a:gd name="connsiteY9" fmla="*/ 990328 h 994917"/>
                <a:gd name="connsiteX0" fmla="*/ 95664 w 304510"/>
                <a:gd name="connsiteY0" fmla="*/ 990328 h 1003417"/>
                <a:gd name="connsiteX1" fmla="*/ 180572 w 304510"/>
                <a:gd name="connsiteY1" fmla="*/ 985664 h 1003417"/>
                <a:gd name="connsiteX2" fmla="*/ 169819 w 304510"/>
                <a:gd name="connsiteY2" fmla="*/ 869530 h 1003417"/>
                <a:gd name="connsiteX3" fmla="*/ 297923 w 304510"/>
                <a:gd name="connsiteY3" fmla="*/ 688117 h 1003417"/>
                <a:gd name="connsiteX4" fmla="*/ 271987 w 304510"/>
                <a:gd name="connsiteY4" fmla="*/ 351885 h 1003417"/>
                <a:gd name="connsiteX5" fmla="*/ 151793 w 304510"/>
                <a:gd name="connsiteY5" fmla="*/ 55 h 1003417"/>
                <a:gd name="connsiteX6" fmla="*/ 12788 w 304510"/>
                <a:gd name="connsiteY6" fmla="*/ 377475 h 1003417"/>
                <a:gd name="connsiteX7" fmla="*/ 15750 w 304510"/>
                <a:gd name="connsiteY7" fmla="*/ 707096 h 1003417"/>
                <a:gd name="connsiteX8" fmla="*/ 98069 w 304510"/>
                <a:gd name="connsiteY8" fmla="*/ 863107 h 1003417"/>
                <a:gd name="connsiteX9" fmla="*/ 95664 w 304510"/>
                <a:gd name="connsiteY9" fmla="*/ 990328 h 1003417"/>
                <a:gd name="connsiteX0" fmla="*/ 95664 w 294231"/>
                <a:gd name="connsiteY0" fmla="*/ 990328 h 1003417"/>
                <a:gd name="connsiteX1" fmla="*/ 180572 w 294231"/>
                <a:gd name="connsiteY1" fmla="*/ 985664 h 1003417"/>
                <a:gd name="connsiteX2" fmla="*/ 169819 w 294231"/>
                <a:gd name="connsiteY2" fmla="*/ 869530 h 1003417"/>
                <a:gd name="connsiteX3" fmla="*/ 285015 w 294231"/>
                <a:gd name="connsiteY3" fmla="*/ 685361 h 1003417"/>
                <a:gd name="connsiteX4" fmla="*/ 271987 w 294231"/>
                <a:gd name="connsiteY4" fmla="*/ 351885 h 1003417"/>
                <a:gd name="connsiteX5" fmla="*/ 151793 w 294231"/>
                <a:gd name="connsiteY5" fmla="*/ 55 h 1003417"/>
                <a:gd name="connsiteX6" fmla="*/ 12788 w 294231"/>
                <a:gd name="connsiteY6" fmla="*/ 377475 h 1003417"/>
                <a:gd name="connsiteX7" fmla="*/ 15750 w 294231"/>
                <a:gd name="connsiteY7" fmla="*/ 707096 h 1003417"/>
                <a:gd name="connsiteX8" fmla="*/ 98069 w 294231"/>
                <a:gd name="connsiteY8" fmla="*/ 863107 h 1003417"/>
                <a:gd name="connsiteX9" fmla="*/ 95664 w 294231"/>
                <a:gd name="connsiteY9" fmla="*/ 990328 h 1003417"/>
                <a:gd name="connsiteX0" fmla="*/ 95664 w 290430"/>
                <a:gd name="connsiteY0" fmla="*/ 990322 h 1003411"/>
                <a:gd name="connsiteX1" fmla="*/ 180572 w 290430"/>
                <a:gd name="connsiteY1" fmla="*/ 985658 h 1003411"/>
                <a:gd name="connsiteX2" fmla="*/ 169819 w 290430"/>
                <a:gd name="connsiteY2" fmla="*/ 869524 h 1003411"/>
                <a:gd name="connsiteX3" fmla="*/ 285015 w 290430"/>
                <a:gd name="connsiteY3" fmla="*/ 685355 h 1003411"/>
                <a:gd name="connsiteX4" fmla="*/ 259385 w 290430"/>
                <a:gd name="connsiteY4" fmla="*/ 353642 h 1003411"/>
                <a:gd name="connsiteX5" fmla="*/ 151793 w 290430"/>
                <a:gd name="connsiteY5" fmla="*/ 49 h 1003411"/>
                <a:gd name="connsiteX6" fmla="*/ 12788 w 290430"/>
                <a:gd name="connsiteY6" fmla="*/ 377469 h 1003411"/>
                <a:gd name="connsiteX7" fmla="*/ 15750 w 290430"/>
                <a:gd name="connsiteY7" fmla="*/ 707090 h 1003411"/>
                <a:gd name="connsiteX8" fmla="*/ 98069 w 290430"/>
                <a:gd name="connsiteY8" fmla="*/ 863101 h 1003411"/>
                <a:gd name="connsiteX9" fmla="*/ 95664 w 290430"/>
                <a:gd name="connsiteY9" fmla="*/ 990322 h 1003411"/>
                <a:gd name="connsiteX0" fmla="*/ 95214 w 290134"/>
                <a:gd name="connsiteY0" fmla="*/ 989440 h 1002529"/>
                <a:gd name="connsiteX1" fmla="*/ 180122 w 290134"/>
                <a:gd name="connsiteY1" fmla="*/ 984776 h 1002529"/>
                <a:gd name="connsiteX2" fmla="*/ 169369 w 290134"/>
                <a:gd name="connsiteY2" fmla="*/ 868642 h 1002529"/>
                <a:gd name="connsiteX3" fmla="*/ 284565 w 290134"/>
                <a:gd name="connsiteY3" fmla="*/ 684473 h 1002529"/>
                <a:gd name="connsiteX4" fmla="*/ 258935 w 290134"/>
                <a:gd name="connsiteY4" fmla="*/ 352760 h 1002529"/>
                <a:gd name="connsiteX5" fmla="*/ 145043 w 290134"/>
                <a:gd name="connsiteY5" fmla="*/ 49 h 1002529"/>
                <a:gd name="connsiteX6" fmla="*/ 12338 w 290134"/>
                <a:gd name="connsiteY6" fmla="*/ 376587 h 1002529"/>
                <a:gd name="connsiteX7" fmla="*/ 15300 w 290134"/>
                <a:gd name="connsiteY7" fmla="*/ 706208 h 1002529"/>
                <a:gd name="connsiteX8" fmla="*/ 97619 w 290134"/>
                <a:gd name="connsiteY8" fmla="*/ 862219 h 1002529"/>
                <a:gd name="connsiteX9" fmla="*/ 95214 w 290134"/>
                <a:gd name="connsiteY9" fmla="*/ 989440 h 1002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134" h="1002529">
                  <a:moveTo>
                    <a:pt x="95214" y="989440"/>
                  </a:moveTo>
                  <a:cubicBezTo>
                    <a:pt x="108965" y="1009866"/>
                    <a:pt x="167763" y="1004909"/>
                    <a:pt x="180122" y="984776"/>
                  </a:cubicBezTo>
                  <a:cubicBezTo>
                    <a:pt x="192481" y="964643"/>
                    <a:pt x="151962" y="918692"/>
                    <a:pt x="169369" y="868642"/>
                  </a:cubicBezTo>
                  <a:cubicBezTo>
                    <a:pt x="186776" y="818592"/>
                    <a:pt x="269637" y="770453"/>
                    <a:pt x="284565" y="684473"/>
                  </a:cubicBezTo>
                  <a:cubicBezTo>
                    <a:pt x="299493" y="598493"/>
                    <a:pt x="282189" y="466831"/>
                    <a:pt x="258935" y="352760"/>
                  </a:cubicBezTo>
                  <a:cubicBezTo>
                    <a:pt x="235681" y="238689"/>
                    <a:pt x="186143" y="-3922"/>
                    <a:pt x="145043" y="49"/>
                  </a:cubicBezTo>
                  <a:cubicBezTo>
                    <a:pt x="103944" y="4020"/>
                    <a:pt x="33962" y="258894"/>
                    <a:pt x="12338" y="376587"/>
                  </a:cubicBezTo>
                  <a:cubicBezTo>
                    <a:pt x="-9286" y="494280"/>
                    <a:pt x="1304" y="620677"/>
                    <a:pt x="15300" y="706208"/>
                  </a:cubicBezTo>
                  <a:cubicBezTo>
                    <a:pt x="29296" y="791739"/>
                    <a:pt x="84300" y="815014"/>
                    <a:pt x="97619" y="862219"/>
                  </a:cubicBezTo>
                  <a:cubicBezTo>
                    <a:pt x="110938" y="909424"/>
                    <a:pt x="81464" y="969014"/>
                    <a:pt x="95214" y="989440"/>
                  </a:cubicBezTo>
                  <a:close/>
                </a:path>
              </a:pathLst>
            </a:cu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w="9525" cap="flat" cmpd="sng" algn="ctr">
              <a:noFill/>
              <a:prstDash val="dash"/>
              <a:round/>
              <a:headEnd type="none" w="med" len="med"/>
              <a:tailEnd type="none" w="med" len="med"/>
            </a:ln>
            <a:effectLst>
              <a:glow rad="228600">
                <a:schemeClr val="accent5">
                  <a:satMod val="175000"/>
                  <a:alpha val="40000"/>
                </a:schemeClr>
              </a:glow>
              <a:softEdge rad="50800"/>
            </a:effectLst>
            <a:scene3d>
              <a:camera prst="orthographicFront"/>
              <a:lightRig rig="threePt" dir="t">
                <a:rot lat="0" lon="0" rev="5400000"/>
              </a:lightRig>
            </a:scene3d>
            <a:sp3d>
              <a:bevelT w="152400" h="50800" prst="softRound"/>
            </a:sp3d>
          </p:spPr>
          <p:txBody>
            <a:bodyPr vert="horz" wrap="square" lIns="91440" tIns="45720" rIns="91440" bIns="45720" numCol="1" rtlCol="0" anchor="t" anchorCtr="0" compatLnSpc="1">
              <a:prstTxWarp prst="textNoShape">
                <a:avLst/>
              </a:prstTxWarp>
            </a:bodyPr>
            <a:lstStyle/>
            <a:p>
              <a:pPr eaLnBrk="0" hangingPunct="0"/>
              <a:endParaRPr lang="en-US" sz="2800">
                <a:latin typeface="Century Gothic Pro" panose="020B0502020202020204" pitchFamily="34" charset="0"/>
                <a:ea typeface="ヒラギノ角ゴ Pro W3" pitchFamily="48" charset="-128"/>
                <a:cs typeface="Arial" charset="0"/>
              </a:endParaRPr>
            </a:p>
          </p:txBody>
        </p:sp>
        <p:sp>
          <p:nvSpPr>
            <p:cNvPr id="145" name="Freeform 144"/>
            <p:cNvSpPr/>
            <p:nvPr/>
          </p:nvSpPr>
          <p:spPr>
            <a:xfrm>
              <a:off x="8595637" y="4550663"/>
              <a:ext cx="378785" cy="1278583"/>
            </a:xfrm>
            <a:custGeom>
              <a:avLst/>
              <a:gdLst>
                <a:gd name="connsiteX0" fmla="*/ 481962 w 481962"/>
                <a:gd name="connsiteY0" fmla="*/ 1612330 h 1612330"/>
                <a:gd name="connsiteX1" fmla="*/ 105005 w 481962"/>
                <a:gd name="connsiteY1" fmla="*/ 1321215 h 1612330"/>
                <a:gd name="connsiteX2" fmla="*/ 502 w 481962"/>
                <a:gd name="connsiteY2" fmla="*/ 918132 h 1612330"/>
                <a:gd name="connsiteX3" fmla="*/ 71415 w 481962"/>
                <a:gd name="connsiteY3" fmla="*/ 515050 h 1612330"/>
                <a:gd name="connsiteX4" fmla="*/ 205775 w 481962"/>
                <a:gd name="connsiteY4" fmla="*/ 179148 h 1612330"/>
                <a:gd name="connsiteX5" fmla="*/ 272956 w 481962"/>
                <a:gd name="connsiteY5" fmla="*/ 0 h 1612330"/>
                <a:gd name="connsiteX0" fmla="*/ 481962 w 481962"/>
                <a:gd name="connsiteY0" fmla="*/ 1647910 h 1647910"/>
                <a:gd name="connsiteX1" fmla="*/ 105005 w 481962"/>
                <a:gd name="connsiteY1" fmla="*/ 1356795 h 1647910"/>
                <a:gd name="connsiteX2" fmla="*/ 502 w 481962"/>
                <a:gd name="connsiteY2" fmla="*/ 953712 h 1647910"/>
                <a:gd name="connsiteX3" fmla="*/ 71415 w 481962"/>
                <a:gd name="connsiteY3" fmla="*/ 550630 h 1647910"/>
                <a:gd name="connsiteX4" fmla="*/ 205775 w 481962"/>
                <a:gd name="connsiteY4" fmla="*/ 214728 h 1647910"/>
                <a:gd name="connsiteX5" fmla="*/ 376138 w 481962"/>
                <a:gd name="connsiteY5" fmla="*/ 0 h 1647910"/>
                <a:gd name="connsiteX0" fmla="*/ 482016 w 482016"/>
                <a:gd name="connsiteY0" fmla="*/ 1647910 h 1647910"/>
                <a:gd name="connsiteX1" fmla="*/ 105059 w 482016"/>
                <a:gd name="connsiteY1" fmla="*/ 1356795 h 1647910"/>
                <a:gd name="connsiteX2" fmla="*/ 556 w 482016"/>
                <a:gd name="connsiteY2" fmla="*/ 953712 h 1647910"/>
                <a:gd name="connsiteX3" fmla="*/ 71469 w 482016"/>
                <a:gd name="connsiteY3" fmla="*/ 550630 h 1647910"/>
                <a:gd name="connsiteX4" fmla="*/ 234293 w 482016"/>
                <a:gd name="connsiteY4" fmla="*/ 250308 h 1647910"/>
                <a:gd name="connsiteX5" fmla="*/ 376192 w 482016"/>
                <a:gd name="connsiteY5" fmla="*/ 0 h 1647910"/>
                <a:gd name="connsiteX0" fmla="*/ 482381 w 482381"/>
                <a:gd name="connsiteY0" fmla="*/ 1647910 h 1647910"/>
                <a:gd name="connsiteX1" fmla="*/ 105424 w 482381"/>
                <a:gd name="connsiteY1" fmla="*/ 1356795 h 1647910"/>
                <a:gd name="connsiteX2" fmla="*/ 921 w 482381"/>
                <a:gd name="connsiteY2" fmla="*/ 953712 h 1647910"/>
                <a:gd name="connsiteX3" fmla="*/ 64718 w 482381"/>
                <a:gd name="connsiteY3" fmla="*/ 628905 h 1647910"/>
                <a:gd name="connsiteX4" fmla="*/ 234658 w 482381"/>
                <a:gd name="connsiteY4" fmla="*/ 250308 h 1647910"/>
                <a:gd name="connsiteX5" fmla="*/ 376557 w 482381"/>
                <a:gd name="connsiteY5" fmla="*/ 0 h 1647910"/>
                <a:gd name="connsiteX0" fmla="*/ 483125 w 483125"/>
                <a:gd name="connsiteY0" fmla="*/ 1647910 h 1647910"/>
                <a:gd name="connsiteX1" fmla="*/ 123957 w 483125"/>
                <a:gd name="connsiteY1" fmla="*/ 1360353 h 1647910"/>
                <a:gd name="connsiteX2" fmla="*/ 1665 w 483125"/>
                <a:gd name="connsiteY2" fmla="*/ 953712 h 1647910"/>
                <a:gd name="connsiteX3" fmla="*/ 65462 w 483125"/>
                <a:gd name="connsiteY3" fmla="*/ 628905 h 1647910"/>
                <a:gd name="connsiteX4" fmla="*/ 235402 w 483125"/>
                <a:gd name="connsiteY4" fmla="*/ 250308 h 1647910"/>
                <a:gd name="connsiteX5" fmla="*/ 377301 w 483125"/>
                <a:gd name="connsiteY5" fmla="*/ 0 h 1647910"/>
                <a:gd name="connsiteX0" fmla="*/ 483125 w 483125"/>
                <a:gd name="connsiteY0" fmla="*/ 1666960 h 1666960"/>
                <a:gd name="connsiteX1" fmla="*/ 123957 w 483125"/>
                <a:gd name="connsiteY1" fmla="*/ 1379403 h 1666960"/>
                <a:gd name="connsiteX2" fmla="*/ 1665 w 483125"/>
                <a:gd name="connsiteY2" fmla="*/ 972762 h 1666960"/>
                <a:gd name="connsiteX3" fmla="*/ 65462 w 483125"/>
                <a:gd name="connsiteY3" fmla="*/ 647955 h 1666960"/>
                <a:gd name="connsiteX4" fmla="*/ 235402 w 483125"/>
                <a:gd name="connsiteY4" fmla="*/ 269358 h 1666960"/>
                <a:gd name="connsiteX5" fmla="*/ 453501 w 483125"/>
                <a:gd name="connsiteY5" fmla="*/ 0 h 1666960"/>
                <a:gd name="connsiteX0" fmla="*/ 483383 w 483383"/>
                <a:gd name="connsiteY0" fmla="*/ 1666960 h 1666960"/>
                <a:gd name="connsiteX1" fmla="*/ 124215 w 483383"/>
                <a:gd name="connsiteY1" fmla="*/ 1379403 h 1666960"/>
                <a:gd name="connsiteX2" fmla="*/ 1923 w 483383"/>
                <a:gd name="connsiteY2" fmla="*/ 972762 h 1666960"/>
                <a:gd name="connsiteX3" fmla="*/ 65720 w 483383"/>
                <a:gd name="connsiteY3" fmla="*/ 647955 h 1666960"/>
                <a:gd name="connsiteX4" fmla="*/ 273760 w 483383"/>
                <a:gd name="connsiteY4" fmla="*/ 269358 h 1666960"/>
                <a:gd name="connsiteX5" fmla="*/ 453759 w 483383"/>
                <a:gd name="connsiteY5" fmla="*/ 0 h 1666960"/>
                <a:gd name="connsiteX0" fmla="*/ 483383 w 483383"/>
                <a:gd name="connsiteY0" fmla="*/ 1666960 h 1666960"/>
                <a:gd name="connsiteX1" fmla="*/ 124215 w 483383"/>
                <a:gd name="connsiteY1" fmla="*/ 1379403 h 1666960"/>
                <a:gd name="connsiteX2" fmla="*/ 1923 w 483383"/>
                <a:gd name="connsiteY2" fmla="*/ 972762 h 1666960"/>
                <a:gd name="connsiteX3" fmla="*/ 65720 w 483383"/>
                <a:gd name="connsiteY3" fmla="*/ 647955 h 1666960"/>
                <a:gd name="connsiteX4" fmla="*/ 273760 w 483383"/>
                <a:gd name="connsiteY4" fmla="*/ 269358 h 1666960"/>
                <a:gd name="connsiteX5" fmla="*/ 453759 w 483383"/>
                <a:gd name="connsiteY5" fmla="*/ 0 h 1666960"/>
                <a:gd name="connsiteX0" fmla="*/ 486254 w 486254"/>
                <a:gd name="connsiteY0" fmla="*/ 1666960 h 1666960"/>
                <a:gd name="connsiteX1" fmla="*/ 127086 w 486254"/>
                <a:gd name="connsiteY1" fmla="*/ 1379403 h 1666960"/>
                <a:gd name="connsiteX2" fmla="*/ 4794 w 486254"/>
                <a:gd name="connsiteY2" fmla="*/ 972762 h 1666960"/>
                <a:gd name="connsiteX3" fmla="*/ 68591 w 486254"/>
                <a:gd name="connsiteY3" fmla="*/ 647955 h 1666960"/>
                <a:gd name="connsiteX4" fmla="*/ 456630 w 486254"/>
                <a:gd name="connsiteY4" fmla="*/ 0 h 1666960"/>
                <a:gd name="connsiteX0" fmla="*/ 486254 w 486254"/>
                <a:gd name="connsiteY0" fmla="*/ 1666960 h 1666960"/>
                <a:gd name="connsiteX1" fmla="*/ 127086 w 486254"/>
                <a:gd name="connsiteY1" fmla="*/ 1379403 h 1666960"/>
                <a:gd name="connsiteX2" fmla="*/ 4794 w 486254"/>
                <a:gd name="connsiteY2" fmla="*/ 972762 h 1666960"/>
                <a:gd name="connsiteX3" fmla="*/ 68591 w 486254"/>
                <a:gd name="connsiteY3" fmla="*/ 647955 h 1666960"/>
                <a:gd name="connsiteX4" fmla="*/ 456630 w 486254"/>
                <a:gd name="connsiteY4" fmla="*/ 0 h 1666960"/>
                <a:gd name="connsiteX0" fmla="*/ 484031 w 484031"/>
                <a:gd name="connsiteY0" fmla="*/ 1666960 h 1666960"/>
                <a:gd name="connsiteX1" fmla="*/ 124863 w 484031"/>
                <a:gd name="connsiteY1" fmla="*/ 1379403 h 1666960"/>
                <a:gd name="connsiteX2" fmla="*/ 2571 w 484031"/>
                <a:gd name="connsiteY2" fmla="*/ 972762 h 1666960"/>
                <a:gd name="connsiteX3" fmla="*/ 66368 w 484031"/>
                <a:gd name="connsiteY3" fmla="*/ 647955 h 1666960"/>
                <a:gd name="connsiteX4" fmla="*/ 454407 w 484031"/>
                <a:gd name="connsiteY4" fmla="*/ 0 h 1666960"/>
                <a:gd name="connsiteX0" fmla="*/ 512190 w 512190"/>
                <a:gd name="connsiteY0" fmla="*/ 1666960 h 1666960"/>
                <a:gd name="connsiteX1" fmla="*/ 153022 w 512190"/>
                <a:gd name="connsiteY1" fmla="*/ 1379403 h 1666960"/>
                <a:gd name="connsiteX2" fmla="*/ 2155 w 512190"/>
                <a:gd name="connsiteY2" fmla="*/ 972762 h 1666960"/>
                <a:gd name="connsiteX3" fmla="*/ 94527 w 512190"/>
                <a:gd name="connsiteY3" fmla="*/ 647955 h 1666960"/>
                <a:gd name="connsiteX4" fmla="*/ 482566 w 512190"/>
                <a:gd name="connsiteY4" fmla="*/ 0 h 1666960"/>
                <a:gd name="connsiteX0" fmla="*/ 510823 w 510823"/>
                <a:gd name="connsiteY0" fmla="*/ 1666960 h 1666960"/>
                <a:gd name="connsiteX1" fmla="*/ 123080 w 510823"/>
                <a:gd name="connsiteY1" fmla="*/ 1388928 h 1666960"/>
                <a:gd name="connsiteX2" fmla="*/ 788 w 510823"/>
                <a:gd name="connsiteY2" fmla="*/ 972762 h 1666960"/>
                <a:gd name="connsiteX3" fmla="*/ 93160 w 510823"/>
                <a:gd name="connsiteY3" fmla="*/ 647955 h 1666960"/>
                <a:gd name="connsiteX4" fmla="*/ 481199 w 510823"/>
                <a:gd name="connsiteY4" fmla="*/ 0 h 1666960"/>
                <a:gd name="connsiteX0" fmla="*/ 510106 w 510106"/>
                <a:gd name="connsiteY0" fmla="*/ 1666960 h 1666960"/>
                <a:gd name="connsiteX1" fmla="*/ 122363 w 510106"/>
                <a:gd name="connsiteY1" fmla="*/ 1388928 h 1666960"/>
                <a:gd name="connsiteX2" fmla="*/ 71 w 510106"/>
                <a:gd name="connsiteY2" fmla="*/ 972762 h 1666960"/>
                <a:gd name="connsiteX3" fmla="*/ 111493 w 510106"/>
                <a:gd name="connsiteY3" fmla="*/ 466980 h 1666960"/>
                <a:gd name="connsiteX4" fmla="*/ 480482 w 510106"/>
                <a:gd name="connsiteY4" fmla="*/ 0 h 1666960"/>
                <a:gd name="connsiteX0" fmla="*/ 510298 w 510298"/>
                <a:gd name="connsiteY0" fmla="*/ 1666960 h 1666960"/>
                <a:gd name="connsiteX1" fmla="*/ 122555 w 510298"/>
                <a:gd name="connsiteY1" fmla="*/ 1388928 h 1666960"/>
                <a:gd name="connsiteX2" fmla="*/ 263 w 510298"/>
                <a:gd name="connsiteY2" fmla="*/ 972762 h 1666960"/>
                <a:gd name="connsiteX3" fmla="*/ 111685 w 510298"/>
                <a:gd name="connsiteY3" fmla="*/ 466980 h 1666960"/>
                <a:gd name="connsiteX4" fmla="*/ 480674 w 510298"/>
                <a:gd name="connsiteY4" fmla="*/ 0 h 1666960"/>
                <a:gd name="connsiteX0" fmla="*/ 529133 w 529133"/>
                <a:gd name="connsiteY0" fmla="*/ 1666960 h 1666960"/>
                <a:gd name="connsiteX1" fmla="*/ 141390 w 529133"/>
                <a:gd name="connsiteY1" fmla="*/ 1388928 h 1666960"/>
                <a:gd name="connsiteX2" fmla="*/ 48 w 529133"/>
                <a:gd name="connsiteY2" fmla="*/ 963237 h 1666960"/>
                <a:gd name="connsiteX3" fmla="*/ 130520 w 529133"/>
                <a:gd name="connsiteY3" fmla="*/ 466980 h 1666960"/>
                <a:gd name="connsiteX4" fmla="*/ 499509 w 529133"/>
                <a:gd name="connsiteY4" fmla="*/ 0 h 1666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133" h="1666960">
                  <a:moveTo>
                    <a:pt x="529133" y="1666960"/>
                  </a:moveTo>
                  <a:cubicBezTo>
                    <a:pt x="380776" y="1579252"/>
                    <a:pt x="229571" y="1506215"/>
                    <a:pt x="141390" y="1388928"/>
                  </a:cubicBezTo>
                  <a:cubicBezTo>
                    <a:pt x="53209" y="1271641"/>
                    <a:pt x="1860" y="1116895"/>
                    <a:pt x="48" y="963237"/>
                  </a:cubicBezTo>
                  <a:cubicBezTo>
                    <a:pt x="-1764" y="809579"/>
                    <a:pt x="47277" y="627519"/>
                    <a:pt x="130520" y="466980"/>
                  </a:cubicBezTo>
                  <a:cubicBezTo>
                    <a:pt x="213763" y="306441"/>
                    <a:pt x="285318" y="220716"/>
                    <a:pt x="499509" y="0"/>
                  </a:cubicBezTo>
                </a:path>
              </a:pathLst>
            </a:custGeom>
            <a:ln w="25400">
              <a:prstDash val="sysDash"/>
              <a:tailEnd type="triangle"/>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GB">
                <a:latin typeface="Century Gothic Pro" panose="020B0502020202020204" pitchFamily="34" charset="0"/>
              </a:endParaRPr>
            </a:p>
          </p:txBody>
        </p:sp>
        <p:sp>
          <p:nvSpPr>
            <p:cNvPr id="146" name="Freeform 145"/>
            <p:cNvSpPr/>
            <p:nvPr/>
          </p:nvSpPr>
          <p:spPr>
            <a:xfrm>
              <a:off x="8915954" y="4517073"/>
              <a:ext cx="311294" cy="1217601"/>
            </a:xfrm>
            <a:custGeom>
              <a:avLst/>
              <a:gdLst>
                <a:gd name="connsiteX0" fmla="*/ 381345 w 381345"/>
                <a:gd name="connsiteY0" fmla="*/ 1645920 h 1645920"/>
                <a:gd name="connsiteX1" fmla="*/ 135017 w 381345"/>
                <a:gd name="connsiteY1" fmla="*/ 1433182 h 1645920"/>
                <a:gd name="connsiteX2" fmla="*/ 4389 w 381345"/>
                <a:gd name="connsiteY2" fmla="*/ 1078619 h 1645920"/>
                <a:gd name="connsiteX3" fmla="*/ 45443 w 381345"/>
                <a:gd name="connsiteY3" fmla="*/ 712859 h 1645920"/>
                <a:gd name="connsiteX4" fmla="*/ 187269 w 381345"/>
                <a:gd name="connsiteY4" fmla="*/ 328438 h 1645920"/>
                <a:gd name="connsiteX5" fmla="*/ 306700 w 381345"/>
                <a:gd name="connsiteY5" fmla="*/ 0 h 1645920"/>
                <a:gd name="connsiteX0" fmla="*/ 381345 w 530852"/>
                <a:gd name="connsiteY0" fmla="*/ 1677942 h 1677942"/>
                <a:gd name="connsiteX1" fmla="*/ 135017 w 530852"/>
                <a:gd name="connsiteY1" fmla="*/ 1465204 h 1677942"/>
                <a:gd name="connsiteX2" fmla="*/ 4389 w 530852"/>
                <a:gd name="connsiteY2" fmla="*/ 1110641 h 1677942"/>
                <a:gd name="connsiteX3" fmla="*/ 45443 w 530852"/>
                <a:gd name="connsiteY3" fmla="*/ 744881 h 1677942"/>
                <a:gd name="connsiteX4" fmla="*/ 187269 w 530852"/>
                <a:gd name="connsiteY4" fmla="*/ 360460 h 1677942"/>
                <a:gd name="connsiteX5" fmla="*/ 530852 w 530852"/>
                <a:gd name="connsiteY5" fmla="*/ 0 h 1677942"/>
                <a:gd name="connsiteX0" fmla="*/ 383275 w 532782"/>
                <a:gd name="connsiteY0" fmla="*/ 1677942 h 1677942"/>
                <a:gd name="connsiteX1" fmla="*/ 136947 w 532782"/>
                <a:gd name="connsiteY1" fmla="*/ 1465204 h 1677942"/>
                <a:gd name="connsiteX2" fmla="*/ 6319 w 532782"/>
                <a:gd name="connsiteY2" fmla="*/ 1110641 h 1677942"/>
                <a:gd name="connsiteX3" fmla="*/ 47373 w 532782"/>
                <a:gd name="connsiteY3" fmla="*/ 744881 h 1677942"/>
                <a:gd name="connsiteX4" fmla="*/ 278148 w 532782"/>
                <a:gd name="connsiteY4" fmla="*/ 502779 h 1677942"/>
                <a:gd name="connsiteX5" fmla="*/ 532782 w 532782"/>
                <a:gd name="connsiteY5" fmla="*/ 0 h 1677942"/>
                <a:gd name="connsiteX0" fmla="*/ 376986 w 526493"/>
                <a:gd name="connsiteY0" fmla="*/ 1677942 h 1677942"/>
                <a:gd name="connsiteX1" fmla="*/ 130658 w 526493"/>
                <a:gd name="connsiteY1" fmla="*/ 1465204 h 1677942"/>
                <a:gd name="connsiteX2" fmla="*/ 30 w 526493"/>
                <a:gd name="connsiteY2" fmla="*/ 1110641 h 1677942"/>
                <a:gd name="connsiteX3" fmla="*/ 140708 w 526493"/>
                <a:gd name="connsiteY3" fmla="*/ 865852 h 1677942"/>
                <a:gd name="connsiteX4" fmla="*/ 271859 w 526493"/>
                <a:gd name="connsiteY4" fmla="*/ 502779 h 1677942"/>
                <a:gd name="connsiteX5" fmla="*/ 526493 w 526493"/>
                <a:gd name="connsiteY5" fmla="*/ 0 h 1677942"/>
                <a:gd name="connsiteX0" fmla="*/ 265848 w 415355"/>
                <a:gd name="connsiteY0" fmla="*/ 1677942 h 1677942"/>
                <a:gd name="connsiteX1" fmla="*/ 19520 w 415355"/>
                <a:gd name="connsiteY1" fmla="*/ 1465204 h 1677942"/>
                <a:gd name="connsiteX2" fmla="*/ 16979 w 415355"/>
                <a:gd name="connsiteY2" fmla="*/ 1160452 h 1677942"/>
                <a:gd name="connsiteX3" fmla="*/ 29570 w 415355"/>
                <a:gd name="connsiteY3" fmla="*/ 865852 h 1677942"/>
                <a:gd name="connsiteX4" fmla="*/ 160721 w 415355"/>
                <a:gd name="connsiteY4" fmla="*/ 502779 h 1677942"/>
                <a:gd name="connsiteX5" fmla="*/ 415355 w 415355"/>
                <a:gd name="connsiteY5" fmla="*/ 0 h 1677942"/>
                <a:gd name="connsiteX0" fmla="*/ 258045 w 407552"/>
                <a:gd name="connsiteY0" fmla="*/ 1677942 h 1677942"/>
                <a:gd name="connsiteX1" fmla="*/ 114898 w 407552"/>
                <a:gd name="connsiteY1" fmla="*/ 1490110 h 1677942"/>
                <a:gd name="connsiteX2" fmla="*/ 9176 w 407552"/>
                <a:gd name="connsiteY2" fmla="*/ 1160452 h 1677942"/>
                <a:gd name="connsiteX3" fmla="*/ 21767 w 407552"/>
                <a:gd name="connsiteY3" fmla="*/ 865852 h 1677942"/>
                <a:gd name="connsiteX4" fmla="*/ 152918 w 407552"/>
                <a:gd name="connsiteY4" fmla="*/ 502779 h 1677942"/>
                <a:gd name="connsiteX5" fmla="*/ 407552 w 407552"/>
                <a:gd name="connsiteY5" fmla="*/ 0 h 1677942"/>
                <a:gd name="connsiteX0" fmla="*/ 296145 w 407552"/>
                <a:gd name="connsiteY0" fmla="*/ 1711280 h 1711280"/>
                <a:gd name="connsiteX1" fmla="*/ 114898 w 407552"/>
                <a:gd name="connsiteY1" fmla="*/ 1490110 h 1711280"/>
                <a:gd name="connsiteX2" fmla="*/ 9176 w 407552"/>
                <a:gd name="connsiteY2" fmla="*/ 1160452 h 1711280"/>
                <a:gd name="connsiteX3" fmla="*/ 21767 w 407552"/>
                <a:gd name="connsiteY3" fmla="*/ 865852 h 1711280"/>
                <a:gd name="connsiteX4" fmla="*/ 152918 w 407552"/>
                <a:gd name="connsiteY4" fmla="*/ 502779 h 1711280"/>
                <a:gd name="connsiteX5" fmla="*/ 407552 w 407552"/>
                <a:gd name="connsiteY5" fmla="*/ 0 h 1711280"/>
                <a:gd name="connsiteX0" fmla="*/ 365162 w 476569"/>
                <a:gd name="connsiteY0" fmla="*/ 1711280 h 1711280"/>
                <a:gd name="connsiteX1" fmla="*/ 183915 w 476569"/>
                <a:gd name="connsiteY1" fmla="*/ 1490110 h 1711280"/>
                <a:gd name="connsiteX2" fmla="*/ 78193 w 476569"/>
                <a:gd name="connsiteY2" fmla="*/ 1160452 h 1711280"/>
                <a:gd name="connsiteX3" fmla="*/ 5059 w 476569"/>
                <a:gd name="connsiteY3" fmla="*/ 818227 h 1711280"/>
                <a:gd name="connsiteX4" fmla="*/ 221935 w 476569"/>
                <a:gd name="connsiteY4" fmla="*/ 502779 h 1711280"/>
                <a:gd name="connsiteX5" fmla="*/ 476569 w 476569"/>
                <a:gd name="connsiteY5" fmla="*/ 0 h 1711280"/>
                <a:gd name="connsiteX0" fmla="*/ 367279 w 478686"/>
                <a:gd name="connsiteY0" fmla="*/ 1711280 h 1711280"/>
                <a:gd name="connsiteX1" fmla="*/ 186032 w 478686"/>
                <a:gd name="connsiteY1" fmla="*/ 1490110 h 1711280"/>
                <a:gd name="connsiteX2" fmla="*/ 80310 w 478686"/>
                <a:gd name="connsiteY2" fmla="*/ 1160452 h 1711280"/>
                <a:gd name="connsiteX3" fmla="*/ 7176 w 478686"/>
                <a:gd name="connsiteY3" fmla="*/ 818227 h 1711280"/>
                <a:gd name="connsiteX4" fmla="*/ 262152 w 478686"/>
                <a:gd name="connsiteY4" fmla="*/ 398004 h 1711280"/>
                <a:gd name="connsiteX5" fmla="*/ 478686 w 478686"/>
                <a:gd name="connsiteY5" fmla="*/ 0 h 1711280"/>
                <a:gd name="connsiteX0" fmla="*/ 384347 w 495754"/>
                <a:gd name="connsiteY0" fmla="*/ 1711280 h 1711280"/>
                <a:gd name="connsiteX1" fmla="*/ 203100 w 495754"/>
                <a:gd name="connsiteY1" fmla="*/ 1490110 h 1711280"/>
                <a:gd name="connsiteX2" fmla="*/ 30703 w 495754"/>
                <a:gd name="connsiteY2" fmla="*/ 1208077 h 1711280"/>
                <a:gd name="connsiteX3" fmla="*/ 24244 w 495754"/>
                <a:gd name="connsiteY3" fmla="*/ 818227 h 1711280"/>
                <a:gd name="connsiteX4" fmla="*/ 279220 w 495754"/>
                <a:gd name="connsiteY4" fmla="*/ 398004 h 1711280"/>
                <a:gd name="connsiteX5" fmla="*/ 495754 w 495754"/>
                <a:gd name="connsiteY5" fmla="*/ 0 h 1711280"/>
                <a:gd name="connsiteX0" fmla="*/ 360960 w 472367"/>
                <a:gd name="connsiteY0" fmla="*/ 1711280 h 1711280"/>
                <a:gd name="connsiteX1" fmla="*/ 179713 w 472367"/>
                <a:gd name="connsiteY1" fmla="*/ 1490110 h 1711280"/>
                <a:gd name="connsiteX2" fmla="*/ 857 w 472367"/>
                <a:gd name="connsiteY2" fmla="*/ 818227 h 1711280"/>
                <a:gd name="connsiteX3" fmla="*/ 255833 w 472367"/>
                <a:gd name="connsiteY3" fmla="*/ 398004 h 1711280"/>
                <a:gd name="connsiteX4" fmla="*/ 472367 w 472367"/>
                <a:gd name="connsiteY4" fmla="*/ 0 h 1711280"/>
                <a:gd name="connsiteX0" fmla="*/ 360960 w 472367"/>
                <a:gd name="connsiteY0" fmla="*/ 1711280 h 1711280"/>
                <a:gd name="connsiteX1" fmla="*/ 179713 w 472367"/>
                <a:gd name="connsiteY1" fmla="*/ 1490110 h 1711280"/>
                <a:gd name="connsiteX2" fmla="*/ 857 w 472367"/>
                <a:gd name="connsiteY2" fmla="*/ 818227 h 1711280"/>
                <a:gd name="connsiteX3" fmla="*/ 255833 w 472367"/>
                <a:gd name="connsiteY3" fmla="*/ 398004 h 1711280"/>
                <a:gd name="connsiteX4" fmla="*/ 472367 w 472367"/>
                <a:gd name="connsiteY4" fmla="*/ 0 h 1711280"/>
                <a:gd name="connsiteX0" fmla="*/ 368883 w 480290"/>
                <a:gd name="connsiteY0" fmla="*/ 1711280 h 1711280"/>
                <a:gd name="connsiteX1" fmla="*/ 187636 w 480290"/>
                <a:gd name="connsiteY1" fmla="*/ 1490110 h 1711280"/>
                <a:gd name="connsiteX2" fmla="*/ 8780 w 480290"/>
                <a:gd name="connsiteY2" fmla="*/ 818227 h 1711280"/>
                <a:gd name="connsiteX3" fmla="*/ 480290 w 480290"/>
                <a:gd name="connsiteY3" fmla="*/ 0 h 1711280"/>
                <a:gd name="connsiteX0" fmla="*/ 332392 w 443799"/>
                <a:gd name="connsiteY0" fmla="*/ 1711280 h 1711280"/>
                <a:gd name="connsiteX1" fmla="*/ 151145 w 443799"/>
                <a:gd name="connsiteY1" fmla="*/ 1490110 h 1711280"/>
                <a:gd name="connsiteX2" fmla="*/ 10389 w 443799"/>
                <a:gd name="connsiteY2" fmla="*/ 827752 h 1711280"/>
                <a:gd name="connsiteX3" fmla="*/ 443799 w 443799"/>
                <a:gd name="connsiteY3" fmla="*/ 0 h 1711280"/>
                <a:gd name="connsiteX0" fmla="*/ 345530 w 456937"/>
                <a:gd name="connsiteY0" fmla="*/ 1711280 h 1711280"/>
                <a:gd name="connsiteX1" fmla="*/ 88083 w 456937"/>
                <a:gd name="connsiteY1" fmla="*/ 1328185 h 1711280"/>
                <a:gd name="connsiteX2" fmla="*/ 23527 w 456937"/>
                <a:gd name="connsiteY2" fmla="*/ 827752 h 1711280"/>
                <a:gd name="connsiteX3" fmla="*/ 456937 w 456937"/>
                <a:gd name="connsiteY3" fmla="*/ 0 h 1711280"/>
                <a:gd name="connsiteX0" fmla="*/ 344160 w 436517"/>
                <a:gd name="connsiteY0" fmla="*/ 1711280 h 1711280"/>
                <a:gd name="connsiteX1" fmla="*/ 86713 w 436517"/>
                <a:gd name="connsiteY1" fmla="*/ 1328185 h 1711280"/>
                <a:gd name="connsiteX2" fmla="*/ 22157 w 436517"/>
                <a:gd name="connsiteY2" fmla="*/ 827752 h 1711280"/>
                <a:gd name="connsiteX3" fmla="*/ 436517 w 436517"/>
                <a:gd name="connsiteY3" fmla="*/ 0 h 1711280"/>
                <a:gd name="connsiteX0" fmla="*/ 344160 w 436517"/>
                <a:gd name="connsiteY0" fmla="*/ 1711280 h 1711280"/>
                <a:gd name="connsiteX1" fmla="*/ 86713 w 436517"/>
                <a:gd name="connsiteY1" fmla="*/ 1328185 h 1711280"/>
                <a:gd name="connsiteX2" fmla="*/ 22157 w 436517"/>
                <a:gd name="connsiteY2" fmla="*/ 827752 h 1711280"/>
                <a:gd name="connsiteX3" fmla="*/ 436517 w 436517"/>
                <a:gd name="connsiteY3" fmla="*/ 0 h 1711280"/>
                <a:gd name="connsiteX0" fmla="*/ 275822 w 434854"/>
                <a:gd name="connsiteY0" fmla="*/ 1587455 h 1587455"/>
                <a:gd name="connsiteX1" fmla="*/ 85050 w 434854"/>
                <a:gd name="connsiteY1" fmla="*/ 1328185 h 1587455"/>
                <a:gd name="connsiteX2" fmla="*/ 20494 w 434854"/>
                <a:gd name="connsiteY2" fmla="*/ 827752 h 1587455"/>
                <a:gd name="connsiteX3" fmla="*/ 434854 w 434854"/>
                <a:gd name="connsiteY3" fmla="*/ 0 h 1587455"/>
              </a:gdLst>
              <a:ahLst/>
              <a:cxnLst>
                <a:cxn ang="0">
                  <a:pos x="connsiteX0" y="connsiteY0"/>
                </a:cxn>
                <a:cxn ang="0">
                  <a:pos x="connsiteX1" y="connsiteY1"/>
                </a:cxn>
                <a:cxn ang="0">
                  <a:pos x="connsiteX2" y="connsiteY2"/>
                </a:cxn>
                <a:cxn ang="0">
                  <a:pos x="connsiteX3" y="connsiteY3"/>
                </a:cxn>
              </a:cxnLst>
              <a:rect l="l" t="t" r="r" b="b"/>
              <a:pathLst>
                <a:path w="434854" h="1587455">
                  <a:moveTo>
                    <a:pt x="275822" y="1587455"/>
                  </a:moveTo>
                  <a:cubicBezTo>
                    <a:pt x="184071" y="1528361"/>
                    <a:pt x="127605" y="1454802"/>
                    <a:pt x="85050" y="1328185"/>
                  </a:cubicBezTo>
                  <a:cubicBezTo>
                    <a:pt x="42495" y="1201568"/>
                    <a:pt x="-37807" y="1049116"/>
                    <a:pt x="20494" y="827752"/>
                  </a:cubicBezTo>
                  <a:cubicBezTo>
                    <a:pt x="78795" y="606388"/>
                    <a:pt x="231848" y="265714"/>
                    <a:pt x="434854" y="0"/>
                  </a:cubicBezTo>
                </a:path>
              </a:pathLst>
            </a:custGeom>
            <a:ln w="25400">
              <a:prstDash val="sysDash"/>
              <a:tailEnd type="triangle"/>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GB">
                <a:latin typeface="Century Gothic Pro" panose="020B0502020202020204" pitchFamily="34" charset="0"/>
              </a:endParaRPr>
            </a:p>
          </p:txBody>
        </p:sp>
        <p:sp>
          <p:nvSpPr>
            <p:cNvPr id="147" name="Freeform 146"/>
            <p:cNvSpPr/>
            <p:nvPr/>
          </p:nvSpPr>
          <p:spPr>
            <a:xfrm>
              <a:off x="8755619" y="4542558"/>
              <a:ext cx="306321" cy="1222348"/>
            </a:xfrm>
            <a:custGeom>
              <a:avLst/>
              <a:gdLst>
                <a:gd name="connsiteX0" fmla="*/ 228943 w 340910"/>
                <a:gd name="connsiteY0" fmla="*/ 1645920 h 1645920"/>
                <a:gd name="connsiteX1" fmla="*/ 42330 w 340910"/>
                <a:gd name="connsiteY1" fmla="*/ 1291357 h 1645920"/>
                <a:gd name="connsiteX2" fmla="*/ 8740 w 340910"/>
                <a:gd name="connsiteY2" fmla="*/ 929329 h 1645920"/>
                <a:gd name="connsiteX3" fmla="*/ 165494 w 340910"/>
                <a:gd name="connsiteY3" fmla="*/ 440405 h 1645920"/>
                <a:gd name="connsiteX4" fmla="*/ 340910 w 340910"/>
                <a:gd name="connsiteY4" fmla="*/ 0 h 1645920"/>
                <a:gd name="connsiteX0" fmla="*/ 228943 w 575736"/>
                <a:gd name="connsiteY0" fmla="*/ 1649478 h 1649478"/>
                <a:gd name="connsiteX1" fmla="*/ 42330 w 575736"/>
                <a:gd name="connsiteY1" fmla="*/ 1294915 h 1649478"/>
                <a:gd name="connsiteX2" fmla="*/ 8740 w 575736"/>
                <a:gd name="connsiteY2" fmla="*/ 932887 h 1649478"/>
                <a:gd name="connsiteX3" fmla="*/ 165494 w 575736"/>
                <a:gd name="connsiteY3" fmla="*/ 443963 h 1649478"/>
                <a:gd name="connsiteX4" fmla="*/ 575736 w 575736"/>
                <a:gd name="connsiteY4" fmla="*/ 0 h 1649478"/>
                <a:gd name="connsiteX0" fmla="*/ 238624 w 585417"/>
                <a:gd name="connsiteY0" fmla="*/ 1649478 h 1649478"/>
                <a:gd name="connsiteX1" fmla="*/ 52011 w 585417"/>
                <a:gd name="connsiteY1" fmla="*/ 1294915 h 1649478"/>
                <a:gd name="connsiteX2" fmla="*/ 18421 w 585417"/>
                <a:gd name="connsiteY2" fmla="*/ 932887 h 1649478"/>
                <a:gd name="connsiteX3" fmla="*/ 306820 w 585417"/>
                <a:gd name="connsiteY3" fmla="*/ 579166 h 1649478"/>
                <a:gd name="connsiteX4" fmla="*/ 585417 w 585417"/>
                <a:gd name="connsiteY4" fmla="*/ 0 h 1649478"/>
                <a:gd name="connsiteX0" fmla="*/ 187723 w 534516"/>
                <a:gd name="connsiteY0" fmla="*/ 1649478 h 1649478"/>
                <a:gd name="connsiteX1" fmla="*/ 1110 w 534516"/>
                <a:gd name="connsiteY1" fmla="*/ 1294915 h 1649478"/>
                <a:gd name="connsiteX2" fmla="*/ 116955 w 534516"/>
                <a:gd name="connsiteY2" fmla="*/ 986256 h 1649478"/>
                <a:gd name="connsiteX3" fmla="*/ 255919 w 534516"/>
                <a:gd name="connsiteY3" fmla="*/ 579166 h 1649478"/>
                <a:gd name="connsiteX4" fmla="*/ 534516 w 534516"/>
                <a:gd name="connsiteY4" fmla="*/ 0 h 1649478"/>
                <a:gd name="connsiteX0" fmla="*/ 276285 w 537687"/>
                <a:gd name="connsiteY0" fmla="*/ 1617456 h 1617456"/>
                <a:gd name="connsiteX1" fmla="*/ 4281 w 537687"/>
                <a:gd name="connsiteY1" fmla="*/ 1294915 h 1617456"/>
                <a:gd name="connsiteX2" fmla="*/ 120126 w 537687"/>
                <a:gd name="connsiteY2" fmla="*/ 986256 h 1617456"/>
                <a:gd name="connsiteX3" fmla="*/ 259090 w 537687"/>
                <a:gd name="connsiteY3" fmla="*/ 579166 h 1617456"/>
                <a:gd name="connsiteX4" fmla="*/ 537687 w 537687"/>
                <a:gd name="connsiteY4" fmla="*/ 0 h 1617456"/>
                <a:gd name="connsiteX0" fmla="*/ 173722 w 435124"/>
                <a:gd name="connsiteY0" fmla="*/ 1617456 h 1617456"/>
                <a:gd name="connsiteX1" fmla="*/ 19131 w 435124"/>
                <a:gd name="connsiteY1" fmla="*/ 1291357 h 1617456"/>
                <a:gd name="connsiteX2" fmla="*/ 17563 w 435124"/>
                <a:gd name="connsiteY2" fmla="*/ 986256 h 1617456"/>
                <a:gd name="connsiteX3" fmla="*/ 156527 w 435124"/>
                <a:gd name="connsiteY3" fmla="*/ 579166 h 1617456"/>
                <a:gd name="connsiteX4" fmla="*/ 435124 w 435124"/>
                <a:gd name="connsiteY4" fmla="*/ 0 h 1617456"/>
                <a:gd name="connsiteX0" fmla="*/ 188913 w 436027"/>
                <a:gd name="connsiteY0" fmla="*/ 1707944 h 1707944"/>
                <a:gd name="connsiteX1" fmla="*/ 20034 w 436027"/>
                <a:gd name="connsiteY1" fmla="*/ 1291357 h 1707944"/>
                <a:gd name="connsiteX2" fmla="*/ 18466 w 436027"/>
                <a:gd name="connsiteY2" fmla="*/ 986256 h 1707944"/>
                <a:gd name="connsiteX3" fmla="*/ 157430 w 436027"/>
                <a:gd name="connsiteY3" fmla="*/ 579166 h 1707944"/>
                <a:gd name="connsiteX4" fmla="*/ 436027 w 436027"/>
                <a:gd name="connsiteY4" fmla="*/ 0 h 1707944"/>
                <a:gd name="connsiteX0" fmla="*/ 187772 w 434886"/>
                <a:gd name="connsiteY0" fmla="*/ 1707944 h 1707944"/>
                <a:gd name="connsiteX1" fmla="*/ 18893 w 434886"/>
                <a:gd name="connsiteY1" fmla="*/ 1291357 h 1707944"/>
                <a:gd name="connsiteX2" fmla="*/ 17325 w 434886"/>
                <a:gd name="connsiteY2" fmla="*/ 986256 h 1707944"/>
                <a:gd name="connsiteX3" fmla="*/ 137239 w 434886"/>
                <a:gd name="connsiteY3" fmla="*/ 569641 h 1707944"/>
                <a:gd name="connsiteX4" fmla="*/ 434886 w 434886"/>
                <a:gd name="connsiteY4" fmla="*/ 0 h 1707944"/>
                <a:gd name="connsiteX0" fmla="*/ 187772 w 434886"/>
                <a:gd name="connsiteY0" fmla="*/ 1707944 h 1707944"/>
                <a:gd name="connsiteX1" fmla="*/ 18893 w 434886"/>
                <a:gd name="connsiteY1" fmla="*/ 1291357 h 1707944"/>
                <a:gd name="connsiteX2" fmla="*/ 17325 w 434886"/>
                <a:gd name="connsiteY2" fmla="*/ 986256 h 1707944"/>
                <a:gd name="connsiteX3" fmla="*/ 137239 w 434886"/>
                <a:gd name="connsiteY3" fmla="*/ 569641 h 1707944"/>
                <a:gd name="connsiteX4" fmla="*/ 434886 w 434886"/>
                <a:gd name="connsiteY4" fmla="*/ 0 h 1707944"/>
                <a:gd name="connsiteX0" fmla="*/ 186150 w 433264"/>
                <a:gd name="connsiteY0" fmla="*/ 1707944 h 1707944"/>
                <a:gd name="connsiteX1" fmla="*/ 17271 w 433264"/>
                <a:gd name="connsiteY1" fmla="*/ 1291357 h 1707944"/>
                <a:gd name="connsiteX2" fmla="*/ 15703 w 433264"/>
                <a:gd name="connsiteY2" fmla="*/ 986256 h 1707944"/>
                <a:gd name="connsiteX3" fmla="*/ 107042 w 433264"/>
                <a:gd name="connsiteY3" fmla="*/ 560116 h 1707944"/>
                <a:gd name="connsiteX4" fmla="*/ 433264 w 433264"/>
                <a:gd name="connsiteY4" fmla="*/ 0 h 1707944"/>
                <a:gd name="connsiteX0" fmla="*/ 197883 w 444997"/>
                <a:gd name="connsiteY0" fmla="*/ 1707944 h 1707944"/>
                <a:gd name="connsiteX1" fmla="*/ 29004 w 444997"/>
                <a:gd name="connsiteY1" fmla="*/ 1291357 h 1707944"/>
                <a:gd name="connsiteX2" fmla="*/ 8386 w 444997"/>
                <a:gd name="connsiteY2" fmla="*/ 986256 h 1707944"/>
                <a:gd name="connsiteX3" fmla="*/ 118775 w 444997"/>
                <a:gd name="connsiteY3" fmla="*/ 560116 h 1707944"/>
                <a:gd name="connsiteX4" fmla="*/ 444997 w 444997"/>
                <a:gd name="connsiteY4" fmla="*/ 0 h 1707944"/>
                <a:gd name="connsiteX0" fmla="*/ 368694 w 453883"/>
                <a:gd name="connsiteY0" fmla="*/ 1669844 h 1669844"/>
                <a:gd name="connsiteX1" fmla="*/ 37890 w 453883"/>
                <a:gd name="connsiteY1" fmla="*/ 1291357 h 1669844"/>
                <a:gd name="connsiteX2" fmla="*/ 17272 w 453883"/>
                <a:gd name="connsiteY2" fmla="*/ 986256 h 1669844"/>
                <a:gd name="connsiteX3" fmla="*/ 127661 w 453883"/>
                <a:gd name="connsiteY3" fmla="*/ 560116 h 1669844"/>
                <a:gd name="connsiteX4" fmla="*/ 453883 w 453883"/>
                <a:gd name="connsiteY4" fmla="*/ 0 h 1669844"/>
                <a:gd name="connsiteX0" fmla="*/ 352157 w 437346"/>
                <a:gd name="connsiteY0" fmla="*/ 1669844 h 1669844"/>
                <a:gd name="connsiteX1" fmla="*/ 78503 w 437346"/>
                <a:gd name="connsiteY1" fmla="*/ 1262782 h 1669844"/>
                <a:gd name="connsiteX2" fmla="*/ 735 w 437346"/>
                <a:gd name="connsiteY2" fmla="*/ 986256 h 1669844"/>
                <a:gd name="connsiteX3" fmla="*/ 111124 w 437346"/>
                <a:gd name="connsiteY3" fmla="*/ 560116 h 1669844"/>
                <a:gd name="connsiteX4" fmla="*/ 437346 w 437346"/>
                <a:gd name="connsiteY4" fmla="*/ 0 h 1669844"/>
                <a:gd name="connsiteX0" fmla="*/ 342868 w 428057"/>
                <a:gd name="connsiteY0" fmla="*/ 1669844 h 1669844"/>
                <a:gd name="connsiteX1" fmla="*/ 69214 w 428057"/>
                <a:gd name="connsiteY1" fmla="*/ 1262782 h 1669844"/>
                <a:gd name="connsiteX2" fmla="*/ 971 w 428057"/>
                <a:gd name="connsiteY2" fmla="*/ 891006 h 1669844"/>
                <a:gd name="connsiteX3" fmla="*/ 101835 w 428057"/>
                <a:gd name="connsiteY3" fmla="*/ 560116 h 1669844"/>
                <a:gd name="connsiteX4" fmla="*/ 428057 w 428057"/>
                <a:gd name="connsiteY4" fmla="*/ 0 h 1669844"/>
                <a:gd name="connsiteX0" fmla="*/ 314143 w 427907"/>
                <a:gd name="connsiteY0" fmla="*/ 1593644 h 1593644"/>
                <a:gd name="connsiteX1" fmla="*/ 69064 w 427907"/>
                <a:gd name="connsiteY1" fmla="*/ 1262782 h 1593644"/>
                <a:gd name="connsiteX2" fmla="*/ 821 w 427907"/>
                <a:gd name="connsiteY2" fmla="*/ 891006 h 1593644"/>
                <a:gd name="connsiteX3" fmla="*/ 101685 w 427907"/>
                <a:gd name="connsiteY3" fmla="*/ 560116 h 1593644"/>
                <a:gd name="connsiteX4" fmla="*/ 427907 w 427907"/>
                <a:gd name="connsiteY4" fmla="*/ 0 h 1593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907" h="1593644">
                  <a:moveTo>
                    <a:pt x="314143" y="1593644"/>
                  </a:moveTo>
                  <a:cubicBezTo>
                    <a:pt x="239186" y="1476078"/>
                    <a:pt x="121284" y="1379888"/>
                    <a:pt x="69064" y="1262782"/>
                  </a:cubicBezTo>
                  <a:cubicBezTo>
                    <a:pt x="16844" y="1145676"/>
                    <a:pt x="-4616" y="1008117"/>
                    <a:pt x="821" y="891006"/>
                  </a:cubicBezTo>
                  <a:cubicBezTo>
                    <a:pt x="6258" y="773895"/>
                    <a:pt x="46323" y="715004"/>
                    <a:pt x="101685" y="560116"/>
                  </a:cubicBezTo>
                  <a:cubicBezTo>
                    <a:pt x="157047" y="405228"/>
                    <a:pt x="301205" y="180858"/>
                    <a:pt x="427907" y="0"/>
                  </a:cubicBezTo>
                </a:path>
              </a:pathLst>
            </a:custGeom>
            <a:ln w="25400">
              <a:prstDash val="sysDash"/>
              <a:tailEnd type="triangle"/>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GB">
                <a:latin typeface="Century Gothic Pro" panose="020B0502020202020204" pitchFamily="34" charset="0"/>
              </a:endParaRPr>
            </a:p>
          </p:txBody>
        </p:sp>
        <p:sp>
          <p:nvSpPr>
            <p:cNvPr id="148" name="Freeform 147"/>
            <p:cNvSpPr/>
            <p:nvPr/>
          </p:nvSpPr>
          <p:spPr>
            <a:xfrm flipH="1">
              <a:off x="9310709" y="4546110"/>
              <a:ext cx="230805" cy="1242054"/>
            </a:xfrm>
            <a:custGeom>
              <a:avLst/>
              <a:gdLst>
                <a:gd name="connsiteX0" fmla="*/ 481962 w 481962"/>
                <a:gd name="connsiteY0" fmla="*/ 1612330 h 1612330"/>
                <a:gd name="connsiteX1" fmla="*/ 105005 w 481962"/>
                <a:gd name="connsiteY1" fmla="*/ 1321215 h 1612330"/>
                <a:gd name="connsiteX2" fmla="*/ 502 w 481962"/>
                <a:gd name="connsiteY2" fmla="*/ 918132 h 1612330"/>
                <a:gd name="connsiteX3" fmla="*/ 71415 w 481962"/>
                <a:gd name="connsiteY3" fmla="*/ 515050 h 1612330"/>
                <a:gd name="connsiteX4" fmla="*/ 205775 w 481962"/>
                <a:gd name="connsiteY4" fmla="*/ 179148 h 1612330"/>
                <a:gd name="connsiteX5" fmla="*/ 272956 w 481962"/>
                <a:gd name="connsiteY5" fmla="*/ 0 h 1612330"/>
                <a:gd name="connsiteX0" fmla="*/ 481962 w 481962"/>
                <a:gd name="connsiteY0" fmla="*/ 1647910 h 1647910"/>
                <a:gd name="connsiteX1" fmla="*/ 105005 w 481962"/>
                <a:gd name="connsiteY1" fmla="*/ 1356795 h 1647910"/>
                <a:gd name="connsiteX2" fmla="*/ 502 w 481962"/>
                <a:gd name="connsiteY2" fmla="*/ 953712 h 1647910"/>
                <a:gd name="connsiteX3" fmla="*/ 71415 w 481962"/>
                <a:gd name="connsiteY3" fmla="*/ 550630 h 1647910"/>
                <a:gd name="connsiteX4" fmla="*/ 205775 w 481962"/>
                <a:gd name="connsiteY4" fmla="*/ 214728 h 1647910"/>
                <a:gd name="connsiteX5" fmla="*/ 376138 w 481962"/>
                <a:gd name="connsiteY5" fmla="*/ 0 h 1647910"/>
                <a:gd name="connsiteX0" fmla="*/ 482016 w 482016"/>
                <a:gd name="connsiteY0" fmla="*/ 1647910 h 1647910"/>
                <a:gd name="connsiteX1" fmla="*/ 105059 w 482016"/>
                <a:gd name="connsiteY1" fmla="*/ 1356795 h 1647910"/>
                <a:gd name="connsiteX2" fmla="*/ 556 w 482016"/>
                <a:gd name="connsiteY2" fmla="*/ 953712 h 1647910"/>
                <a:gd name="connsiteX3" fmla="*/ 71469 w 482016"/>
                <a:gd name="connsiteY3" fmla="*/ 550630 h 1647910"/>
                <a:gd name="connsiteX4" fmla="*/ 234293 w 482016"/>
                <a:gd name="connsiteY4" fmla="*/ 250308 h 1647910"/>
                <a:gd name="connsiteX5" fmla="*/ 376192 w 482016"/>
                <a:gd name="connsiteY5" fmla="*/ 0 h 1647910"/>
                <a:gd name="connsiteX0" fmla="*/ 482381 w 482381"/>
                <a:gd name="connsiteY0" fmla="*/ 1647910 h 1647910"/>
                <a:gd name="connsiteX1" fmla="*/ 105424 w 482381"/>
                <a:gd name="connsiteY1" fmla="*/ 1356795 h 1647910"/>
                <a:gd name="connsiteX2" fmla="*/ 921 w 482381"/>
                <a:gd name="connsiteY2" fmla="*/ 953712 h 1647910"/>
                <a:gd name="connsiteX3" fmla="*/ 64718 w 482381"/>
                <a:gd name="connsiteY3" fmla="*/ 628905 h 1647910"/>
                <a:gd name="connsiteX4" fmla="*/ 234658 w 482381"/>
                <a:gd name="connsiteY4" fmla="*/ 250308 h 1647910"/>
                <a:gd name="connsiteX5" fmla="*/ 376557 w 482381"/>
                <a:gd name="connsiteY5" fmla="*/ 0 h 1647910"/>
                <a:gd name="connsiteX0" fmla="*/ 483125 w 483125"/>
                <a:gd name="connsiteY0" fmla="*/ 1647910 h 1647910"/>
                <a:gd name="connsiteX1" fmla="*/ 123957 w 483125"/>
                <a:gd name="connsiteY1" fmla="*/ 1360353 h 1647910"/>
                <a:gd name="connsiteX2" fmla="*/ 1665 w 483125"/>
                <a:gd name="connsiteY2" fmla="*/ 953712 h 1647910"/>
                <a:gd name="connsiteX3" fmla="*/ 65462 w 483125"/>
                <a:gd name="connsiteY3" fmla="*/ 628905 h 1647910"/>
                <a:gd name="connsiteX4" fmla="*/ 235402 w 483125"/>
                <a:gd name="connsiteY4" fmla="*/ 250308 h 1647910"/>
                <a:gd name="connsiteX5" fmla="*/ 377301 w 483125"/>
                <a:gd name="connsiteY5" fmla="*/ 0 h 1647910"/>
                <a:gd name="connsiteX0" fmla="*/ 483125 w 483125"/>
                <a:gd name="connsiteY0" fmla="*/ 1666960 h 1666960"/>
                <a:gd name="connsiteX1" fmla="*/ 123957 w 483125"/>
                <a:gd name="connsiteY1" fmla="*/ 1379403 h 1666960"/>
                <a:gd name="connsiteX2" fmla="*/ 1665 w 483125"/>
                <a:gd name="connsiteY2" fmla="*/ 972762 h 1666960"/>
                <a:gd name="connsiteX3" fmla="*/ 65462 w 483125"/>
                <a:gd name="connsiteY3" fmla="*/ 647955 h 1666960"/>
                <a:gd name="connsiteX4" fmla="*/ 235402 w 483125"/>
                <a:gd name="connsiteY4" fmla="*/ 269358 h 1666960"/>
                <a:gd name="connsiteX5" fmla="*/ 453501 w 483125"/>
                <a:gd name="connsiteY5" fmla="*/ 0 h 1666960"/>
                <a:gd name="connsiteX0" fmla="*/ 483383 w 483383"/>
                <a:gd name="connsiteY0" fmla="*/ 1666960 h 1666960"/>
                <a:gd name="connsiteX1" fmla="*/ 124215 w 483383"/>
                <a:gd name="connsiteY1" fmla="*/ 1379403 h 1666960"/>
                <a:gd name="connsiteX2" fmla="*/ 1923 w 483383"/>
                <a:gd name="connsiteY2" fmla="*/ 972762 h 1666960"/>
                <a:gd name="connsiteX3" fmla="*/ 65720 w 483383"/>
                <a:gd name="connsiteY3" fmla="*/ 647955 h 1666960"/>
                <a:gd name="connsiteX4" fmla="*/ 273760 w 483383"/>
                <a:gd name="connsiteY4" fmla="*/ 269358 h 1666960"/>
                <a:gd name="connsiteX5" fmla="*/ 453759 w 483383"/>
                <a:gd name="connsiteY5" fmla="*/ 0 h 1666960"/>
                <a:gd name="connsiteX0" fmla="*/ 483383 w 483383"/>
                <a:gd name="connsiteY0" fmla="*/ 1666960 h 1666960"/>
                <a:gd name="connsiteX1" fmla="*/ 124215 w 483383"/>
                <a:gd name="connsiteY1" fmla="*/ 1379403 h 1666960"/>
                <a:gd name="connsiteX2" fmla="*/ 1923 w 483383"/>
                <a:gd name="connsiteY2" fmla="*/ 972762 h 1666960"/>
                <a:gd name="connsiteX3" fmla="*/ 65720 w 483383"/>
                <a:gd name="connsiteY3" fmla="*/ 647955 h 1666960"/>
                <a:gd name="connsiteX4" fmla="*/ 273760 w 483383"/>
                <a:gd name="connsiteY4" fmla="*/ 269358 h 1666960"/>
                <a:gd name="connsiteX5" fmla="*/ 453759 w 483383"/>
                <a:gd name="connsiteY5" fmla="*/ 0 h 1666960"/>
                <a:gd name="connsiteX0" fmla="*/ 486254 w 486254"/>
                <a:gd name="connsiteY0" fmla="*/ 1666960 h 1666960"/>
                <a:gd name="connsiteX1" fmla="*/ 127086 w 486254"/>
                <a:gd name="connsiteY1" fmla="*/ 1379403 h 1666960"/>
                <a:gd name="connsiteX2" fmla="*/ 4794 w 486254"/>
                <a:gd name="connsiteY2" fmla="*/ 972762 h 1666960"/>
                <a:gd name="connsiteX3" fmla="*/ 68591 w 486254"/>
                <a:gd name="connsiteY3" fmla="*/ 647955 h 1666960"/>
                <a:gd name="connsiteX4" fmla="*/ 456630 w 486254"/>
                <a:gd name="connsiteY4" fmla="*/ 0 h 1666960"/>
                <a:gd name="connsiteX0" fmla="*/ 486254 w 486254"/>
                <a:gd name="connsiteY0" fmla="*/ 1666960 h 1666960"/>
                <a:gd name="connsiteX1" fmla="*/ 127086 w 486254"/>
                <a:gd name="connsiteY1" fmla="*/ 1379403 h 1666960"/>
                <a:gd name="connsiteX2" fmla="*/ 4794 w 486254"/>
                <a:gd name="connsiteY2" fmla="*/ 972762 h 1666960"/>
                <a:gd name="connsiteX3" fmla="*/ 68591 w 486254"/>
                <a:gd name="connsiteY3" fmla="*/ 647955 h 1666960"/>
                <a:gd name="connsiteX4" fmla="*/ 456630 w 486254"/>
                <a:gd name="connsiteY4" fmla="*/ 0 h 1666960"/>
                <a:gd name="connsiteX0" fmla="*/ 484031 w 484031"/>
                <a:gd name="connsiteY0" fmla="*/ 1666960 h 1666960"/>
                <a:gd name="connsiteX1" fmla="*/ 124863 w 484031"/>
                <a:gd name="connsiteY1" fmla="*/ 1379403 h 1666960"/>
                <a:gd name="connsiteX2" fmla="*/ 2571 w 484031"/>
                <a:gd name="connsiteY2" fmla="*/ 972762 h 1666960"/>
                <a:gd name="connsiteX3" fmla="*/ 66368 w 484031"/>
                <a:gd name="connsiteY3" fmla="*/ 647955 h 1666960"/>
                <a:gd name="connsiteX4" fmla="*/ 454407 w 484031"/>
                <a:gd name="connsiteY4" fmla="*/ 0 h 1666960"/>
                <a:gd name="connsiteX0" fmla="*/ 512190 w 512190"/>
                <a:gd name="connsiteY0" fmla="*/ 1666960 h 1666960"/>
                <a:gd name="connsiteX1" fmla="*/ 153022 w 512190"/>
                <a:gd name="connsiteY1" fmla="*/ 1379403 h 1666960"/>
                <a:gd name="connsiteX2" fmla="*/ 2155 w 512190"/>
                <a:gd name="connsiteY2" fmla="*/ 972762 h 1666960"/>
                <a:gd name="connsiteX3" fmla="*/ 94527 w 512190"/>
                <a:gd name="connsiteY3" fmla="*/ 647955 h 1666960"/>
                <a:gd name="connsiteX4" fmla="*/ 482566 w 512190"/>
                <a:gd name="connsiteY4" fmla="*/ 0 h 1666960"/>
                <a:gd name="connsiteX0" fmla="*/ 510823 w 510823"/>
                <a:gd name="connsiteY0" fmla="*/ 1666960 h 1666960"/>
                <a:gd name="connsiteX1" fmla="*/ 123080 w 510823"/>
                <a:gd name="connsiteY1" fmla="*/ 1388928 h 1666960"/>
                <a:gd name="connsiteX2" fmla="*/ 788 w 510823"/>
                <a:gd name="connsiteY2" fmla="*/ 972762 h 1666960"/>
                <a:gd name="connsiteX3" fmla="*/ 93160 w 510823"/>
                <a:gd name="connsiteY3" fmla="*/ 647955 h 1666960"/>
                <a:gd name="connsiteX4" fmla="*/ 481199 w 510823"/>
                <a:gd name="connsiteY4" fmla="*/ 0 h 1666960"/>
                <a:gd name="connsiteX0" fmla="*/ 510106 w 510106"/>
                <a:gd name="connsiteY0" fmla="*/ 1666960 h 1666960"/>
                <a:gd name="connsiteX1" fmla="*/ 122363 w 510106"/>
                <a:gd name="connsiteY1" fmla="*/ 1388928 h 1666960"/>
                <a:gd name="connsiteX2" fmla="*/ 71 w 510106"/>
                <a:gd name="connsiteY2" fmla="*/ 972762 h 1666960"/>
                <a:gd name="connsiteX3" fmla="*/ 111493 w 510106"/>
                <a:gd name="connsiteY3" fmla="*/ 466980 h 1666960"/>
                <a:gd name="connsiteX4" fmla="*/ 480482 w 510106"/>
                <a:gd name="connsiteY4" fmla="*/ 0 h 1666960"/>
                <a:gd name="connsiteX0" fmla="*/ 510298 w 510298"/>
                <a:gd name="connsiteY0" fmla="*/ 1666960 h 1666960"/>
                <a:gd name="connsiteX1" fmla="*/ 122555 w 510298"/>
                <a:gd name="connsiteY1" fmla="*/ 1388928 h 1666960"/>
                <a:gd name="connsiteX2" fmla="*/ 263 w 510298"/>
                <a:gd name="connsiteY2" fmla="*/ 972762 h 1666960"/>
                <a:gd name="connsiteX3" fmla="*/ 111685 w 510298"/>
                <a:gd name="connsiteY3" fmla="*/ 466980 h 1666960"/>
                <a:gd name="connsiteX4" fmla="*/ 480674 w 510298"/>
                <a:gd name="connsiteY4" fmla="*/ 0 h 1666960"/>
                <a:gd name="connsiteX0" fmla="*/ 529133 w 529133"/>
                <a:gd name="connsiteY0" fmla="*/ 1666960 h 1666960"/>
                <a:gd name="connsiteX1" fmla="*/ 141390 w 529133"/>
                <a:gd name="connsiteY1" fmla="*/ 1388928 h 1666960"/>
                <a:gd name="connsiteX2" fmla="*/ 48 w 529133"/>
                <a:gd name="connsiteY2" fmla="*/ 963237 h 1666960"/>
                <a:gd name="connsiteX3" fmla="*/ 130520 w 529133"/>
                <a:gd name="connsiteY3" fmla="*/ 466980 h 1666960"/>
                <a:gd name="connsiteX4" fmla="*/ 499509 w 529133"/>
                <a:gd name="connsiteY4" fmla="*/ 0 h 1666960"/>
                <a:gd name="connsiteX0" fmla="*/ 529133 w 529133"/>
                <a:gd name="connsiteY0" fmla="*/ 1647910 h 1647910"/>
                <a:gd name="connsiteX1" fmla="*/ 141390 w 529133"/>
                <a:gd name="connsiteY1" fmla="*/ 1369878 h 1647910"/>
                <a:gd name="connsiteX2" fmla="*/ 48 w 529133"/>
                <a:gd name="connsiteY2" fmla="*/ 944187 h 1647910"/>
                <a:gd name="connsiteX3" fmla="*/ 130520 w 529133"/>
                <a:gd name="connsiteY3" fmla="*/ 447930 h 1647910"/>
                <a:gd name="connsiteX4" fmla="*/ 394734 w 529133"/>
                <a:gd name="connsiteY4" fmla="*/ 0 h 1647910"/>
                <a:gd name="connsiteX0" fmla="*/ 529133 w 529133"/>
                <a:gd name="connsiteY0" fmla="*/ 1647910 h 1647910"/>
                <a:gd name="connsiteX1" fmla="*/ 141390 w 529133"/>
                <a:gd name="connsiteY1" fmla="*/ 1369878 h 1647910"/>
                <a:gd name="connsiteX2" fmla="*/ 48 w 529133"/>
                <a:gd name="connsiteY2" fmla="*/ 944187 h 1647910"/>
                <a:gd name="connsiteX3" fmla="*/ 130520 w 529133"/>
                <a:gd name="connsiteY3" fmla="*/ 447930 h 1647910"/>
                <a:gd name="connsiteX4" fmla="*/ 394734 w 529133"/>
                <a:gd name="connsiteY4" fmla="*/ 0 h 1647910"/>
                <a:gd name="connsiteX0" fmla="*/ 530906 w 530906"/>
                <a:gd name="connsiteY0" fmla="*/ 1647910 h 1647910"/>
                <a:gd name="connsiteX1" fmla="*/ 143163 w 530906"/>
                <a:gd name="connsiteY1" fmla="*/ 1369878 h 1647910"/>
                <a:gd name="connsiteX2" fmla="*/ 1821 w 530906"/>
                <a:gd name="connsiteY2" fmla="*/ 944187 h 1647910"/>
                <a:gd name="connsiteX3" fmla="*/ 94193 w 530906"/>
                <a:gd name="connsiteY3" fmla="*/ 466980 h 1647910"/>
                <a:gd name="connsiteX4" fmla="*/ 396507 w 530906"/>
                <a:gd name="connsiteY4" fmla="*/ 0 h 1647910"/>
                <a:gd name="connsiteX0" fmla="*/ 530906 w 530906"/>
                <a:gd name="connsiteY0" fmla="*/ 1638385 h 1638385"/>
                <a:gd name="connsiteX1" fmla="*/ 143163 w 530906"/>
                <a:gd name="connsiteY1" fmla="*/ 1360353 h 1638385"/>
                <a:gd name="connsiteX2" fmla="*/ 1821 w 530906"/>
                <a:gd name="connsiteY2" fmla="*/ 934662 h 1638385"/>
                <a:gd name="connsiteX3" fmla="*/ 94193 w 530906"/>
                <a:gd name="connsiteY3" fmla="*/ 457455 h 1638385"/>
                <a:gd name="connsiteX4" fmla="*/ 348882 w 530906"/>
                <a:gd name="connsiteY4" fmla="*/ 0 h 1638385"/>
                <a:gd name="connsiteX0" fmla="*/ 530906 w 530906"/>
                <a:gd name="connsiteY0" fmla="*/ 1638385 h 1638385"/>
                <a:gd name="connsiteX1" fmla="*/ 143163 w 530906"/>
                <a:gd name="connsiteY1" fmla="*/ 1360353 h 1638385"/>
                <a:gd name="connsiteX2" fmla="*/ 1821 w 530906"/>
                <a:gd name="connsiteY2" fmla="*/ 934662 h 1638385"/>
                <a:gd name="connsiteX3" fmla="*/ 94193 w 530906"/>
                <a:gd name="connsiteY3" fmla="*/ 457455 h 1638385"/>
                <a:gd name="connsiteX4" fmla="*/ 348882 w 530906"/>
                <a:gd name="connsiteY4" fmla="*/ 0 h 1638385"/>
                <a:gd name="connsiteX0" fmla="*/ 506106 w 506106"/>
                <a:gd name="connsiteY0" fmla="*/ 1638385 h 1638385"/>
                <a:gd name="connsiteX1" fmla="*/ 118363 w 506106"/>
                <a:gd name="connsiteY1" fmla="*/ 1360353 h 1638385"/>
                <a:gd name="connsiteX2" fmla="*/ 5596 w 506106"/>
                <a:gd name="connsiteY2" fmla="*/ 877512 h 1638385"/>
                <a:gd name="connsiteX3" fmla="*/ 69393 w 506106"/>
                <a:gd name="connsiteY3" fmla="*/ 457455 h 1638385"/>
                <a:gd name="connsiteX4" fmla="*/ 324082 w 506106"/>
                <a:gd name="connsiteY4" fmla="*/ 0 h 1638385"/>
                <a:gd name="connsiteX0" fmla="*/ 500512 w 500512"/>
                <a:gd name="connsiteY0" fmla="*/ 1638385 h 1638385"/>
                <a:gd name="connsiteX1" fmla="*/ 112769 w 500512"/>
                <a:gd name="connsiteY1" fmla="*/ 1360353 h 1638385"/>
                <a:gd name="connsiteX2" fmla="*/ 2 w 500512"/>
                <a:gd name="connsiteY2" fmla="*/ 877512 h 1638385"/>
                <a:gd name="connsiteX3" fmla="*/ 111424 w 500512"/>
                <a:gd name="connsiteY3" fmla="*/ 419355 h 1638385"/>
                <a:gd name="connsiteX4" fmla="*/ 318488 w 500512"/>
                <a:gd name="connsiteY4" fmla="*/ 0 h 1638385"/>
                <a:gd name="connsiteX0" fmla="*/ 500511 w 500511"/>
                <a:gd name="connsiteY0" fmla="*/ 1638385 h 1638385"/>
                <a:gd name="connsiteX1" fmla="*/ 112768 w 500511"/>
                <a:gd name="connsiteY1" fmla="*/ 1360353 h 1638385"/>
                <a:gd name="connsiteX2" fmla="*/ 1 w 500511"/>
                <a:gd name="connsiteY2" fmla="*/ 877512 h 1638385"/>
                <a:gd name="connsiteX3" fmla="*/ 111423 w 500511"/>
                <a:gd name="connsiteY3" fmla="*/ 419355 h 1638385"/>
                <a:gd name="connsiteX4" fmla="*/ 318487 w 500511"/>
                <a:gd name="connsiteY4" fmla="*/ 0 h 1638385"/>
                <a:gd name="connsiteX0" fmla="*/ 500511 w 500511"/>
                <a:gd name="connsiteY0" fmla="*/ 1638385 h 1638385"/>
                <a:gd name="connsiteX1" fmla="*/ 112768 w 500511"/>
                <a:gd name="connsiteY1" fmla="*/ 1360353 h 1638385"/>
                <a:gd name="connsiteX2" fmla="*/ 1 w 500511"/>
                <a:gd name="connsiteY2" fmla="*/ 877512 h 1638385"/>
                <a:gd name="connsiteX3" fmla="*/ 111423 w 500511"/>
                <a:gd name="connsiteY3" fmla="*/ 419355 h 1638385"/>
                <a:gd name="connsiteX4" fmla="*/ 318487 w 500511"/>
                <a:gd name="connsiteY4" fmla="*/ 0 h 1638385"/>
                <a:gd name="connsiteX0" fmla="*/ 500511 w 500511"/>
                <a:gd name="connsiteY0" fmla="*/ 1638385 h 1638385"/>
                <a:gd name="connsiteX1" fmla="*/ 112768 w 500511"/>
                <a:gd name="connsiteY1" fmla="*/ 1360353 h 1638385"/>
                <a:gd name="connsiteX2" fmla="*/ 1 w 500511"/>
                <a:gd name="connsiteY2" fmla="*/ 877512 h 1638385"/>
                <a:gd name="connsiteX3" fmla="*/ 111423 w 500511"/>
                <a:gd name="connsiteY3" fmla="*/ 419355 h 1638385"/>
                <a:gd name="connsiteX4" fmla="*/ 318487 w 500511"/>
                <a:gd name="connsiteY4" fmla="*/ 0 h 1638385"/>
                <a:gd name="connsiteX0" fmla="*/ 501886 w 501886"/>
                <a:gd name="connsiteY0" fmla="*/ 1638385 h 1638385"/>
                <a:gd name="connsiteX1" fmla="*/ 114143 w 501886"/>
                <a:gd name="connsiteY1" fmla="*/ 1360353 h 1638385"/>
                <a:gd name="connsiteX2" fmla="*/ 1376 w 501886"/>
                <a:gd name="connsiteY2" fmla="*/ 877512 h 1638385"/>
                <a:gd name="connsiteX3" fmla="*/ 84223 w 501886"/>
                <a:gd name="connsiteY3" fmla="*/ 447930 h 1638385"/>
                <a:gd name="connsiteX4" fmla="*/ 319862 w 501886"/>
                <a:gd name="connsiteY4" fmla="*/ 0 h 1638385"/>
                <a:gd name="connsiteX0" fmla="*/ 501154 w 501154"/>
                <a:gd name="connsiteY0" fmla="*/ 1638385 h 1638385"/>
                <a:gd name="connsiteX1" fmla="*/ 113411 w 501154"/>
                <a:gd name="connsiteY1" fmla="*/ 1360353 h 1638385"/>
                <a:gd name="connsiteX2" fmla="*/ 644 w 501154"/>
                <a:gd name="connsiteY2" fmla="*/ 877512 h 1638385"/>
                <a:gd name="connsiteX3" fmla="*/ 83491 w 501154"/>
                <a:gd name="connsiteY3" fmla="*/ 447930 h 1638385"/>
                <a:gd name="connsiteX4" fmla="*/ 319130 w 501154"/>
                <a:gd name="connsiteY4" fmla="*/ 0 h 1638385"/>
                <a:gd name="connsiteX0" fmla="*/ 320179 w 320179"/>
                <a:gd name="connsiteY0" fmla="*/ 1619335 h 1619335"/>
                <a:gd name="connsiteX1" fmla="*/ 113411 w 320179"/>
                <a:gd name="connsiteY1" fmla="*/ 1360353 h 1619335"/>
                <a:gd name="connsiteX2" fmla="*/ 644 w 320179"/>
                <a:gd name="connsiteY2" fmla="*/ 877512 h 1619335"/>
                <a:gd name="connsiteX3" fmla="*/ 83491 w 320179"/>
                <a:gd name="connsiteY3" fmla="*/ 447930 h 1619335"/>
                <a:gd name="connsiteX4" fmla="*/ 319130 w 320179"/>
                <a:gd name="connsiteY4" fmla="*/ 0 h 1619335"/>
                <a:gd name="connsiteX0" fmla="*/ 322417 w 322417"/>
                <a:gd name="connsiteY0" fmla="*/ 1619335 h 1619335"/>
                <a:gd name="connsiteX1" fmla="*/ 48974 w 322417"/>
                <a:gd name="connsiteY1" fmla="*/ 1255578 h 1619335"/>
                <a:gd name="connsiteX2" fmla="*/ 2882 w 322417"/>
                <a:gd name="connsiteY2" fmla="*/ 877512 h 1619335"/>
                <a:gd name="connsiteX3" fmla="*/ 85729 w 322417"/>
                <a:gd name="connsiteY3" fmla="*/ 447930 h 1619335"/>
                <a:gd name="connsiteX4" fmla="*/ 321368 w 322417"/>
                <a:gd name="connsiteY4" fmla="*/ 0 h 1619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417" h="1619335">
                  <a:moveTo>
                    <a:pt x="322417" y="1619335"/>
                  </a:moveTo>
                  <a:cubicBezTo>
                    <a:pt x="174060" y="1531627"/>
                    <a:pt x="102230" y="1379215"/>
                    <a:pt x="48974" y="1255578"/>
                  </a:cubicBezTo>
                  <a:cubicBezTo>
                    <a:pt x="-4282" y="1131941"/>
                    <a:pt x="-3244" y="1012120"/>
                    <a:pt x="2882" y="877512"/>
                  </a:cubicBezTo>
                  <a:cubicBezTo>
                    <a:pt x="9008" y="742904"/>
                    <a:pt x="21536" y="646569"/>
                    <a:pt x="85729" y="447930"/>
                  </a:cubicBezTo>
                  <a:cubicBezTo>
                    <a:pt x="149922" y="277866"/>
                    <a:pt x="126227" y="277866"/>
                    <a:pt x="321368" y="0"/>
                  </a:cubicBezTo>
                </a:path>
              </a:pathLst>
            </a:custGeom>
            <a:ln w="25400">
              <a:prstDash val="sysDash"/>
              <a:tailEnd type="triangle"/>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GB">
                <a:latin typeface="Century Gothic Pro" panose="020B0502020202020204" pitchFamily="34" charset="0"/>
              </a:endParaRPr>
            </a:p>
          </p:txBody>
        </p:sp>
        <p:sp>
          <p:nvSpPr>
            <p:cNvPr id="149" name="Freeform 148"/>
            <p:cNvSpPr/>
            <p:nvPr/>
          </p:nvSpPr>
          <p:spPr>
            <a:xfrm rot="262461" flipH="1">
              <a:off x="9422173" y="4568022"/>
              <a:ext cx="309711" cy="1260431"/>
            </a:xfrm>
            <a:custGeom>
              <a:avLst/>
              <a:gdLst>
                <a:gd name="connsiteX0" fmla="*/ 381345 w 381345"/>
                <a:gd name="connsiteY0" fmla="*/ 1645920 h 1645920"/>
                <a:gd name="connsiteX1" fmla="*/ 135017 w 381345"/>
                <a:gd name="connsiteY1" fmla="*/ 1433182 h 1645920"/>
                <a:gd name="connsiteX2" fmla="*/ 4389 w 381345"/>
                <a:gd name="connsiteY2" fmla="*/ 1078619 h 1645920"/>
                <a:gd name="connsiteX3" fmla="*/ 45443 w 381345"/>
                <a:gd name="connsiteY3" fmla="*/ 712859 h 1645920"/>
                <a:gd name="connsiteX4" fmla="*/ 187269 w 381345"/>
                <a:gd name="connsiteY4" fmla="*/ 328438 h 1645920"/>
                <a:gd name="connsiteX5" fmla="*/ 306700 w 381345"/>
                <a:gd name="connsiteY5" fmla="*/ 0 h 1645920"/>
                <a:gd name="connsiteX0" fmla="*/ 381345 w 530852"/>
                <a:gd name="connsiteY0" fmla="*/ 1677942 h 1677942"/>
                <a:gd name="connsiteX1" fmla="*/ 135017 w 530852"/>
                <a:gd name="connsiteY1" fmla="*/ 1465204 h 1677942"/>
                <a:gd name="connsiteX2" fmla="*/ 4389 w 530852"/>
                <a:gd name="connsiteY2" fmla="*/ 1110641 h 1677942"/>
                <a:gd name="connsiteX3" fmla="*/ 45443 w 530852"/>
                <a:gd name="connsiteY3" fmla="*/ 744881 h 1677942"/>
                <a:gd name="connsiteX4" fmla="*/ 187269 w 530852"/>
                <a:gd name="connsiteY4" fmla="*/ 360460 h 1677942"/>
                <a:gd name="connsiteX5" fmla="*/ 530852 w 530852"/>
                <a:gd name="connsiteY5" fmla="*/ 0 h 1677942"/>
                <a:gd name="connsiteX0" fmla="*/ 383275 w 532782"/>
                <a:gd name="connsiteY0" fmla="*/ 1677942 h 1677942"/>
                <a:gd name="connsiteX1" fmla="*/ 136947 w 532782"/>
                <a:gd name="connsiteY1" fmla="*/ 1465204 h 1677942"/>
                <a:gd name="connsiteX2" fmla="*/ 6319 w 532782"/>
                <a:gd name="connsiteY2" fmla="*/ 1110641 h 1677942"/>
                <a:gd name="connsiteX3" fmla="*/ 47373 w 532782"/>
                <a:gd name="connsiteY3" fmla="*/ 744881 h 1677942"/>
                <a:gd name="connsiteX4" fmla="*/ 278148 w 532782"/>
                <a:gd name="connsiteY4" fmla="*/ 502779 h 1677942"/>
                <a:gd name="connsiteX5" fmla="*/ 532782 w 532782"/>
                <a:gd name="connsiteY5" fmla="*/ 0 h 1677942"/>
                <a:gd name="connsiteX0" fmla="*/ 376986 w 526493"/>
                <a:gd name="connsiteY0" fmla="*/ 1677942 h 1677942"/>
                <a:gd name="connsiteX1" fmla="*/ 130658 w 526493"/>
                <a:gd name="connsiteY1" fmla="*/ 1465204 h 1677942"/>
                <a:gd name="connsiteX2" fmla="*/ 30 w 526493"/>
                <a:gd name="connsiteY2" fmla="*/ 1110641 h 1677942"/>
                <a:gd name="connsiteX3" fmla="*/ 140708 w 526493"/>
                <a:gd name="connsiteY3" fmla="*/ 865852 h 1677942"/>
                <a:gd name="connsiteX4" fmla="*/ 271859 w 526493"/>
                <a:gd name="connsiteY4" fmla="*/ 502779 h 1677942"/>
                <a:gd name="connsiteX5" fmla="*/ 526493 w 526493"/>
                <a:gd name="connsiteY5" fmla="*/ 0 h 1677942"/>
                <a:gd name="connsiteX0" fmla="*/ 265848 w 415355"/>
                <a:gd name="connsiteY0" fmla="*/ 1677942 h 1677942"/>
                <a:gd name="connsiteX1" fmla="*/ 19520 w 415355"/>
                <a:gd name="connsiteY1" fmla="*/ 1465204 h 1677942"/>
                <a:gd name="connsiteX2" fmla="*/ 16979 w 415355"/>
                <a:gd name="connsiteY2" fmla="*/ 1160452 h 1677942"/>
                <a:gd name="connsiteX3" fmla="*/ 29570 w 415355"/>
                <a:gd name="connsiteY3" fmla="*/ 865852 h 1677942"/>
                <a:gd name="connsiteX4" fmla="*/ 160721 w 415355"/>
                <a:gd name="connsiteY4" fmla="*/ 502779 h 1677942"/>
                <a:gd name="connsiteX5" fmla="*/ 415355 w 415355"/>
                <a:gd name="connsiteY5" fmla="*/ 0 h 1677942"/>
                <a:gd name="connsiteX0" fmla="*/ 258045 w 407552"/>
                <a:gd name="connsiteY0" fmla="*/ 1677942 h 1677942"/>
                <a:gd name="connsiteX1" fmla="*/ 114898 w 407552"/>
                <a:gd name="connsiteY1" fmla="*/ 1490110 h 1677942"/>
                <a:gd name="connsiteX2" fmla="*/ 9176 w 407552"/>
                <a:gd name="connsiteY2" fmla="*/ 1160452 h 1677942"/>
                <a:gd name="connsiteX3" fmla="*/ 21767 w 407552"/>
                <a:gd name="connsiteY3" fmla="*/ 865852 h 1677942"/>
                <a:gd name="connsiteX4" fmla="*/ 152918 w 407552"/>
                <a:gd name="connsiteY4" fmla="*/ 502779 h 1677942"/>
                <a:gd name="connsiteX5" fmla="*/ 407552 w 407552"/>
                <a:gd name="connsiteY5" fmla="*/ 0 h 1677942"/>
                <a:gd name="connsiteX0" fmla="*/ 296145 w 407552"/>
                <a:gd name="connsiteY0" fmla="*/ 1711280 h 1711280"/>
                <a:gd name="connsiteX1" fmla="*/ 114898 w 407552"/>
                <a:gd name="connsiteY1" fmla="*/ 1490110 h 1711280"/>
                <a:gd name="connsiteX2" fmla="*/ 9176 w 407552"/>
                <a:gd name="connsiteY2" fmla="*/ 1160452 h 1711280"/>
                <a:gd name="connsiteX3" fmla="*/ 21767 w 407552"/>
                <a:gd name="connsiteY3" fmla="*/ 865852 h 1711280"/>
                <a:gd name="connsiteX4" fmla="*/ 152918 w 407552"/>
                <a:gd name="connsiteY4" fmla="*/ 502779 h 1711280"/>
                <a:gd name="connsiteX5" fmla="*/ 407552 w 407552"/>
                <a:gd name="connsiteY5" fmla="*/ 0 h 1711280"/>
                <a:gd name="connsiteX0" fmla="*/ 365162 w 476569"/>
                <a:gd name="connsiteY0" fmla="*/ 1711280 h 1711280"/>
                <a:gd name="connsiteX1" fmla="*/ 183915 w 476569"/>
                <a:gd name="connsiteY1" fmla="*/ 1490110 h 1711280"/>
                <a:gd name="connsiteX2" fmla="*/ 78193 w 476569"/>
                <a:gd name="connsiteY2" fmla="*/ 1160452 h 1711280"/>
                <a:gd name="connsiteX3" fmla="*/ 5059 w 476569"/>
                <a:gd name="connsiteY3" fmla="*/ 818227 h 1711280"/>
                <a:gd name="connsiteX4" fmla="*/ 221935 w 476569"/>
                <a:gd name="connsiteY4" fmla="*/ 502779 h 1711280"/>
                <a:gd name="connsiteX5" fmla="*/ 476569 w 476569"/>
                <a:gd name="connsiteY5" fmla="*/ 0 h 1711280"/>
                <a:gd name="connsiteX0" fmla="*/ 367279 w 478686"/>
                <a:gd name="connsiteY0" fmla="*/ 1711280 h 1711280"/>
                <a:gd name="connsiteX1" fmla="*/ 186032 w 478686"/>
                <a:gd name="connsiteY1" fmla="*/ 1490110 h 1711280"/>
                <a:gd name="connsiteX2" fmla="*/ 80310 w 478686"/>
                <a:gd name="connsiteY2" fmla="*/ 1160452 h 1711280"/>
                <a:gd name="connsiteX3" fmla="*/ 7176 w 478686"/>
                <a:gd name="connsiteY3" fmla="*/ 818227 h 1711280"/>
                <a:gd name="connsiteX4" fmla="*/ 262152 w 478686"/>
                <a:gd name="connsiteY4" fmla="*/ 398004 h 1711280"/>
                <a:gd name="connsiteX5" fmla="*/ 478686 w 478686"/>
                <a:gd name="connsiteY5" fmla="*/ 0 h 1711280"/>
                <a:gd name="connsiteX0" fmla="*/ 384347 w 495754"/>
                <a:gd name="connsiteY0" fmla="*/ 1711280 h 1711280"/>
                <a:gd name="connsiteX1" fmla="*/ 203100 w 495754"/>
                <a:gd name="connsiteY1" fmla="*/ 1490110 h 1711280"/>
                <a:gd name="connsiteX2" fmla="*/ 30703 w 495754"/>
                <a:gd name="connsiteY2" fmla="*/ 1208077 h 1711280"/>
                <a:gd name="connsiteX3" fmla="*/ 24244 w 495754"/>
                <a:gd name="connsiteY3" fmla="*/ 818227 h 1711280"/>
                <a:gd name="connsiteX4" fmla="*/ 279220 w 495754"/>
                <a:gd name="connsiteY4" fmla="*/ 398004 h 1711280"/>
                <a:gd name="connsiteX5" fmla="*/ 495754 w 495754"/>
                <a:gd name="connsiteY5" fmla="*/ 0 h 1711280"/>
                <a:gd name="connsiteX0" fmla="*/ 360960 w 472367"/>
                <a:gd name="connsiteY0" fmla="*/ 1711280 h 1711280"/>
                <a:gd name="connsiteX1" fmla="*/ 179713 w 472367"/>
                <a:gd name="connsiteY1" fmla="*/ 1490110 h 1711280"/>
                <a:gd name="connsiteX2" fmla="*/ 857 w 472367"/>
                <a:gd name="connsiteY2" fmla="*/ 818227 h 1711280"/>
                <a:gd name="connsiteX3" fmla="*/ 255833 w 472367"/>
                <a:gd name="connsiteY3" fmla="*/ 398004 h 1711280"/>
                <a:gd name="connsiteX4" fmla="*/ 472367 w 472367"/>
                <a:gd name="connsiteY4" fmla="*/ 0 h 1711280"/>
                <a:gd name="connsiteX0" fmla="*/ 360960 w 472367"/>
                <a:gd name="connsiteY0" fmla="*/ 1711280 h 1711280"/>
                <a:gd name="connsiteX1" fmla="*/ 179713 w 472367"/>
                <a:gd name="connsiteY1" fmla="*/ 1490110 h 1711280"/>
                <a:gd name="connsiteX2" fmla="*/ 857 w 472367"/>
                <a:gd name="connsiteY2" fmla="*/ 818227 h 1711280"/>
                <a:gd name="connsiteX3" fmla="*/ 255833 w 472367"/>
                <a:gd name="connsiteY3" fmla="*/ 398004 h 1711280"/>
                <a:gd name="connsiteX4" fmla="*/ 472367 w 472367"/>
                <a:gd name="connsiteY4" fmla="*/ 0 h 1711280"/>
                <a:gd name="connsiteX0" fmla="*/ 368883 w 480290"/>
                <a:gd name="connsiteY0" fmla="*/ 1711280 h 1711280"/>
                <a:gd name="connsiteX1" fmla="*/ 187636 w 480290"/>
                <a:gd name="connsiteY1" fmla="*/ 1490110 h 1711280"/>
                <a:gd name="connsiteX2" fmla="*/ 8780 w 480290"/>
                <a:gd name="connsiteY2" fmla="*/ 818227 h 1711280"/>
                <a:gd name="connsiteX3" fmla="*/ 480290 w 480290"/>
                <a:gd name="connsiteY3" fmla="*/ 0 h 1711280"/>
                <a:gd name="connsiteX0" fmla="*/ 332392 w 443799"/>
                <a:gd name="connsiteY0" fmla="*/ 1711280 h 1711280"/>
                <a:gd name="connsiteX1" fmla="*/ 151145 w 443799"/>
                <a:gd name="connsiteY1" fmla="*/ 1490110 h 1711280"/>
                <a:gd name="connsiteX2" fmla="*/ 10389 w 443799"/>
                <a:gd name="connsiteY2" fmla="*/ 827752 h 1711280"/>
                <a:gd name="connsiteX3" fmla="*/ 443799 w 443799"/>
                <a:gd name="connsiteY3" fmla="*/ 0 h 1711280"/>
                <a:gd name="connsiteX0" fmla="*/ 345530 w 456937"/>
                <a:gd name="connsiteY0" fmla="*/ 1711280 h 1711280"/>
                <a:gd name="connsiteX1" fmla="*/ 88083 w 456937"/>
                <a:gd name="connsiteY1" fmla="*/ 1328185 h 1711280"/>
                <a:gd name="connsiteX2" fmla="*/ 23527 w 456937"/>
                <a:gd name="connsiteY2" fmla="*/ 827752 h 1711280"/>
                <a:gd name="connsiteX3" fmla="*/ 456937 w 456937"/>
                <a:gd name="connsiteY3" fmla="*/ 0 h 1711280"/>
                <a:gd name="connsiteX0" fmla="*/ 344160 w 436517"/>
                <a:gd name="connsiteY0" fmla="*/ 1711280 h 1711280"/>
                <a:gd name="connsiteX1" fmla="*/ 86713 w 436517"/>
                <a:gd name="connsiteY1" fmla="*/ 1328185 h 1711280"/>
                <a:gd name="connsiteX2" fmla="*/ 22157 w 436517"/>
                <a:gd name="connsiteY2" fmla="*/ 827752 h 1711280"/>
                <a:gd name="connsiteX3" fmla="*/ 436517 w 436517"/>
                <a:gd name="connsiteY3" fmla="*/ 0 h 1711280"/>
                <a:gd name="connsiteX0" fmla="*/ 344160 w 436517"/>
                <a:gd name="connsiteY0" fmla="*/ 1711280 h 1711280"/>
                <a:gd name="connsiteX1" fmla="*/ 86713 w 436517"/>
                <a:gd name="connsiteY1" fmla="*/ 1328185 h 1711280"/>
                <a:gd name="connsiteX2" fmla="*/ 22157 w 436517"/>
                <a:gd name="connsiteY2" fmla="*/ 827752 h 1711280"/>
                <a:gd name="connsiteX3" fmla="*/ 436517 w 436517"/>
                <a:gd name="connsiteY3" fmla="*/ 0 h 1711280"/>
                <a:gd name="connsiteX0" fmla="*/ 344160 w 390484"/>
                <a:gd name="connsiteY0" fmla="*/ 1733907 h 1733907"/>
                <a:gd name="connsiteX1" fmla="*/ 86713 w 390484"/>
                <a:gd name="connsiteY1" fmla="*/ 1350812 h 1733907"/>
                <a:gd name="connsiteX2" fmla="*/ 22157 w 390484"/>
                <a:gd name="connsiteY2" fmla="*/ 850379 h 1733907"/>
                <a:gd name="connsiteX3" fmla="*/ 390484 w 390484"/>
                <a:gd name="connsiteY3" fmla="*/ 0 h 1733907"/>
                <a:gd name="connsiteX0" fmla="*/ 347297 w 393621"/>
                <a:gd name="connsiteY0" fmla="*/ 1733907 h 1733907"/>
                <a:gd name="connsiteX1" fmla="*/ 89850 w 393621"/>
                <a:gd name="connsiteY1" fmla="*/ 1350812 h 1733907"/>
                <a:gd name="connsiteX2" fmla="*/ 21609 w 393621"/>
                <a:gd name="connsiteY2" fmla="*/ 773675 h 1733907"/>
                <a:gd name="connsiteX3" fmla="*/ 393621 w 393621"/>
                <a:gd name="connsiteY3" fmla="*/ 0 h 1733907"/>
                <a:gd name="connsiteX0" fmla="*/ 347297 w 393621"/>
                <a:gd name="connsiteY0" fmla="*/ 1733907 h 1733907"/>
                <a:gd name="connsiteX1" fmla="*/ 89850 w 393621"/>
                <a:gd name="connsiteY1" fmla="*/ 1350812 h 1733907"/>
                <a:gd name="connsiteX2" fmla="*/ 21609 w 393621"/>
                <a:gd name="connsiteY2" fmla="*/ 773675 h 1733907"/>
                <a:gd name="connsiteX3" fmla="*/ 393621 w 393621"/>
                <a:gd name="connsiteY3" fmla="*/ 0 h 1733907"/>
                <a:gd name="connsiteX0" fmla="*/ 332161 w 378485"/>
                <a:gd name="connsiteY0" fmla="*/ 1733907 h 1733907"/>
                <a:gd name="connsiteX1" fmla="*/ 74714 w 378485"/>
                <a:gd name="connsiteY1" fmla="*/ 1350812 h 1733907"/>
                <a:gd name="connsiteX2" fmla="*/ 6473 w 378485"/>
                <a:gd name="connsiteY2" fmla="*/ 773675 h 1733907"/>
                <a:gd name="connsiteX3" fmla="*/ 378485 w 378485"/>
                <a:gd name="connsiteY3" fmla="*/ 0 h 1733907"/>
                <a:gd name="connsiteX0" fmla="*/ 367856 w 414180"/>
                <a:gd name="connsiteY0" fmla="*/ 1733907 h 1733907"/>
                <a:gd name="connsiteX1" fmla="*/ 110409 w 414180"/>
                <a:gd name="connsiteY1" fmla="*/ 1350812 h 1733907"/>
                <a:gd name="connsiteX2" fmla="*/ 4179 w 414180"/>
                <a:gd name="connsiteY2" fmla="*/ 770769 h 1733907"/>
                <a:gd name="connsiteX3" fmla="*/ 414180 w 414180"/>
                <a:gd name="connsiteY3" fmla="*/ 0 h 1733907"/>
                <a:gd name="connsiteX0" fmla="*/ 553122 w 553122"/>
                <a:gd name="connsiteY0" fmla="*/ 1709722 h 1709722"/>
                <a:gd name="connsiteX1" fmla="*/ 112321 w 553122"/>
                <a:gd name="connsiteY1" fmla="*/ 1350812 h 1709722"/>
                <a:gd name="connsiteX2" fmla="*/ 6091 w 553122"/>
                <a:gd name="connsiteY2" fmla="*/ 770769 h 1709722"/>
                <a:gd name="connsiteX3" fmla="*/ 416092 w 553122"/>
                <a:gd name="connsiteY3" fmla="*/ 0 h 1709722"/>
                <a:gd name="connsiteX0" fmla="*/ 432642 w 432642"/>
                <a:gd name="connsiteY0" fmla="*/ 1643294 h 1643294"/>
                <a:gd name="connsiteX1" fmla="*/ 110946 w 432642"/>
                <a:gd name="connsiteY1" fmla="*/ 1350812 h 1643294"/>
                <a:gd name="connsiteX2" fmla="*/ 4716 w 432642"/>
                <a:gd name="connsiteY2" fmla="*/ 770769 h 1643294"/>
                <a:gd name="connsiteX3" fmla="*/ 414717 w 432642"/>
                <a:gd name="connsiteY3" fmla="*/ 0 h 1643294"/>
              </a:gdLst>
              <a:ahLst/>
              <a:cxnLst>
                <a:cxn ang="0">
                  <a:pos x="connsiteX0" y="connsiteY0"/>
                </a:cxn>
                <a:cxn ang="0">
                  <a:pos x="connsiteX1" y="connsiteY1"/>
                </a:cxn>
                <a:cxn ang="0">
                  <a:pos x="connsiteX2" y="connsiteY2"/>
                </a:cxn>
                <a:cxn ang="0">
                  <a:pos x="connsiteX3" y="connsiteY3"/>
                </a:cxn>
              </a:cxnLst>
              <a:rect l="l" t="t" r="r" b="b"/>
              <a:pathLst>
                <a:path w="432642" h="1643294">
                  <a:moveTo>
                    <a:pt x="432642" y="1643294"/>
                  </a:moveTo>
                  <a:cubicBezTo>
                    <a:pt x="340891" y="1584200"/>
                    <a:pt x="182267" y="1496233"/>
                    <a:pt x="110946" y="1350812"/>
                  </a:cubicBezTo>
                  <a:cubicBezTo>
                    <a:pt x="39625" y="1205391"/>
                    <a:pt x="-17048" y="1014033"/>
                    <a:pt x="4716" y="770769"/>
                  </a:cubicBezTo>
                  <a:cubicBezTo>
                    <a:pt x="63017" y="549405"/>
                    <a:pt x="211711" y="265714"/>
                    <a:pt x="414717" y="0"/>
                  </a:cubicBezTo>
                </a:path>
              </a:pathLst>
            </a:custGeom>
            <a:ln w="25400">
              <a:prstDash val="sysDash"/>
              <a:tailEnd type="triangle"/>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GB">
                <a:latin typeface="Century Gothic Pro" panose="020B0502020202020204" pitchFamily="34" charset="0"/>
              </a:endParaRPr>
            </a:p>
          </p:txBody>
        </p:sp>
        <p:sp>
          <p:nvSpPr>
            <p:cNvPr id="150" name="Freeform 149"/>
            <p:cNvSpPr/>
            <p:nvPr/>
          </p:nvSpPr>
          <p:spPr>
            <a:xfrm rot="292344" flipH="1">
              <a:off x="9526818" y="4596648"/>
              <a:ext cx="345966" cy="1286199"/>
            </a:xfrm>
            <a:custGeom>
              <a:avLst/>
              <a:gdLst>
                <a:gd name="connsiteX0" fmla="*/ 228943 w 340910"/>
                <a:gd name="connsiteY0" fmla="*/ 1645920 h 1645920"/>
                <a:gd name="connsiteX1" fmla="*/ 42330 w 340910"/>
                <a:gd name="connsiteY1" fmla="*/ 1291357 h 1645920"/>
                <a:gd name="connsiteX2" fmla="*/ 8740 w 340910"/>
                <a:gd name="connsiteY2" fmla="*/ 929329 h 1645920"/>
                <a:gd name="connsiteX3" fmla="*/ 165494 w 340910"/>
                <a:gd name="connsiteY3" fmla="*/ 440405 h 1645920"/>
                <a:gd name="connsiteX4" fmla="*/ 340910 w 340910"/>
                <a:gd name="connsiteY4" fmla="*/ 0 h 1645920"/>
                <a:gd name="connsiteX0" fmla="*/ 228943 w 575736"/>
                <a:gd name="connsiteY0" fmla="*/ 1649478 h 1649478"/>
                <a:gd name="connsiteX1" fmla="*/ 42330 w 575736"/>
                <a:gd name="connsiteY1" fmla="*/ 1294915 h 1649478"/>
                <a:gd name="connsiteX2" fmla="*/ 8740 w 575736"/>
                <a:gd name="connsiteY2" fmla="*/ 932887 h 1649478"/>
                <a:gd name="connsiteX3" fmla="*/ 165494 w 575736"/>
                <a:gd name="connsiteY3" fmla="*/ 443963 h 1649478"/>
                <a:gd name="connsiteX4" fmla="*/ 575736 w 575736"/>
                <a:gd name="connsiteY4" fmla="*/ 0 h 1649478"/>
                <a:gd name="connsiteX0" fmla="*/ 238624 w 585417"/>
                <a:gd name="connsiteY0" fmla="*/ 1649478 h 1649478"/>
                <a:gd name="connsiteX1" fmla="*/ 52011 w 585417"/>
                <a:gd name="connsiteY1" fmla="*/ 1294915 h 1649478"/>
                <a:gd name="connsiteX2" fmla="*/ 18421 w 585417"/>
                <a:gd name="connsiteY2" fmla="*/ 932887 h 1649478"/>
                <a:gd name="connsiteX3" fmla="*/ 306820 w 585417"/>
                <a:gd name="connsiteY3" fmla="*/ 579166 h 1649478"/>
                <a:gd name="connsiteX4" fmla="*/ 585417 w 585417"/>
                <a:gd name="connsiteY4" fmla="*/ 0 h 1649478"/>
                <a:gd name="connsiteX0" fmla="*/ 187723 w 534516"/>
                <a:gd name="connsiteY0" fmla="*/ 1649478 h 1649478"/>
                <a:gd name="connsiteX1" fmla="*/ 1110 w 534516"/>
                <a:gd name="connsiteY1" fmla="*/ 1294915 h 1649478"/>
                <a:gd name="connsiteX2" fmla="*/ 116955 w 534516"/>
                <a:gd name="connsiteY2" fmla="*/ 986256 h 1649478"/>
                <a:gd name="connsiteX3" fmla="*/ 255919 w 534516"/>
                <a:gd name="connsiteY3" fmla="*/ 579166 h 1649478"/>
                <a:gd name="connsiteX4" fmla="*/ 534516 w 534516"/>
                <a:gd name="connsiteY4" fmla="*/ 0 h 1649478"/>
                <a:gd name="connsiteX0" fmla="*/ 276285 w 537687"/>
                <a:gd name="connsiteY0" fmla="*/ 1617456 h 1617456"/>
                <a:gd name="connsiteX1" fmla="*/ 4281 w 537687"/>
                <a:gd name="connsiteY1" fmla="*/ 1294915 h 1617456"/>
                <a:gd name="connsiteX2" fmla="*/ 120126 w 537687"/>
                <a:gd name="connsiteY2" fmla="*/ 986256 h 1617456"/>
                <a:gd name="connsiteX3" fmla="*/ 259090 w 537687"/>
                <a:gd name="connsiteY3" fmla="*/ 579166 h 1617456"/>
                <a:gd name="connsiteX4" fmla="*/ 537687 w 537687"/>
                <a:gd name="connsiteY4" fmla="*/ 0 h 1617456"/>
                <a:gd name="connsiteX0" fmla="*/ 173722 w 435124"/>
                <a:gd name="connsiteY0" fmla="*/ 1617456 h 1617456"/>
                <a:gd name="connsiteX1" fmla="*/ 19131 w 435124"/>
                <a:gd name="connsiteY1" fmla="*/ 1291357 h 1617456"/>
                <a:gd name="connsiteX2" fmla="*/ 17563 w 435124"/>
                <a:gd name="connsiteY2" fmla="*/ 986256 h 1617456"/>
                <a:gd name="connsiteX3" fmla="*/ 156527 w 435124"/>
                <a:gd name="connsiteY3" fmla="*/ 579166 h 1617456"/>
                <a:gd name="connsiteX4" fmla="*/ 435124 w 435124"/>
                <a:gd name="connsiteY4" fmla="*/ 0 h 1617456"/>
                <a:gd name="connsiteX0" fmla="*/ 188913 w 436027"/>
                <a:gd name="connsiteY0" fmla="*/ 1707944 h 1707944"/>
                <a:gd name="connsiteX1" fmla="*/ 20034 w 436027"/>
                <a:gd name="connsiteY1" fmla="*/ 1291357 h 1707944"/>
                <a:gd name="connsiteX2" fmla="*/ 18466 w 436027"/>
                <a:gd name="connsiteY2" fmla="*/ 986256 h 1707944"/>
                <a:gd name="connsiteX3" fmla="*/ 157430 w 436027"/>
                <a:gd name="connsiteY3" fmla="*/ 579166 h 1707944"/>
                <a:gd name="connsiteX4" fmla="*/ 436027 w 436027"/>
                <a:gd name="connsiteY4" fmla="*/ 0 h 1707944"/>
                <a:gd name="connsiteX0" fmla="*/ 187772 w 434886"/>
                <a:gd name="connsiteY0" fmla="*/ 1707944 h 1707944"/>
                <a:gd name="connsiteX1" fmla="*/ 18893 w 434886"/>
                <a:gd name="connsiteY1" fmla="*/ 1291357 h 1707944"/>
                <a:gd name="connsiteX2" fmla="*/ 17325 w 434886"/>
                <a:gd name="connsiteY2" fmla="*/ 986256 h 1707944"/>
                <a:gd name="connsiteX3" fmla="*/ 137239 w 434886"/>
                <a:gd name="connsiteY3" fmla="*/ 569641 h 1707944"/>
                <a:gd name="connsiteX4" fmla="*/ 434886 w 434886"/>
                <a:gd name="connsiteY4" fmla="*/ 0 h 1707944"/>
                <a:gd name="connsiteX0" fmla="*/ 187772 w 434886"/>
                <a:gd name="connsiteY0" fmla="*/ 1707944 h 1707944"/>
                <a:gd name="connsiteX1" fmla="*/ 18893 w 434886"/>
                <a:gd name="connsiteY1" fmla="*/ 1291357 h 1707944"/>
                <a:gd name="connsiteX2" fmla="*/ 17325 w 434886"/>
                <a:gd name="connsiteY2" fmla="*/ 986256 h 1707944"/>
                <a:gd name="connsiteX3" fmla="*/ 137239 w 434886"/>
                <a:gd name="connsiteY3" fmla="*/ 569641 h 1707944"/>
                <a:gd name="connsiteX4" fmla="*/ 434886 w 434886"/>
                <a:gd name="connsiteY4" fmla="*/ 0 h 1707944"/>
                <a:gd name="connsiteX0" fmla="*/ 186150 w 433264"/>
                <a:gd name="connsiteY0" fmla="*/ 1707944 h 1707944"/>
                <a:gd name="connsiteX1" fmla="*/ 17271 w 433264"/>
                <a:gd name="connsiteY1" fmla="*/ 1291357 h 1707944"/>
                <a:gd name="connsiteX2" fmla="*/ 15703 w 433264"/>
                <a:gd name="connsiteY2" fmla="*/ 986256 h 1707944"/>
                <a:gd name="connsiteX3" fmla="*/ 107042 w 433264"/>
                <a:gd name="connsiteY3" fmla="*/ 560116 h 1707944"/>
                <a:gd name="connsiteX4" fmla="*/ 433264 w 433264"/>
                <a:gd name="connsiteY4" fmla="*/ 0 h 1707944"/>
                <a:gd name="connsiteX0" fmla="*/ 197883 w 444997"/>
                <a:gd name="connsiteY0" fmla="*/ 1707944 h 1707944"/>
                <a:gd name="connsiteX1" fmla="*/ 29004 w 444997"/>
                <a:gd name="connsiteY1" fmla="*/ 1291357 h 1707944"/>
                <a:gd name="connsiteX2" fmla="*/ 8386 w 444997"/>
                <a:gd name="connsiteY2" fmla="*/ 986256 h 1707944"/>
                <a:gd name="connsiteX3" fmla="*/ 118775 w 444997"/>
                <a:gd name="connsiteY3" fmla="*/ 560116 h 1707944"/>
                <a:gd name="connsiteX4" fmla="*/ 444997 w 444997"/>
                <a:gd name="connsiteY4" fmla="*/ 0 h 1707944"/>
                <a:gd name="connsiteX0" fmla="*/ 462553 w 462553"/>
                <a:gd name="connsiteY0" fmla="*/ 1691016 h 1691016"/>
                <a:gd name="connsiteX1" fmla="*/ 43683 w 462553"/>
                <a:gd name="connsiteY1" fmla="*/ 1291357 h 1691016"/>
                <a:gd name="connsiteX2" fmla="*/ 23065 w 462553"/>
                <a:gd name="connsiteY2" fmla="*/ 986256 h 1691016"/>
                <a:gd name="connsiteX3" fmla="*/ 133454 w 462553"/>
                <a:gd name="connsiteY3" fmla="*/ 560116 h 1691016"/>
                <a:gd name="connsiteX4" fmla="*/ 459676 w 462553"/>
                <a:gd name="connsiteY4" fmla="*/ 0 h 1691016"/>
                <a:gd name="connsiteX0" fmla="*/ 459963 w 459963"/>
                <a:gd name="connsiteY0" fmla="*/ 1719488 h 1719488"/>
                <a:gd name="connsiteX1" fmla="*/ 43520 w 459963"/>
                <a:gd name="connsiteY1" fmla="*/ 1291357 h 1719488"/>
                <a:gd name="connsiteX2" fmla="*/ 22902 w 459963"/>
                <a:gd name="connsiteY2" fmla="*/ 986256 h 1719488"/>
                <a:gd name="connsiteX3" fmla="*/ 133291 w 459963"/>
                <a:gd name="connsiteY3" fmla="*/ 560116 h 1719488"/>
                <a:gd name="connsiteX4" fmla="*/ 459513 w 459963"/>
                <a:gd name="connsiteY4" fmla="*/ 0 h 1719488"/>
                <a:gd name="connsiteX0" fmla="*/ 438596 w 438596"/>
                <a:gd name="connsiteY0" fmla="*/ 1719488 h 1719488"/>
                <a:gd name="connsiteX1" fmla="*/ 76669 w 438596"/>
                <a:gd name="connsiteY1" fmla="*/ 1324683 h 1719488"/>
                <a:gd name="connsiteX2" fmla="*/ 1535 w 438596"/>
                <a:gd name="connsiteY2" fmla="*/ 986256 h 1719488"/>
                <a:gd name="connsiteX3" fmla="*/ 111924 w 438596"/>
                <a:gd name="connsiteY3" fmla="*/ 560116 h 1719488"/>
                <a:gd name="connsiteX4" fmla="*/ 438146 w 438596"/>
                <a:gd name="connsiteY4" fmla="*/ 0 h 1719488"/>
                <a:gd name="connsiteX0" fmla="*/ 407409 w 407409"/>
                <a:gd name="connsiteY0" fmla="*/ 1719488 h 1719488"/>
                <a:gd name="connsiteX1" fmla="*/ 45482 w 407409"/>
                <a:gd name="connsiteY1" fmla="*/ 1324683 h 1719488"/>
                <a:gd name="connsiteX2" fmla="*/ 9119 w 407409"/>
                <a:gd name="connsiteY2" fmla="*/ 980001 h 1719488"/>
                <a:gd name="connsiteX3" fmla="*/ 80737 w 407409"/>
                <a:gd name="connsiteY3" fmla="*/ 560116 h 1719488"/>
                <a:gd name="connsiteX4" fmla="*/ 406959 w 407409"/>
                <a:gd name="connsiteY4" fmla="*/ 0 h 1719488"/>
                <a:gd name="connsiteX0" fmla="*/ 400555 w 400555"/>
                <a:gd name="connsiteY0" fmla="*/ 1719488 h 1719488"/>
                <a:gd name="connsiteX1" fmla="*/ 55992 w 400555"/>
                <a:gd name="connsiteY1" fmla="*/ 1345282 h 1719488"/>
                <a:gd name="connsiteX2" fmla="*/ 2265 w 400555"/>
                <a:gd name="connsiteY2" fmla="*/ 980001 h 1719488"/>
                <a:gd name="connsiteX3" fmla="*/ 73883 w 400555"/>
                <a:gd name="connsiteY3" fmla="*/ 560116 h 1719488"/>
                <a:gd name="connsiteX4" fmla="*/ 400105 w 400555"/>
                <a:gd name="connsiteY4" fmla="*/ 0 h 1719488"/>
                <a:gd name="connsiteX0" fmla="*/ 403633 w 403633"/>
                <a:gd name="connsiteY0" fmla="*/ 1719488 h 1719488"/>
                <a:gd name="connsiteX1" fmla="*/ 59070 w 403633"/>
                <a:gd name="connsiteY1" fmla="*/ 1345282 h 1719488"/>
                <a:gd name="connsiteX2" fmla="*/ 5343 w 403633"/>
                <a:gd name="connsiteY2" fmla="*/ 980001 h 1719488"/>
                <a:gd name="connsiteX3" fmla="*/ 118969 w 403633"/>
                <a:gd name="connsiteY3" fmla="*/ 515899 h 1719488"/>
                <a:gd name="connsiteX4" fmla="*/ 403183 w 403633"/>
                <a:gd name="connsiteY4" fmla="*/ 0 h 1719488"/>
                <a:gd name="connsiteX0" fmla="*/ 403633 w 418928"/>
                <a:gd name="connsiteY0" fmla="*/ 1679908 h 1679908"/>
                <a:gd name="connsiteX1" fmla="*/ 59070 w 418928"/>
                <a:gd name="connsiteY1" fmla="*/ 1305702 h 1679908"/>
                <a:gd name="connsiteX2" fmla="*/ 5343 w 418928"/>
                <a:gd name="connsiteY2" fmla="*/ 940421 h 1679908"/>
                <a:gd name="connsiteX3" fmla="*/ 118969 w 418928"/>
                <a:gd name="connsiteY3" fmla="*/ 476319 h 1679908"/>
                <a:gd name="connsiteX4" fmla="*/ 418928 w 418928"/>
                <a:gd name="connsiteY4" fmla="*/ 0 h 1679908"/>
                <a:gd name="connsiteX0" fmla="*/ 483286 w 483286"/>
                <a:gd name="connsiteY0" fmla="*/ 1676890 h 1676890"/>
                <a:gd name="connsiteX1" fmla="*/ 61989 w 483286"/>
                <a:gd name="connsiteY1" fmla="*/ 1305702 h 1676890"/>
                <a:gd name="connsiteX2" fmla="*/ 8262 w 483286"/>
                <a:gd name="connsiteY2" fmla="*/ 940421 h 1676890"/>
                <a:gd name="connsiteX3" fmla="*/ 121888 w 483286"/>
                <a:gd name="connsiteY3" fmla="*/ 476319 h 1676890"/>
                <a:gd name="connsiteX4" fmla="*/ 421847 w 483286"/>
                <a:gd name="connsiteY4" fmla="*/ 0 h 1676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286" h="1676890">
                  <a:moveTo>
                    <a:pt x="483286" y="1676890"/>
                  </a:moveTo>
                  <a:cubicBezTo>
                    <a:pt x="408329" y="1559324"/>
                    <a:pt x="141160" y="1428447"/>
                    <a:pt x="61989" y="1305702"/>
                  </a:cubicBezTo>
                  <a:cubicBezTo>
                    <a:pt x="-17182" y="1182957"/>
                    <a:pt x="-1721" y="1078651"/>
                    <a:pt x="8262" y="940421"/>
                  </a:cubicBezTo>
                  <a:cubicBezTo>
                    <a:pt x="18245" y="802191"/>
                    <a:pt x="66526" y="631207"/>
                    <a:pt x="121888" y="476319"/>
                  </a:cubicBezTo>
                  <a:cubicBezTo>
                    <a:pt x="177250" y="321431"/>
                    <a:pt x="295145" y="180858"/>
                    <a:pt x="421847" y="0"/>
                  </a:cubicBezTo>
                </a:path>
              </a:pathLst>
            </a:custGeom>
            <a:ln w="25400">
              <a:prstDash val="sysDash"/>
              <a:tailEnd type="triangle"/>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GB">
                <a:latin typeface="Century Gothic Pro" panose="020B0502020202020204" pitchFamily="34" charset="0"/>
              </a:endParaRPr>
            </a:p>
          </p:txBody>
        </p:sp>
      </p:grpSp>
      <p:sp>
        <p:nvSpPr>
          <p:cNvPr id="152" name="Freeform 151"/>
          <p:cNvSpPr/>
          <p:nvPr/>
        </p:nvSpPr>
        <p:spPr bwMode="auto">
          <a:xfrm rot="485026">
            <a:off x="632463" y="4212634"/>
            <a:ext cx="1582601" cy="1454489"/>
          </a:xfrm>
          <a:custGeom>
            <a:avLst/>
            <a:gdLst>
              <a:gd name="connsiteX0" fmla="*/ 118937 w 1223178"/>
              <a:gd name="connsiteY0" fmla="*/ 4214 h 1843402"/>
              <a:gd name="connsiteX1" fmla="*/ 6970 w 1223178"/>
              <a:gd name="connsiteY1" fmla="*/ 685349 h 1843402"/>
              <a:gd name="connsiteX2" fmla="*/ 72284 w 1223178"/>
              <a:gd name="connsiteY2" fmla="*/ 1375814 h 1843402"/>
              <a:gd name="connsiteX3" fmla="*/ 557476 w 1223178"/>
              <a:gd name="connsiteY3" fmla="*/ 1814353 h 1843402"/>
              <a:gd name="connsiteX4" fmla="*/ 818733 w 1223178"/>
              <a:gd name="connsiteY4" fmla="*/ 1749038 h 1843402"/>
              <a:gd name="connsiteX5" fmla="*/ 1154635 w 1223178"/>
              <a:gd name="connsiteY5" fmla="*/ 1319830 h 1843402"/>
              <a:gd name="connsiteX6" fmla="*/ 1219950 w 1223178"/>
              <a:gd name="connsiteY6" fmla="*/ 787985 h 1843402"/>
              <a:gd name="connsiteX7" fmla="*/ 1098652 w 1223178"/>
              <a:gd name="connsiteY7" fmla="*/ 4214 h 1843402"/>
              <a:gd name="connsiteX8" fmla="*/ 1117313 w 1223178"/>
              <a:gd name="connsiteY8" fmla="*/ 498736 h 1843402"/>
              <a:gd name="connsiteX9" fmla="*/ 1117313 w 1223178"/>
              <a:gd name="connsiteY9" fmla="*/ 993259 h 1843402"/>
              <a:gd name="connsiteX10" fmla="*/ 958692 w 1223178"/>
              <a:gd name="connsiteY10" fmla="*/ 1431798 h 1843402"/>
              <a:gd name="connsiteX11" fmla="*/ 762750 w 1223178"/>
              <a:gd name="connsiteY11" fmla="*/ 1665063 h 1843402"/>
              <a:gd name="connsiteX12" fmla="*/ 641452 w 1223178"/>
              <a:gd name="connsiteY12" fmla="*/ 1693055 h 1843402"/>
              <a:gd name="connsiteX13" fmla="*/ 632121 w 1223178"/>
              <a:gd name="connsiteY13" fmla="*/ 1525104 h 1843402"/>
              <a:gd name="connsiteX14" fmla="*/ 734758 w 1223178"/>
              <a:gd name="connsiteY14" fmla="*/ 1291838 h 1843402"/>
              <a:gd name="connsiteX15" fmla="*/ 706766 w 1223178"/>
              <a:gd name="connsiteY15" fmla="*/ 1077234 h 1843402"/>
              <a:gd name="connsiteX16" fmla="*/ 594799 w 1223178"/>
              <a:gd name="connsiteY16" fmla="*/ 666687 h 1843402"/>
              <a:gd name="connsiteX17" fmla="*/ 445509 w 1223178"/>
              <a:gd name="connsiteY17" fmla="*/ 1039912 h 1843402"/>
              <a:gd name="connsiteX18" fmla="*/ 436178 w 1223178"/>
              <a:gd name="connsiteY18" fmla="*/ 1375814 h 1843402"/>
              <a:gd name="connsiteX19" fmla="*/ 529484 w 1223178"/>
              <a:gd name="connsiteY19" fmla="*/ 1553096 h 1843402"/>
              <a:gd name="connsiteX20" fmla="*/ 548145 w 1223178"/>
              <a:gd name="connsiteY20" fmla="*/ 1683724 h 1843402"/>
              <a:gd name="connsiteX21" fmla="*/ 249566 w 1223178"/>
              <a:gd name="connsiteY21" fmla="*/ 1487781 h 1843402"/>
              <a:gd name="connsiteX22" fmla="*/ 100276 w 1223178"/>
              <a:gd name="connsiteY22" fmla="*/ 1049242 h 1843402"/>
              <a:gd name="connsiteX23" fmla="*/ 146929 w 1223178"/>
              <a:gd name="connsiteY23" fmla="*/ 508067 h 1843402"/>
              <a:gd name="connsiteX24" fmla="*/ 174921 w 1223178"/>
              <a:gd name="connsiteY24" fmla="*/ 13545 h 1843402"/>
              <a:gd name="connsiteX25" fmla="*/ 174921 w 1223178"/>
              <a:gd name="connsiteY25" fmla="*/ 13545 h 1843402"/>
              <a:gd name="connsiteX0" fmla="*/ 118937 w 1223178"/>
              <a:gd name="connsiteY0" fmla="*/ 38655 h 1877843"/>
              <a:gd name="connsiteX1" fmla="*/ 6970 w 1223178"/>
              <a:gd name="connsiteY1" fmla="*/ 719790 h 1877843"/>
              <a:gd name="connsiteX2" fmla="*/ 72284 w 1223178"/>
              <a:gd name="connsiteY2" fmla="*/ 1410255 h 1877843"/>
              <a:gd name="connsiteX3" fmla="*/ 557476 w 1223178"/>
              <a:gd name="connsiteY3" fmla="*/ 1848794 h 1877843"/>
              <a:gd name="connsiteX4" fmla="*/ 818733 w 1223178"/>
              <a:gd name="connsiteY4" fmla="*/ 1783479 h 1877843"/>
              <a:gd name="connsiteX5" fmla="*/ 1154635 w 1223178"/>
              <a:gd name="connsiteY5" fmla="*/ 1354271 h 1877843"/>
              <a:gd name="connsiteX6" fmla="*/ 1219950 w 1223178"/>
              <a:gd name="connsiteY6" fmla="*/ 822426 h 1877843"/>
              <a:gd name="connsiteX7" fmla="*/ 1098652 w 1223178"/>
              <a:gd name="connsiteY7" fmla="*/ 38655 h 1877843"/>
              <a:gd name="connsiteX8" fmla="*/ 1117313 w 1223178"/>
              <a:gd name="connsiteY8" fmla="*/ 533177 h 1877843"/>
              <a:gd name="connsiteX9" fmla="*/ 1117313 w 1223178"/>
              <a:gd name="connsiteY9" fmla="*/ 1027700 h 1877843"/>
              <a:gd name="connsiteX10" fmla="*/ 958692 w 1223178"/>
              <a:gd name="connsiteY10" fmla="*/ 1466239 h 1877843"/>
              <a:gd name="connsiteX11" fmla="*/ 762750 w 1223178"/>
              <a:gd name="connsiteY11" fmla="*/ 1699504 h 1877843"/>
              <a:gd name="connsiteX12" fmla="*/ 641452 w 1223178"/>
              <a:gd name="connsiteY12" fmla="*/ 1727496 h 1877843"/>
              <a:gd name="connsiteX13" fmla="*/ 632121 w 1223178"/>
              <a:gd name="connsiteY13" fmla="*/ 1559545 h 1877843"/>
              <a:gd name="connsiteX14" fmla="*/ 734758 w 1223178"/>
              <a:gd name="connsiteY14" fmla="*/ 1326279 h 1877843"/>
              <a:gd name="connsiteX15" fmla="*/ 706766 w 1223178"/>
              <a:gd name="connsiteY15" fmla="*/ 1111675 h 1877843"/>
              <a:gd name="connsiteX16" fmla="*/ 594799 w 1223178"/>
              <a:gd name="connsiteY16" fmla="*/ 701128 h 1877843"/>
              <a:gd name="connsiteX17" fmla="*/ 445509 w 1223178"/>
              <a:gd name="connsiteY17" fmla="*/ 1074353 h 1877843"/>
              <a:gd name="connsiteX18" fmla="*/ 436178 w 1223178"/>
              <a:gd name="connsiteY18" fmla="*/ 1410255 h 1877843"/>
              <a:gd name="connsiteX19" fmla="*/ 529484 w 1223178"/>
              <a:gd name="connsiteY19" fmla="*/ 1587537 h 1877843"/>
              <a:gd name="connsiteX20" fmla="*/ 548145 w 1223178"/>
              <a:gd name="connsiteY20" fmla="*/ 1718165 h 1877843"/>
              <a:gd name="connsiteX21" fmla="*/ 249566 w 1223178"/>
              <a:gd name="connsiteY21" fmla="*/ 1522222 h 1877843"/>
              <a:gd name="connsiteX22" fmla="*/ 100276 w 1223178"/>
              <a:gd name="connsiteY22" fmla="*/ 1083683 h 1877843"/>
              <a:gd name="connsiteX23" fmla="*/ 146929 w 1223178"/>
              <a:gd name="connsiteY23" fmla="*/ 542508 h 1877843"/>
              <a:gd name="connsiteX24" fmla="*/ 174921 w 1223178"/>
              <a:gd name="connsiteY24" fmla="*/ 47986 h 1877843"/>
              <a:gd name="connsiteX25" fmla="*/ 118937 w 1223178"/>
              <a:gd name="connsiteY25" fmla="*/ 10663 h 1877843"/>
              <a:gd name="connsiteX0" fmla="*/ 118937 w 1223178"/>
              <a:gd name="connsiteY0" fmla="*/ 38655 h 1877843"/>
              <a:gd name="connsiteX1" fmla="*/ 6970 w 1223178"/>
              <a:gd name="connsiteY1" fmla="*/ 719790 h 1877843"/>
              <a:gd name="connsiteX2" fmla="*/ 72284 w 1223178"/>
              <a:gd name="connsiteY2" fmla="*/ 1410255 h 1877843"/>
              <a:gd name="connsiteX3" fmla="*/ 557476 w 1223178"/>
              <a:gd name="connsiteY3" fmla="*/ 1848794 h 1877843"/>
              <a:gd name="connsiteX4" fmla="*/ 818733 w 1223178"/>
              <a:gd name="connsiteY4" fmla="*/ 1783479 h 1877843"/>
              <a:gd name="connsiteX5" fmla="*/ 1154635 w 1223178"/>
              <a:gd name="connsiteY5" fmla="*/ 1354271 h 1877843"/>
              <a:gd name="connsiteX6" fmla="*/ 1219950 w 1223178"/>
              <a:gd name="connsiteY6" fmla="*/ 822426 h 1877843"/>
              <a:gd name="connsiteX7" fmla="*/ 1098652 w 1223178"/>
              <a:gd name="connsiteY7" fmla="*/ 38655 h 1877843"/>
              <a:gd name="connsiteX8" fmla="*/ 1117313 w 1223178"/>
              <a:gd name="connsiteY8" fmla="*/ 533177 h 1877843"/>
              <a:gd name="connsiteX9" fmla="*/ 1117313 w 1223178"/>
              <a:gd name="connsiteY9" fmla="*/ 1027700 h 1877843"/>
              <a:gd name="connsiteX10" fmla="*/ 958692 w 1223178"/>
              <a:gd name="connsiteY10" fmla="*/ 1466239 h 1877843"/>
              <a:gd name="connsiteX11" fmla="*/ 762750 w 1223178"/>
              <a:gd name="connsiteY11" fmla="*/ 1699504 h 1877843"/>
              <a:gd name="connsiteX12" fmla="*/ 641452 w 1223178"/>
              <a:gd name="connsiteY12" fmla="*/ 1727496 h 1877843"/>
              <a:gd name="connsiteX13" fmla="*/ 632121 w 1223178"/>
              <a:gd name="connsiteY13" fmla="*/ 1559545 h 1877843"/>
              <a:gd name="connsiteX14" fmla="*/ 734758 w 1223178"/>
              <a:gd name="connsiteY14" fmla="*/ 1326279 h 1877843"/>
              <a:gd name="connsiteX15" fmla="*/ 706766 w 1223178"/>
              <a:gd name="connsiteY15" fmla="*/ 1111675 h 1877843"/>
              <a:gd name="connsiteX16" fmla="*/ 594799 w 1223178"/>
              <a:gd name="connsiteY16" fmla="*/ 701128 h 1877843"/>
              <a:gd name="connsiteX17" fmla="*/ 445509 w 1223178"/>
              <a:gd name="connsiteY17" fmla="*/ 1074353 h 1877843"/>
              <a:gd name="connsiteX18" fmla="*/ 436178 w 1223178"/>
              <a:gd name="connsiteY18" fmla="*/ 1410255 h 1877843"/>
              <a:gd name="connsiteX19" fmla="*/ 529484 w 1223178"/>
              <a:gd name="connsiteY19" fmla="*/ 1587537 h 1877843"/>
              <a:gd name="connsiteX20" fmla="*/ 548145 w 1223178"/>
              <a:gd name="connsiteY20" fmla="*/ 1718165 h 1877843"/>
              <a:gd name="connsiteX21" fmla="*/ 249566 w 1223178"/>
              <a:gd name="connsiteY21" fmla="*/ 1522222 h 1877843"/>
              <a:gd name="connsiteX22" fmla="*/ 100276 w 1223178"/>
              <a:gd name="connsiteY22" fmla="*/ 1083683 h 1877843"/>
              <a:gd name="connsiteX23" fmla="*/ 146929 w 1223178"/>
              <a:gd name="connsiteY23" fmla="*/ 542508 h 1877843"/>
              <a:gd name="connsiteX24" fmla="*/ 174921 w 1223178"/>
              <a:gd name="connsiteY24" fmla="*/ 47986 h 1877843"/>
              <a:gd name="connsiteX25" fmla="*/ 118937 w 1223178"/>
              <a:gd name="connsiteY25" fmla="*/ 10663 h 1877843"/>
              <a:gd name="connsiteX26" fmla="*/ 118937 w 1223178"/>
              <a:gd name="connsiteY26" fmla="*/ 38655 h 1877843"/>
              <a:gd name="connsiteX0" fmla="*/ 118937 w 1223178"/>
              <a:gd name="connsiteY0" fmla="*/ 10663 h 1877843"/>
              <a:gd name="connsiteX1" fmla="*/ 6970 w 1223178"/>
              <a:gd name="connsiteY1" fmla="*/ 719790 h 1877843"/>
              <a:gd name="connsiteX2" fmla="*/ 72284 w 1223178"/>
              <a:gd name="connsiteY2" fmla="*/ 1410255 h 1877843"/>
              <a:gd name="connsiteX3" fmla="*/ 557476 w 1223178"/>
              <a:gd name="connsiteY3" fmla="*/ 1848794 h 1877843"/>
              <a:gd name="connsiteX4" fmla="*/ 818733 w 1223178"/>
              <a:gd name="connsiteY4" fmla="*/ 1783479 h 1877843"/>
              <a:gd name="connsiteX5" fmla="*/ 1154635 w 1223178"/>
              <a:gd name="connsiteY5" fmla="*/ 1354271 h 1877843"/>
              <a:gd name="connsiteX6" fmla="*/ 1219950 w 1223178"/>
              <a:gd name="connsiteY6" fmla="*/ 822426 h 1877843"/>
              <a:gd name="connsiteX7" fmla="*/ 1098652 w 1223178"/>
              <a:gd name="connsiteY7" fmla="*/ 38655 h 1877843"/>
              <a:gd name="connsiteX8" fmla="*/ 1117313 w 1223178"/>
              <a:gd name="connsiteY8" fmla="*/ 533177 h 1877843"/>
              <a:gd name="connsiteX9" fmla="*/ 1117313 w 1223178"/>
              <a:gd name="connsiteY9" fmla="*/ 1027700 h 1877843"/>
              <a:gd name="connsiteX10" fmla="*/ 958692 w 1223178"/>
              <a:gd name="connsiteY10" fmla="*/ 1466239 h 1877843"/>
              <a:gd name="connsiteX11" fmla="*/ 762750 w 1223178"/>
              <a:gd name="connsiteY11" fmla="*/ 1699504 h 1877843"/>
              <a:gd name="connsiteX12" fmla="*/ 641452 w 1223178"/>
              <a:gd name="connsiteY12" fmla="*/ 1727496 h 1877843"/>
              <a:gd name="connsiteX13" fmla="*/ 632121 w 1223178"/>
              <a:gd name="connsiteY13" fmla="*/ 1559545 h 1877843"/>
              <a:gd name="connsiteX14" fmla="*/ 734758 w 1223178"/>
              <a:gd name="connsiteY14" fmla="*/ 1326279 h 1877843"/>
              <a:gd name="connsiteX15" fmla="*/ 706766 w 1223178"/>
              <a:gd name="connsiteY15" fmla="*/ 1111675 h 1877843"/>
              <a:gd name="connsiteX16" fmla="*/ 594799 w 1223178"/>
              <a:gd name="connsiteY16" fmla="*/ 701128 h 1877843"/>
              <a:gd name="connsiteX17" fmla="*/ 445509 w 1223178"/>
              <a:gd name="connsiteY17" fmla="*/ 1074353 h 1877843"/>
              <a:gd name="connsiteX18" fmla="*/ 436178 w 1223178"/>
              <a:gd name="connsiteY18" fmla="*/ 1410255 h 1877843"/>
              <a:gd name="connsiteX19" fmla="*/ 529484 w 1223178"/>
              <a:gd name="connsiteY19" fmla="*/ 1587537 h 1877843"/>
              <a:gd name="connsiteX20" fmla="*/ 548145 w 1223178"/>
              <a:gd name="connsiteY20" fmla="*/ 1718165 h 1877843"/>
              <a:gd name="connsiteX21" fmla="*/ 249566 w 1223178"/>
              <a:gd name="connsiteY21" fmla="*/ 1522222 h 1877843"/>
              <a:gd name="connsiteX22" fmla="*/ 100276 w 1223178"/>
              <a:gd name="connsiteY22" fmla="*/ 1083683 h 1877843"/>
              <a:gd name="connsiteX23" fmla="*/ 146929 w 1223178"/>
              <a:gd name="connsiteY23" fmla="*/ 542508 h 1877843"/>
              <a:gd name="connsiteX24" fmla="*/ 174921 w 1223178"/>
              <a:gd name="connsiteY24" fmla="*/ 47986 h 1877843"/>
              <a:gd name="connsiteX25" fmla="*/ 118937 w 1223178"/>
              <a:gd name="connsiteY25" fmla="*/ 10663 h 1877843"/>
              <a:gd name="connsiteX0" fmla="*/ 118937 w 1223178"/>
              <a:gd name="connsiteY0" fmla="*/ 13287 h 1880467"/>
              <a:gd name="connsiteX1" fmla="*/ 6970 w 1223178"/>
              <a:gd name="connsiteY1" fmla="*/ 722414 h 1880467"/>
              <a:gd name="connsiteX2" fmla="*/ 72284 w 1223178"/>
              <a:gd name="connsiteY2" fmla="*/ 1412879 h 1880467"/>
              <a:gd name="connsiteX3" fmla="*/ 557476 w 1223178"/>
              <a:gd name="connsiteY3" fmla="*/ 1851418 h 1880467"/>
              <a:gd name="connsiteX4" fmla="*/ 818733 w 1223178"/>
              <a:gd name="connsiteY4" fmla="*/ 1786103 h 1880467"/>
              <a:gd name="connsiteX5" fmla="*/ 1154635 w 1223178"/>
              <a:gd name="connsiteY5" fmla="*/ 1356895 h 1880467"/>
              <a:gd name="connsiteX6" fmla="*/ 1219950 w 1223178"/>
              <a:gd name="connsiteY6" fmla="*/ 825050 h 1880467"/>
              <a:gd name="connsiteX7" fmla="*/ 1098652 w 1223178"/>
              <a:gd name="connsiteY7" fmla="*/ 41279 h 1880467"/>
              <a:gd name="connsiteX8" fmla="*/ 1117313 w 1223178"/>
              <a:gd name="connsiteY8" fmla="*/ 535801 h 1880467"/>
              <a:gd name="connsiteX9" fmla="*/ 1117313 w 1223178"/>
              <a:gd name="connsiteY9" fmla="*/ 1030324 h 1880467"/>
              <a:gd name="connsiteX10" fmla="*/ 958692 w 1223178"/>
              <a:gd name="connsiteY10" fmla="*/ 1468863 h 1880467"/>
              <a:gd name="connsiteX11" fmla="*/ 762750 w 1223178"/>
              <a:gd name="connsiteY11" fmla="*/ 1702128 h 1880467"/>
              <a:gd name="connsiteX12" fmla="*/ 641452 w 1223178"/>
              <a:gd name="connsiteY12" fmla="*/ 1730120 h 1880467"/>
              <a:gd name="connsiteX13" fmla="*/ 632121 w 1223178"/>
              <a:gd name="connsiteY13" fmla="*/ 1562169 h 1880467"/>
              <a:gd name="connsiteX14" fmla="*/ 734758 w 1223178"/>
              <a:gd name="connsiteY14" fmla="*/ 1328903 h 1880467"/>
              <a:gd name="connsiteX15" fmla="*/ 706766 w 1223178"/>
              <a:gd name="connsiteY15" fmla="*/ 1114299 h 1880467"/>
              <a:gd name="connsiteX16" fmla="*/ 594799 w 1223178"/>
              <a:gd name="connsiteY16" fmla="*/ 703752 h 1880467"/>
              <a:gd name="connsiteX17" fmla="*/ 445509 w 1223178"/>
              <a:gd name="connsiteY17" fmla="*/ 1076977 h 1880467"/>
              <a:gd name="connsiteX18" fmla="*/ 436178 w 1223178"/>
              <a:gd name="connsiteY18" fmla="*/ 1412879 h 1880467"/>
              <a:gd name="connsiteX19" fmla="*/ 529484 w 1223178"/>
              <a:gd name="connsiteY19" fmla="*/ 1590161 h 1880467"/>
              <a:gd name="connsiteX20" fmla="*/ 548145 w 1223178"/>
              <a:gd name="connsiteY20" fmla="*/ 1720789 h 1880467"/>
              <a:gd name="connsiteX21" fmla="*/ 249566 w 1223178"/>
              <a:gd name="connsiteY21" fmla="*/ 1524846 h 1880467"/>
              <a:gd name="connsiteX22" fmla="*/ 100276 w 1223178"/>
              <a:gd name="connsiteY22" fmla="*/ 1086307 h 1880467"/>
              <a:gd name="connsiteX23" fmla="*/ 118937 w 1223178"/>
              <a:gd name="connsiteY23" fmla="*/ 582455 h 1880467"/>
              <a:gd name="connsiteX24" fmla="*/ 174921 w 1223178"/>
              <a:gd name="connsiteY24" fmla="*/ 50610 h 1880467"/>
              <a:gd name="connsiteX25" fmla="*/ 118937 w 1223178"/>
              <a:gd name="connsiteY25" fmla="*/ 13287 h 1880467"/>
              <a:gd name="connsiteX0" fmla="*/ 118937 w 1223178"/>
              <a:gd name="connsiteY0" fmla="*/ 948 h 1868128"/>
              <a:gd name="connsiteX1" fmla="*/ 6970 w 1223178"/>
              <a:gd name="connsiteY1" fmla="*/ 710075 h 1868128"/>
              <a:gd name="connsiteX2" fmla="*/ 72284 w 1223178"/>
              <a:gd name="connsiteY2" fmla="*/ 1400540 h 1868128"/>
              <a:gd name="connsiteX3" fmla="*/ 557476 w 1223178"/>
              <a:gd name="connsiteY3" fmla="*/ 1839079 h 1868128"/>
              <a:gd name="connsiteX4" fmla="*/ 818733 w 1223178"/>
              <a:gd name="connsiteY4" fmla="*/ 1773764 h 1868128"/>
              <a:gd name="connsiteX5" fmla="*/ 1154635 w 1223178"/>
              <a:gd name="connsiteY5" fmla="*/ 1344556 h 1868128"/>
              <a:gd name="connsiteX6" fmla="*/ 1219950 w 1223178"/>
              <a:gd name="connsiteY6" fmla="*/ 812711 h 1868128"/>
              <a:gd name="connsiteX7" fmla="*/ 1098652 w 1223178"/>
              <a:gd name="connsiteY7" fmla="*/ 28940 h 1868128"/>
              <a:gd name="connsiteX8" fmla="*/ 1117313 w 1223178"/>
              <a:gd name="connsiteY8" fmla="*/ 523462 h 1868128"/>
              <a:gd name="connsiteX9" fmla="*/ 1117313 w 1223178"/>
              <a:gd name="connsiteY9" fmla="*/ 1017985 h 1868128"/>
              <a:gd name="connsiteX10" fmla="*/ 958692 w 1223178"/>
              <a:gd name="connsiteY10" fmla="*/ 1456524 h 1868128"/>
              <a:gd name="connsiteX11" fmla="*/ 762750 w 1223178"/>
              <a:gd name="connsiteY11" fmla="*/ 1689789 h 1868128"/>
              <a:gd name="connsiteX12" fmla="*/ 641452 w 1223178"/>
              <a:gd name="connsiteY12" fmla="*/ 1717781 h 1868128"/>
              <a:gd name="connsiteX13" fmla="*/ 632121 w 1223178"/>
              <a:gd name="connsiteY13" fmla="*/ 1549830 h 1868128"/>
              <a:gd name="connsiteX14" fmla="*/ 734758 w 1223178"/>
              <a:gd name="connsiteY14" fmla="*/ 1316564 h 1868128"/>
              <a:gd name="connsiteX15" fmla="*/ 706766 w 1223178"/>
              <a:gd name="connsiteY15" fmla="*/ 1101960 h 1868128"/>
              <a:gd name="connsiteX16" fmla="*/ 594799 w 1223178"/>
              <a:gd name="connsiteY16" fmla="*/ 691413 h 1868128"/>
              <a:gd name="connsiteX17" fmla="*/ 445509 w 1223178"/>
              <a:gd name="connsiteY17" fmla="*/ 1064638 h 1868128"/>
              <a:gd name="connsiteX18" fmla="*/ 436178 w 1223178"/>
              <a:gd name="connsiteY18" fmla="*/ 1400540 h 1868128"/>
              <a:gd name="connsiteX19" fmla="*/ 529484 w 1223178"/>
              <a:gd name="connsiteY19" fmla="*/ 1577822 h 1868128"/>
              <a:gd name="connsiteX20" fmla="*/ 548145 w 1223178"/>
              <a:gd name="connsiteY20" fmla="*/ 1708450 h 1868128"/>
              <a:gd name="connsiteX21" fmla="*/ 249566 w 1223178"/>
              <a:gd name="connsiteY21" fmla="*/ 1512507 h 1868128"/>
              <a:gd name="connsiteX22" fmla="*/ 100276 w 1223178"/>
              <a:gd name="connsiteY22" fmla="*/ 1073968 h 1868128"/>
              <a:gd name="connsiteX23" fmla="*/ 118937 w 1223178"/>
              <a:gd name="connsiteY23" fmla="*/ 570116 h 1868128"/>
              <a:gd name="connsiteX24" fmla="*/ 118937 w 1223178"/>
              <a:gd name="connsiteY24" fmla="*/ 948 h 1868128"/>
              <a:gd name="connsiteX0" fmla="*/ 118937 w 1223178"/>
              <a:gd name="connsiteY0" fmla="*/ 823 h 1868003"/>
              <a:gd name="connsiteX1" fmla="*/ 6970 w 1223178"/>
              <a:gd name="connsiteY1" fmla="*/ 709950 h 1868003"/>
              <a:gd name="connsiteX2" fmla="*/ 72284 w 1223178"/>
              <a:gd name="connsiteY2" fmla="*/ 1400415 h 1868003"/>
              <a:gd name="connsiteX3" fmla="*/ 557476 w 1223178"/>
              <a:gd name="connsiteY3" fmla="*/ 1838954 h 1868003"/>
              <a:gd name="connsiteX4" fmla="*/ 818733 w 1223178"/>
              <a:gd name="connsiteY4" fmla="*/ 1773639 h 1868003"/>
              <a:gd name="connsiteX5" fmla="*/ 1154635 w 1223178"/>
              <a:gd name="connsiteY5" fmla="*/ 1344431 h 1868003"/>
              <a:gd name="connsiteX6" fmla="*/ 1219950 w 1223178"/>
              <a:gd name="connsiteY6" fmla="*/ 812586 h 1868003"/>
              <a:gd name="connsiteX7" fmla="*/ 1098652 w 1223178"/>
              <a:gd name="connsiteY7" fmla="*/ 28815 h 1868003"/>
              <a:gd name="connsiteX8" fmla="*/ 1117313 w 1223178"/>
              <a:gd name="connsiteY8" fmla="*/ 523337 h 1868003"/>
              <a:gd name="connsiteX9" fmla="*/ 1117313 w 1223178"/>
              <a:gd name="connsiteY9" fmla="*/ 1017860 h 1868003"/>
              <a:gd name="connsiteX10" fmla="*/ 958692 w 1223178"/>
              <a:gd name="connsiteY10" fmla="*/ 1456399 h 1868003"/>
              <a:gd name="connsiteX11" fmla="*/ 762750 w 1223178"/>
              <a:gd name="connsiteY11" fmla="*/ 1689664 h 1868003"/>
              <a:gd name="connsiteX12" fmla="*/ 641452 w 1223178"/>
              <a:gd name="connsiteY12" fmla="*/ 1717656 h 1868003"/>
              <a:gd name="connsiteX13" fmla="*/ 632121 w 1223178"/>
              <a:gd name="connsiteY13" fmla="*/ 1549705 h 1868003"/>
              <a:gd name="connsiteX14" fmla="*/ 734758 w 1223178"/>
              <a:gd name="connsiteY14" fmla="*/ 1316439 h 1868003"/>
              <a:gd name="connsiteX15" fmla="*/ 706766 w 1223178"/>
              <a:gd name="connsiteY15" fmla="*/ 1101835 h 1868003"/>
              <a:gd name="connsiteX16" fmla="*/ 594799 w 1223178"/>
              <a:gd name="connsiteY16" fmla="*/ 691288 h 1868003"/>
              <a:gd name="connsiteX17" fmla="*/ 445509 w 1223178"/>
              <a:gd name="connsiteY17" fmla="*/ 1064513 h 1868003"/>
              <a:gd name="connsiteX18" fmla="*/ 436178 w 1223178"/>
              <a:gd name="connsiteY18" fmla="*/ 1400415 h 1868003"/>
              <a:gd name="connsiteX19" fmla="*/ 529484 w 1223178"/>
              <a:gd name="connsiteY19" fmla="*/ 1577697 h 1868003"/>
              <a:gd name="connsiteX20" fmla="*/ 548145 w 1223178"/>
              <a:gd name="connsiteY20" fmla="*/ 1708325 h 1868003"/>
              <a:gd name="connsiteX21" fmla="*/ 249566 w 1223178"/>
              <a:gd name="connsiteY21" fmla="*/ 1512382 h 1868003"/>
              <a:gd name="connsiteX22" fmla="*/ 100276 w 1223178"/>
              <a:gd name="connsiteY22" fmla="*/ 1073843 h 1868003"/>
              <a:gd name="connsiteX23" fmla="*/ 90945 w 1223178"/>
              <a:gd name="connsiteY23" fmla="*/ 635305 h 1868003"/>
              <a:gd name="connsiteX24" fmla="*/ 118937 w 1223178"/>
              <a:gd name="connsiteY24" fmla="*/ 823 h 1868003"/>
              <a:gd name="connsiteX0" fmla="*/ 207857 w 1223178"/>
              <a:gd name="connsiteY0" fmla="*/ 27324 h 1843403"/>
              <a:gd name="connsiteX1" fmla="*/ 6970 w 1223178"/>
              <a:gd name="connsiteY1" fmla="*/ 685350 h 1843403"/>
              <a:gd name="connsiteX2" fmla="*/ 72284 w 1223178"/>
              <a:gd name="connsiteY2" fmla="*/ 1375815 h 1843403"/>
              <a:gd name="connsiteX3" fmla="*/ 557476 w 1223178"/>
              <a:gd name="connsiteY3" fmla="*/ 1814354 h 1843403"/>
              <a:gd name="connsiteX4" fmla="*/ 818733 w 1223178"/>
              <a:gd name="connsiteY4" fmla="*/ 1749039 h 1843403"/>
              <a:gd name="connsiteX5" fmla="*/ 1154635 w 1223178"/>
              <a:gd name="connsiteY5" fmla="*/ 1319831 h 1843403"/>
              <a:gd name="connsiteX6" fmla="*/ 1219950 w 1223178"/>
              <a:gd name="connsiteY6" fmla="*/ 787986 h 1843403"/>
              <a:gd name="connsiteX7" fmla="*/ 1098652 w 1223178"/>
              <a:gd name="connsiteY7" fmla="*/ 4215 h 1843403"/>
              <a:gd name="connsiteX8" fmla="*/ 1117313 w 1223178"/>
              <a:gd name="connsiteY8" fmla="*/ 498737 h 1843403"/>
              <a:gd name="connsiteX9" fmla="*/ 1117313 w 1223178"/>
              <a:gd name="connsiteY9" fmla="*/ 993260 h 1843403"/>
              <a:gd name="connsiteX10" fmla="*/ 958692 w 1223178"/>
              <a:gd name="connsiteY10" fmla="*/ 1431799 h 1843403"/>
              <a:gd name="connsiteX11" fmla="*/ 762750 w 1223178"/>
              <a:gd name="connsiteY11" fmla="*/ 1665064 h 1843403"/>
              <a:gd name="connsiteX12" fmla="*/ 641452 w 1223178"/>
              <a:gd name="connsiteY12" fmla="*/ 1693056 h 1843403"/>
              <a:gd name="connsiteX13" fmla="*/ 632121 w 1223178"/>
              <a:gd name="connsiteY13" fmla="*/ 1525105 h 1843403"/>
              <a:gd name="connsiteX14" fmla="*/ 734758 w 1223178"/>
              <a:gd name="connsiteY14" fmla="*/ 1291839 h 1843403"/>
              <a:gd name="connsiteX15" fmla="*/ 706766 w 1223178"/>
              <a:gd name="connsiteY15" fmla="*/ 1077235 h 1843403"/>
              <a:gd name="connsiteX16" fmla="*/ 594799 w 1223178"/>
              <a:gd name="connsiteY16" fmla="*/ 666688 h 1843403"/>
              <a:gd name="connsiteX17" fmla="*/ 445509 w 1223178"/>
              <a:gd name="connsiteY17" fmla="*/ 1039913 h 1843403"/>
              <a:gd name="connsiteX18" fmla="*/ 436178 w 1223178"/>
              <a:gd name="connsiteY18" fmla="*/ 1375815 h 1843403"/>
              <a:gd name="connsiteX19" fmla="*/ 529484 w 1223178"/>
              <a:gd name="connsiteY19" fmla="*/ 1553097 h 1843403"/>
              <a:gd name="connsiteX20" fmla="*/ 548145 w 1223178"/>
              <a:gd name="connsiteY20" fmla="*/ 1683725 h 1843403"/>
              <a:gd name="connsiteX21" fmla="*/ 249566 w 1223178"/>
              <a:gd name="connsiteY21" fmla="*/ 1487782 h 1843403"/>
              <a:gd name="connsiteX22" fmla="*/ 100276 w 1223178"/>
              <a:gd name="connsiteY22" fmla="*/ 1049243 h 1843403"/>
              <a:gd name="connsiteX23" fmla="*/ 90945 w 1223178"/>
              <a:gd name="connsiteY23" fmla="*/ 610705 h 1843403"/>
              <a:gd name="connsiteX24" fmla="*/ 207857 w 1223178"/>
              <a:gd name="connsiteY24" fmla="*/ 27324 h 1843403"/>
              <a:gd name="connsiteX0" fmla="*/ 207857 w 1223178"/>
              <a:gd name="connsiteY0" fmla="*/ 27324 h 1843403"/>
              <a:gd name="connsiteX1" fmla="*/ 6970 w 1223178"/>
              <a:gd name="connsiteY1" fmla="*/ 685350 h 1843403"/>
              <a:gd name="connsiteX2" fmla="*/ 72284 w 1223178"/>
              <a:gd name="connsiteY2" fmla="*/ 1375815 h 1843403"/>
              <a:gd name="connsiteX3" fmla="*/ 557476 w 1223178"/>
              <a:gd name="connsiteY3" fmla="*/ 1814354 h 1843403"/>
              <a:gd name="connsiteX4" fmla="*/ 818733 w 1223178"/>
              <a:gd name="connsiteY4" fmla="*/ 1749039 h 1843403"/>
              <a:gd name="connsiteX5" fmla="*/ 1154635 w 1223178"/>
              <a:gd name="connsiteY5" fmla="*/ 1319831 h 1843403"/>
              <a:gd name="connsiteX6" fmla="*/ 1219950 w 1223178"/>
              <a:gd name="connsiteY6" fmla="*/ 787986 h 1843403"/>
              <a:gd name="connsiteX7" fmla="*/ 1098652 w 1223178"/>
              <a:gd name="connsiteY7" fmla="*/ 4215 h 1843403"/>
              <a:gd name="connsiteX8" fmla="*/ 1117313 w 1223178"/>
              <a:gd name="connsiteY8" fmla="*/ 498737 h 1843403"/>
              <a:gd name="connsiteX9" fmla="*/ 1117313 w 1223178"/>
              <a:gd name="connsiteY9" fmla="*/ 993260 h 1843403"/>
              <a:gd name="connsiteX10" fmla="*/ 958692 w 1223178"/>
              <a:gd name="connsiteY10" fmla="*/ 1431799 h 1843403"/>
              <a:gd name="connsiteX11" fmla="*/ 762750 w 1223178"/>
              <a:gd name="connsiteY11" fmla="*/ 1665064 h 1843403"/>
              <a:gd name="connsiteX12" fmla="*/ 641452 w 1223178"/>
              <a:gd name="connsiteY12" fmla="*/ 1693056 h 1843403"/>
              <a:gd name="connsiteX13" fmla="*/ 632121 w 1223178"/>
              <a:gd name="connsiteY13" fmla="*/ 1525105 h 1843403"/>
              <a:gd name="connsiteX14" fmla="*/ 734758 w 1223178"/>
              <a:gd name="connsiteY14" fmla="*/ 1291839 h 1843403"/>
              <a:gd name="connsiteX15" fmla="*/ 706766 w 1223178"/>
              <a:gd name="connsiteY15" fmla="*/ 1077235 h 1843403"/>
              <a:gd name="connsiteX16" fmla="*/ 594799 w 1223178"/>
              <a:gd name="connsiteY16" fmla="*/ 666688 h 1843403"/>
              <a:gd name="connsiteX17" fmla="*/ 445509 w 1223178"/>
              <a:gd name="connsiteY17" fmla="*/ 1039913 h 1843403"/>
              <a:gd name="connsiteX18" fmla="*/ 436178 w 1223178"/>
              <a:gd name="connsiteY18" fmla="*/ 1375815 h 1843403"/>
              <a:gd name="connsiteX19" fmla="*/ 529484 w 1223178"/>
              <a:gd name="connsiteY19" fmla="*/ 1553097 h 1843403"/>
              <a:gd name="connsiteX20" fmla="*/ 548145 w 1223178"/>
              <a:gd name="connsiteY20" fmla="*/ 1683725 h 1843403"/>
              <a:gd name="connsiteX21" fmla="*/ 249566 w 1223178"/>
              <a:gd name="connsiteY21" fmla="*/ 1487782 h 1843403"/>
              <a:gd name="connsiteX22" fmla="*/ 100276 w 1223178"/>
              <a:gd name="connsiteY22" fmla="*/ 1049243 h 1843403"/>
              <a:gd name="connsiteX23" fmla="*/ 90945 w 1223178"/>
              <a:gd name="connsiteY23" fmla="*/ 610705 h 1843403"/>
              <a:gd name="connsiteX24" fmla="*/ 207857 w 1223178"/>
              <a:gd name="connsiteY24" fmla="*/ 27324 h 1843403"/>
              <a:gd name="connsiteX0" fmla="*/ 207857 w 1223178"/>
              <a:gd name="connsiteY0" fmla="*/ 27324 h 1843403"/>
              <a:gd name="connsiteX1" fmla="*/ 6970 w 1223178"/>
              <a:gd name="connsiteY1" fmla="*/ 685350 h 1843403"/>
              <a:gd name="connsiteX2" fmla="*/ 72284 w 1223178"/>
              <a:gd name="connsiteY2" fmla="*/ 1375815 h 1843403"/>
              <a:gd name="connsiteX3" fmla="*/ 557476 w 1223178"/>
              <a:gd name="connsiteY3" fmla="*/ 1814354 h 1843403"/>
              <a:gd name="connsiteX4" fmla="*/ 818733 w 1223178"/>
              <a:gd name="connsiteY4" fmla="*/ 1749039 h 1843403"/>
              <a:gd name="connsiteX5" fmla="*/ 1154635 w 1223178"/>
              <a:gd name="connsiteY5" fmla="*/ 1319831 h 1843403"/>
              <a:gd name="connsiteX6" fmla="*/ 1219950 w 1223178"/>
              <a:gd name="connsiteY6" fmla="*/ 787986 h 1843403"/>
              <a:gd name="connsiteX7" fmla="*/ 1098652 w 1223178"/>
              <a:gd name="connsiteY7" fmla="*/ 4215 h 1843403"/>
              <a:gd name="connsiteX8" fmla="*/ 1117313 w 1223178"/>
              <a:gd name="connsiteY8" fmla="*/ 498737 h 1843403"/>
              <a:gd name="connsiteX9" fmla="*/ 1117313 w 1223178"/>
              <a:gd name="connsiteY9" fmla="*/ 993260 h 1843403"/>
              <a:gd name="connsiteX10" fmla="*/ 958692 w 1223178"/>
              <a:gd name="connsiteY10" fmla="*/ 1431799 h 1843403"/>
              <a:gd name="connsiteX11" fmla="*/ 762750 w 1223178"/>
              <a:gd name="connsiteY11" fmla="*/ 1665064 h 1843403"/>
              <a:gd name="connsiteX12" fmla="*/ 641452 w 1223178"/>
              <a:gd name="connsiteY12" fmla="*/ 1693056 h 1843403"/>
              <a:gd name="connsiteX13" fmla="*/ 632121 w 1223178"/>
              <a:gd name="connsiteY13" fmla="*/ 1525105 h 1843403"/>
              <a:gd name="connsiteX14" fmla="*/ 734758 w 1223178"/>
              <a:gd name="connsiteY14" fmla="*/ 1291839 h 1843403"/>
              <a:gd name="connsiteX15" fmla="*/ 706766 w 1223178"/>
              <a:gd name="connsiteY15" fmla="*/ 1077235 h 1843403"/>
              <a:gd name="connsiteX16" fmla="*/ 594799 w 1223178"/>
              <a:gd name="connsiteY16" fmla="*/ 666688 h 1843403"/>
              <a:gd name="connsiteX17" fmla="*/ 445509 w 1223178"/>
              <a:gd name="connsiteY17" fmla="*/ 1039913 h 1843403"/>
              <a:gd name="connsiteX18" fmla="*/ 436178 w 1223178"/>
              <a:gd name="connsiteY18" fmla="*/ 1375815 h 1843403"/>
              <a:gd name="connsiteX19" fmla="*/ 529484 w 1223178"/>
              <a:gd name="connsiteY19" fmla="*/ 1553097 h 1843403"/>
              <a:gd name="connsiteX20" fmla="*/ 548145 w 1223178"/>
              <a:gd name="connsiteY20" fmla="*/ 1683725 h 1843403"/>
              <a:gd name="connsiteX21" fmla="*/ 249566 w 1223178"/>
              <a:gd name="connsiteY21" fmla="*/ 1487782 h 1843403"/>
              <a:gd name="connsiteX22" fmla="*/ 100276 w 1223178"/>
              <a:gd name="connsiteY22" fmla="*/ 1049243 h 1843403"/>
              <a:gd name="connsiteX23" fmla="*/ 90945 w 1223178"/>
              <a:gd name="connsiteY23" fmla="*/ 610705 h 1843403"/>
              <a:gd name="connsiteX24" fmla="*/ 207857 w 1223178"/>
              <a:gd name="connsiteY24" fmla="*/ 27324 h 1843403"/>
              <a:gd name="connsiteX0" fmla="*/ 207857 w 1223178"/>
              <a:gd name="connsiteY0" fmla="*/ 27324 h 1843403"/>
              <a:gd name="connsiteX1" fmla="*/ 6970 w 1223178"/>
              <a:gd name="connsiteY1" fmla="*/ 685350 h 1843403"/>
              <a:gd name="connsiteX2" fmla="*/ 72284 w 1223178"/>
              <a:gd name="connsiteY2" fmla="*/ 1375815 h 1843403"/>
              <a:gd name="connsiteX3" fmla="*/ 557476 w 1223178"/>
              <a:gd name="connsiteY3" fmla="*/ 1814354 h 1843403"/>
              <a:gd name="connsiteX4" fmla="*/ 818733 w 1223178"/>
              <a:gd name="connsiteY4" fmla="*/ 1749039 h 1843403"/>
              <a:gd name="connsiteX5" fmla="*/ 1154635 w 1223178"/>
              <a:gd name="connsiteY5" fmla="*/ 1319831 h 1843403"/>
              <a:gd name="connsiteX6" fmla="*/ 1219950 w 1223178"/>
              <a:gd name="connsiteY6" fmla="*/ 787986 h 1843403"/>
              <a:gd name="connsiteX7" fmla="*/ 1098652 w 1223178"/>
              <a:gd name="connsiteY7" fmla="*/ 4215 h 1843403"/>
              <a:gd name="connsiteX8" fmla="*/ 1117313 w 1223178"/>
              <a:gd name="connsiteY8" fmla="*/ 498737 h 1843403"/>
              <a:gd name="connsiteX9" fmla="*/ 1117313 w 1223178"/>
              <a:gd name="connsiteY9" fmla="*/ 993260 h 1843403"/>
              <a:gd name="connsiteX10" fmla="*/ 958692 w 1223178"/>
              <a:gd name="connsiteY10" fmla="*/ 1431799 h 1843403"/>
              <a:gd name="connsiteX11" fmla="*/ 762750 w 1223178"/>
              <a:gd name="connsiteY11" fmla="*/ 1665064 h 1843403"/>
              <a:gd name="connsiteX12" fmla="*/ 641452 w 1223178"/>
              <a:gd name="connsiteY12" fmla="*/ 1693056 h 1843403"/>
              <a:gd name="connsiteX13" fmla="*/ 632121 w 1223178"/>
              <a:gd name="connsiteY13" fmla="*/ 1525105 h 1843403"/>
              <a:gd name="connsiteX14" fmla="*/ 734758 w 1223178"/>
              <a:gd name="connsiteY14" fmla="*/ 1291839 h 1843403"/>
              <a:gd name="connsiteX15" fmla="*/ 706766 w 1223178"/>
              <a:gd name="connsiteY15" fmla="*/ 1077235 h 1843403"/>
              <a:gd name="connsiteX16" fmla="*/ 594799 w 1223178"/>
              <a:gd name="connsiteY16" fmla="*/ 666688 h 1843403"/>
              <a:gd name="connsiteX17" fmla="*/ 445509 w 1223178"/>
              <a:gd name="connsiteY17" fmla="*/ 1039913 h 1843403"/>
              <a:gd name="connsiteX18" fmla="*/ 436178 w 1223178"/>
              <a:gd name="connsiteY18" fmla="*/ 1375815 h 1843403"/>
              <a:gd name="connsiteX19" fmla="*/ 529484 w 1223178"/>
              <a:gd name="connsiteY19" fmla="*/ 1553097 h 1843403"/>
              <a:gd name="connsiteX20" fmla="*/ 548145 w 1223178"/>
              <a:gd name="connsiteY20" fmla="*/ 1683725 h 1843403"/>
              <a:gd name="connsiteX21" fmla="*/ 249566 w 1223178"/>
              <a:gd name="connsiteY21" fmla="*/ 1487782 h 1843403"/>
              <a:gd name="connsiteX22" fmla="*/ 100276 w 1223178"/>
              <a:gd name="connsiteY22" fmla="*/ 1049243 h 1843403"/>
              <a:gd name="connsiteX23" fmla="*/ 90945 w 1223178"/>
              <a:gd name="connsiteY23" fmla="*/ 610705 h 1843403"/>
              <a:gd name="connsiteX24" fmla="*/ 207857 w 1223178"/>
              <a:gd name="connsiteY24" fmla="*/ 27324 h 1843403"/>
              <a:gd name="connsiteX0" fmla="*/ 207857 w 1223178"/>
              <a:gd name="connsiteY0" fmla="*/ 27324 h 1843403"/>
              <a:gd name="connsiteX1" fmla="*/ 6970 w 1223178"/>
              <a:gd name="connsiteY1" fmla="*/ 685350 h 1843403"/>
              <a:gd name="connsiteX2" fmla="*/ 72284 w 1223178"/>
              <a:gd name="connsiteY2" fmla="*/ 1375815 h 1843403"/>
              <a:gd name="connsiteX3" fmla="*/ 557476 w 1223178"/>
              <a:gd name="connsiteY3" fmla="*/ 1814354 h 1843403"/>
              <a:gd name="connsiteX4" fmla="*/ 818733 w 1223178"/>
              <a:gd name="connsiteY4" fmla="*/ 1749039 h 1843403"/>
              <a:gd name="connsiteX5" fmla="*/ 1154635 w 1223178"/>
              <a:gd name="connsiteY5" fmla="*/ 1319831 h 1843403"/>
              <a:gd name="connsiteX6" fmla="*/ 1219950 w 1223178"/>
              <a:gd name="connsiteY6" fmla="*/ 787986 h 1843403"/>
              <a:gd name="connsiteX7" fmla="*/ 1098652 w 1223178"/>
              <a:gd name="connsiteY7" fmla="*/ 4215 h 1843403"/>
              <a:gd name="connsiteX8" fmla="*/ 1117313 w 1223178"/>
              <a:gd name="connsiteY8" fmla="*/ 498737 h 1843403"/>
              <a:gd name="connsiteX9" fmla="*/ 1117313 w 1223178"/>
              <a:gd name="connsiteY9" fmla="*/ 993260 h 1843403"/>
              <a:gd name="connsiteX10" fmla="*/ 958692 w 1223178"/>
              <a:gd name="connsiteY10" fmla="*/ 1431799 h 1843403"/>
              <a:gd name="connsiteX11" fmla="*/ 762750 w 1223178"/>
              <a:gd name="connsiteY11" fmla="*/ 1665064 h 1843403"/>
              <a:gd name="connsiteX12" fmla="*/ 641452 w 1223178"/>
              <a:gd name="connsiteY12" fmla="*/ 1693056 h 1843403"/>
              <a:gd name="connsiteX13" fmla="*/ 632121 w 1223178"/>
              <a:gd name="connsiteY13" fmla="*/ 1525105 h 1843403"/>
              <a:gd name="connsiteX14" fmla="*/ 734758 w 1223178"/>
              <a:gd name="connsiteY14" fmla="*/ 1291839 h 1843403"/>
              <a:gd name="connsiteX15" fmla="*/ 706766 w 1223178"/>
              <a:gd name="connsiteY15" fmla="*/ 1077235 h 1843403"/>
              <a:gd name="connsiteX16" fmla="*/ 594799 w 1223178"/>
              <a:gd name="connsiteY16" fmla="*/ 666688 h 1843403"/>
              <a:gd name="connsiteX17" fmla="*/ 445509 w 1223178"/>
              <a:gd name="connsiteY17" fmla="*/ 1039913 h 1843403"/>
              <a:gd name="connsiteX18" fmla="*/ 436178 w 1223178"/>
              <a:gd name="connsiteY18" fmla="*/ 1375815 h 1843403"/>
              <a:gd name="connsiteX19" fmla="*/ 529484 w 1223178"/>
              <a:gd name="connsiteY19" fmla="*/ 1553097 h 1843403"/>
              <a:gd name="connsiteX20" fmla="*/ 548145 w 1223178"/>
              <a:gd name="connsiteY20" fmla="*/ 1683725 h 1843403"/>
              <a:gd name="connsiteX21" fmla="*/ 249566 w 1223178"/>
              <a:gd name="connsiteY21" fmla="*/ 1487782 h 1843403"/>
              <a:gd name="connsiteX22" fmla="*/ 100276 w 1223178"/>
              <a:gd name="connsiteY22" fmla="*/ 1049243 h 1843403"/>
              <a:gd name="connsiteX23" fmla="*/ 90945 w 1223178"/>
              <a:gd name="connsiteY23" fmla="*/ 610705 h 1843403"/>
              <a:gd name="connsiteX24" fmla="*/ 207857 w 1223178"/>
              <a:gd name="connsiteY24" fmla="*/ 27324 h 1843403"/>
              <a:gd name="connsiteX0" fmla="*/ 295175 w 1223178"/>
              <a:gd name="connsiteY0" fmla="*/ 0 h 1903399"/>
              <a:gd name="connsiteX1" fmla="*/ 6970 w 1223178"/>
              <a:gd name="connsiteY1" fmla="*/ 745346 h 1903399"/>
              <a:gd name="connsiteX2" fmla="*/ 72284 w 1223178"/>
              <a:gd name="connsiteY2" fmla="*/ 1435811 h 1903399"/>
              <a:gd name="connsiteX3" fmla="*/ 557476 w 1223178"/>
              <a:gd name="connsiteY3" fmla="*/ 1874350 h 1903399"/>
              <a:gd name="connsiteX4" fmla="*/ 818733 w 1223178"/>
              <a:gd name="connsiteY4" fmla="*/ 1809035 h 1903399"/>
              <a:gd name="connsiteX5" fmla="*/ 1154635 w 1223178"/>
              <a:gd name="connsiteY5" fmla="*/ 1379827 h 1903399"/>
              <a:gd name="connsiteX6" fmla="*/ 1219950 w 1223178"/>
              <a:gd name="connsiteY6" fmla="*/ 847982 h 1903399"/>
              <a:gd name="connsiteX7" fmla="*/ 1098652 w 1223178"/>
              <a:gd name="connsiteY7" fmla="*/ 64211 h 1903399"/>
              <a:gd name="connsiteX8" fmla="*/ 1117313 w 1223178"/>
              <a:gd name="connsiteY8" fmla="*/ 558733 h 1903399"/>
              <a:gd name="connsiteX9" fmla="*/ 1117313 w 1223178"/>
              <a:gd name="connsiteY9" fmla="*/ 1053256 h 1903399"/>
              <a:gd name="connsiteX10" fmla="*/ 958692 w 1223178"/>
              <a:gd name="connsiteY10" fmla="*/ 1491795 h 1903399"/>
              <a:gd name="connsiteX11" fmla="*/ 762750 w 1223178"/>
              <a:gd name="connsiteY11" fmla="*/ 1725060 h 1903399"/>
              <a:gd name="connsiteX12" fmla="*/ 641452 w 1223178"/>
              <a:gd name="connsiteY12" fmla="*/ 1753052 h 1903399"/>
              <a:gd name="connsiteX13" fmla="*/ 632121 w 1223178"/>
              <a:gd name="connsiteY13" fmla="*/ 1585101 h 1903399"/>
              <a:gd name="connsiteX14" fmla="*/ 734758 w 1223178"/>
              <a:gd name="connsiteY14" fmla="*/ 1351835 h 1903399"/>
              <a:gd name="connsiteX15" fmla="*/ 706766 w 1223178"/>
              <a:gd name="connsiteY15" fmla="*/ 1137231 h 1903399"/>
              <a:gd name="connsiteX16" fmla="*/ 594799 w 1223178"/>
              <a:gd name="connsiteY16" fmla="*/ 726684 h 1903399"/>
              <a:gd name="connsiteX17" fmla="*/ 445509 w 1223178"/>
              <a:gd name="connsiteY17" fmla="*/ 1099909 h 1903399"/>
              <a:gd name="connsiteX18" fmla="*/ 436178 w 1223178"/>
              <a:gd name="connsiteY18" fmla="*/ 1435811 h 1903399"/>
              <a:gd name="connsiteX19" fmla="*/ 529484 w 1223178"/>
              <a:gd name="connsiteY19" fmla="*/ 1613093 h 1903399"/>
              <a:gd name="connsiteX20" fmla="*/ 548145 w 1223178"/>
              <a:gd name="connsiteY20" fmla="*/ 1743721 h 1903399"/>
              <a:gd name="connsiteX21" fmla="*/ 249566 w 1223178"/>
              <a:gd name="connsiteY21" fmla="*/ 1547778 h 1903399"/>
              <a:gd name="connsiteX22" fmla="*/ 100276 w 1223178"/>
              <a:gd name="connsiteY22" fmla="*/ 1109239 h 1903399"/>
              <a:gd name="connsiteX23" fmla="*/ 90945 w 1223178"/>
              <a:gd name="connsiteY23" fmla="*/ 670701 h 1903399"/>
              <a:gd name="connsiteX24" fmla="*/ 295175 w 1223178"/>
              <a:gd name="connsiteY24" fmla="*/ 0 h 1903399"/>
              <a:gd name="connsiteX0" fmla="*/ 292673 w 1220676"/>
              <a:gd name="connsiteY0" fmla="*/ 0 h 1903399"/>
              <a:gd name="connsiteX1" fmla="*/ 7873 w 1220676"/>
              <a:gd name="connsiteY1" fmla="*/ 657928 h 1903399"/>
              <a:gd name="connsiteX2" fmla="*/ 69782 w 1220676"/>
              <a:gd name="connsiteY2" fmla="*/ 1435811 h 1903399"/>
              <a:gd name="connsiteX3" fmla="*/ 554974 w 1220676"/>
              <a:gd name="connsiteY3" fmla="*/ 1874350 h 1903399"/>
              <a:gd name="connsiteX4" fmla="*/ 816231 w 1220676"/>
              <a:gd name="connsiteY4" fmla="*/ 1809035 h 1903399"/>
              <a:gd name="connsiteX5" fmla="*/ 1152133 w 1220676"/>
              <a:gd name="connsiteY5" fmla="*/ 1379827 h 1903399"/>
              <a:gd name="connsiteX6" fmla="*/ 1217448 w 1220676"/>
              <a:gd name="connsiteY6" fmla="*/ 847982 h 1903399"/>
              <a:gd name="connsiteX7" fmla="*/ 1096150 w 1220676"/>
              <a:gd name="connsiteY7" fmla="*/ 64211 h 1903399"/>
              <a:gd name="connsiteX8" fmla="*/ 1114811 w 1220676"/>
              <a:gd name="connsiteY8" fmla="*/ 558733 h 1903399"/>
              <a:gd name="connsiteX9" fmla="*/ 1114811 w 1220676"/>
              <a:gd name="connsiteY9" fmla="*/ 1053256 h 1903399"/>
              <a:gd name="connsiteX10" fmla="*/ 956190 w 1220676"/>
              <a:gd name="connsiteY10" fmla="*/ 1491795 h 1903399"/>
              <a:gd name="connsiteX11" fmla="*/ 760248 w 1220676"/>
              <a:gd name="connsiteY11" fmla="*/ 1725060 h 1903399"/>
              <a:gd name="connsiteX12" fmla="*/ 638950 w 1220676"/>
              <a:gd name="connsiteY12" fmla="*/ 1753052 h 1903399"/>
              <a:gd name="connsiteX13" fmla="*/ 629619 w 1220676"/>
              <a:gd name="connsiteY13" fmla="*/ 1585101 h 1903399"/>
              <a:gd name="connsiteX14" fmla="*/ 732256 w 1220676"/>
              <a:gd name="connsiteY14" fmla="*/ 1351835 h 1903399"/>
              <a:gd name="connsiteX15" fmla="*/ 704264 w 1220676"/>
              <a:gd name="connsiteY15" fmla="*/ 1137231 h 1903399"/>
              <a:gd name="connsiteX16" fmla="*/ 592297 w 1220676"/>
              <a:gd name="connsiteY16" fmla="*/ 726684 h 1903399"/>
              <a:gd name="connsiteX17" fmla="*/ 443007 w 1220676"/>
              <a:gd name="connsiteY17" fmla="*/ 1099909 h 1903399"/>
              <a:gd name="connsiteX18" fmla="*/ 433676 w 1220676"/>
              <a:gd name="connsiteY18" fmla="*/ 1435811 h 1903399"/>
              <a:gd name="connsiteX19" fmla="*/ 526982 w 1220676"/>
              <a:gd name="connsiteY19" fmla="*/ 1613093 h 1903399"/>
              <a:gd name="connsiteX20" fmla="*/ 545643 w 1220676"/>
              <a:gd name="connsiteY20" fmla="*/ 1743721 h 1903399"/>
              <a:gd name="connsiteX21" fmla="*/ 247064 w 1220676"/>
              <a:gd name="connsiteY21" fmla="*/ 1547778 h 1903399"/>
              <a:gd name="connsiteX22" fmla="*/ 97774 w 1220676"/>
              <a:gd name="connsiteY22" fmla="*/ 1109239 h 1903399"/>
              <a:gd name="connsiteX23" fmla="*/ 88443 w 1220676"/>
              <a:gd name="connsiteY23" fmla="*/ 670701 h 1903399"/>
              <a:gd name="connsiteX24" fmla="*/ 292673 w 1220676"/>
              <a:gd name="connsiteY24" fmla="*/ 0 h 1903399"/>
              <a:gd name="connsiteX0" fmla="*/ 286308 w 1214311"/>
              <a:gd name="connsiteY0" fmla="*/ 0 h 1882404"/>
              <a:gd name="connsiteX1" fmla="*/ 1508 w 1214311"/>
              <a:gd name="connsiteY1" fmla="*/ 657928 h 1882404"/>
              <a:gd name="connsiteX2" fmla="*/ 63417 w 1214311"/>
              <a:gd name="connsiteY2" fmla="*/ 1435811 h 1882404"/>
              <a:gd name="connsiteX3" fmla="*/ 284343 w 1214311"/>
              <a:gd name="connsiteY3" fmla="*/ 1719631 h 1882404"/>
              <a:gd name="connsiteX4" fmla="*/ 548609 w 1214311"/>
              <a:gd name="connsiteY4" fmla="*/ 1874350 h 1882404"/>
              <a:gd name="connsiteX5" fmla="*/ 809866 w 1214311"/>
              <a:gd name="connsiteY5" fmla="*/ 1809035 h 1882404"/>
              <a:gd name="connsiteX6" fmla="*/ 1145768 w 1214311"/>
              <a:gd name="connsiteY6" fmla="*/ 1379827 h 1882404"/>
              <a:gd name="connsiteX7" fmla="*/ 1211083 w 1214311"/>
              <a:gd name="connsiteY7" fmla="*/ 847982 h 1882404"/>
              <a:gd name="connsiteX8" fmla="*/ 1089785 w 1214311"/>
              <a:gd name="connsiteY8" fmla="*/ 64211 h 1882404"/>
              <a:gd name="connsiteX9" fmla="*/ 1108446 w 1214311"/>
              <a:gd name="connsiteY9" fmla="*/ 558733 h 1882404"/>
              <a:gd name="connsiteX10" fmla="*/ 1108446 w 1214311"/>
              <a:gd name="connsiteY10" fmla="*/ 1053256 h 1882404"/>
              <a:gd name="connsiteX11" fmla="*/ 949825 w 1214311"/>
              <a:gd name="connsiteY11" fmla="*/ 1491795 h 1882404"/>
              <a:gd name="connsiteX12" fmla="*/ 753883 w 1214311"/>
              <a:gd name="connsiteY12" fmla="*/ 1725060 h 1882404"/>
              <a:gd name="connsiteX13" fmla="*/ 632585 w 1214311"/>
              <a:gd name="connsiteY13" fmla="*/ 1753052 h 1882404"/>
              <a:gd name="connsiteX14" fmla="*/ 623254 w 1214311"/>
              <a:gd name="connsiteY14" fmla="*/ 1585101 h 1882404"/>
              <a:gd name="connsiteX15" fmla="*/ 725891 w 1214311"/>
              <a:gd name="connsiteY15" fmla="*/ 1351835 h 1882404"/>
              <a:gd name="connsiteX16" fmla="*/ 697899 w 1214311"/>
              <a:gd name="connsiteY16" fmla="*/ 1137231 h 1882404"/>
              <a:gd name="connsiteX17" fmla="*/ 585932 w 1214311"/>
              <a:gd name="connsiteY17" fmla="*/ 726684 h 1882404"/>
              <a:gd name="connsiteX18" fmla="*/ 436642 w 1214311"/>
              <a:gd name="connsiteY18" fmla="*/ 1099909 h 1882404"/>
              <a:gd name="connsiteX19" fmla="*/ 427311 w 1214311"/>
              <a:gd name="connsiteY19" fmla="*/ 1435811 h 1882404"/>
              <a:gd name="connsiteX20" fmla="*/ 520617 w 1214311"/>
              <a:gd name="connsiteY20" fmla="*/ 1613093 h 1882404"/>
              <a:gd name="connsiteX21" fmla="*/ 539278 w 1214311"/>
              <a:gd name="connsiteY21" fmla="*/ 1743721 h 1882404"/>
              <a:gd name="connsiteX22" fmla="*/ 240699 w 1214311"/>
              <a:gd name="connsiteY22" fmla="*/ 1547778 h 1882404"/>
              <a:gd name="connsiteX23" fmla="*/ 91409 w 1214311"/>
              <a:gd name="connsiteY23" fmla="*/ 1109239 h 1882404"/>
              <a:gd name="connsiteX24" fmla="*/ 82078 w 1214311"/>
              <a:gd name="connsiteY24" fmla="*/ 670701 h 1882404"/>
              <a:gd name="connsiteX25" fmla="*/ 286308 w 1214311"/>
              <a:gd name="connsiteY25" fmla="*/ 0 h 1882404"/>
              <a:gd name="connsiteX0" fmla="*/ 286102 w 1214105"/>
              <a:gd name="connsiteY0" fmla="*/ 0 h 1879362"/>
              <a:gd name="connsiteX1" fmla="*/ 1302 w 1214105"/>
              <a:gd name="connsiteY1" fmla="*/ 657928 h 1879362"/>
              <a:gd name="connsiteX2" fmla="*/ 63211 w 1214105"/>
              <a:gd name="connsiteY2" fmla="*/ 1435811 h 1879362"/>
              <a:gd name="connsiteX3" fmla="*/ 252227 w 1214105"/>
              <a:gd name="connsiteY3" fmla="*/ 1760875 h 1879362"/>
              <a:gd name="connsiteX4" fmla="*/ 548403 w 1214105"/>
              <a:gd name="connsiteY4" fmla="*/ 1874350 h 1879362"/>
              <a:gd name="connsiteX5" fmla="*/ 809660 w 1214105"/>
              <a:gd name="connsiteY5" fmla="*/ 1809035 h 1879362"/>
              <a:gd name="connsiteX6" fmla="*/ 1145562 w 1214105"/>
              <a:gd name="connsiteY6" fmla="*/ 1379827 h 1879362"/>
              <a:gd name="connsiteX7" fmla="*/ 1210877 w 1214105"/>
              <a:gd name="connsiteY7" fmla="*/ 847982 h 1879362"/>
              <a:gd name="connsiteX8" fmla="*/ 1089579 w 1214105"/>
              <a:gd name="connsiteY8" fmla="*/ 64211 h 1879362"/>
              <a:gd name="connsiteX9" fmla="*/ 1108240 w 1214105"/>
              <a:gd name="connsiteY9" fmla="*/ 558733 h 1879362"/>
              <a:gd name="connsiteX10" fmla="*/ 1108240 w 1214105"/>
              <a:gd name="connsiteY10" fmla="*/ 1053256 h 1879362"/>
              <a:gd name="connsiteX11" fmla="*/ 949619 w 1214105"/>
              <a:gd name="connsiteY11" fmla="*/ 1491795 h 1879362"/>
              <a:gd name="connsiteX12" fmla="*/ 753677 w 1214105"/>
              <a:gd name="connsiteY12" fmla="*/ 1725060 h 1879362"/>
              <a:gd name="connsiteX13" fmla="*/ 632379 w 1214105"/>
              <a:gd name="connsiteY13" fmla="*/ 1753052 h 1879362"/>
              <a:gd name="connsiteX14" fmla="*/ 623048 w 1214105"/>
              <a:gd name="connsiteY14" fmla="*/ 1585101 h 1879362"/>
              <a:gd name="connsiteX15" fmla="*/ 725685 w 1214105"/>
              <a:gd name="connsiteY15" fmla="*/ 1351835 h 1879362"/>
              <a:gd name="connsiteX16" fmla="*/ 697693 w 1214105"/>
              <a:gd name="connsiteY16" fmla="*/ 1137231 h 1879362"/>
              <a:gd name="connsiteX17" fmla="*/ 585726 w 1214105"/>
              <a:gd name="connsiteY17" fmla="*/ 726684 h 1879362"/>
              <a:gd name="connsiteX18" fmla="*/ 436436 w 1214105"/>
              <a:gd name="connsiteY18" fmla="*/ 1099909 h 1879362"/>
              <a:gd name="connsiteX19" fmla="*/ 427105 w 1214105"/>
              <a:gd name="connsiteY19" fmla="*/ 1435811 h 1879362"/>
              <a:gd name="connsiteX20" fmla="*/ 520411 w 1214105"/>
              <a:gd name="connsiteY20" fmla="*/ 1613093 h 1879362"/>
              <a:gd name="connsiteX21" fmla="*/ 539072 w 1214105"/>
              <a:gd name="connsiteY21" fmla="*/ 1743721 h 1879362"/>
              <a:gd name="connsiteX22" fmla="*/ 240493 w 1214105"/>
              <a:gd name="connsiteY22" fmla="*/ 1547778 h 1879362"/>
              <a:gd name="connsiteX23" fmla="*/ 91203 w 1214105"/>
              <a:gd name="connsiteY23" fmla="*/ 1109239 h 1879362"/>
              <a:gd name="connsiteX24" fmla="*/ 81872 w 1214105"/>
              <a:gd name="connsiteY24" fmla="*/ 670701 h 1879362"/>
              <a:gd name="connsiteX25" fmla="*/ 286102 w 1214105"/>
              <a:gd name="connsiteY25" fmla="*/ 0 h 1879362"/>
              <a:gd name="connsiteX0" fmla="*/ 293442 w 1221445"/>
              <a:gd name="connsiteY0" fmla="*/ 0 h 1879362"/>
              <a:gd name="connsiteX1" fmla="*/ 8642 w 1221445"/>
              <a:gd name="connsiteY1" fmla="*/ 657928 h 1879362"/>
              <a:gd name="connsiteX2" fmla="*/ 28696 w 1221445"/>
              <a:gd name="connsiteY2" fmla="*/ 1253636 h 1879362"/>
              <a:gd name="connsiteX3" fmla="*/ 259567 w 1221445"/>
              <a:gd name="connsiteY3" fmla="*/ 1760875 h 1879362"/>
              <a:gd name="connsiteX4" fmla="*/ 555743 w 1221445"/>
              <a:gd name="connsiteY4" fmla="*/ 1874350 h 1879362"/>
              <a:gd name="connsiteX5" fmla="*/ 817000 w 1221445"/>
              <a:gd name="connsiteY5" fmla="*/ 1809035 h 1879362"/>
              <a:gd name="connsiteX6" fmla="*/ 1152902 w 1221445"/>
              <a:gd name="connsiteY6" fmla="*/ 1379827 h 1879362"/>
              <a:gd name="connsiteX7" fmla="*/ 1218217 w 1221445"/>
              <a:gd name="connsiteY7" fmla="*/ 847982 h 1879362"/>
              <a:gd name="connsiteX8" fmla="*/ 1096919 w 1221445"/>
              <a:gd name="connsiteY8" fmla="*/ 64211 h 1879362"/>
              <a:gd name="connsiteX9" fmla="*/ 1115580 w 1221445"/>
              <a:gd name="connsiteY9" fmla="*/ 558733 h 1879362"/>
              <a:gd name="connsiteX10" fmla="*/ 1115580 w 1221445"/>
              <a:gd name="connsiteY10" fmla="*/ 1053256 h 1879362"/>
              <a:gd name="connsiteX11" fmla="*/ 956959 w 1221445"/>
              <a:gd name="connsiteY11" fmla="*/ 1491795 h 1879362"/>
              <a:gd name="connsiteX12" fmla="*/ 761017 w 1221445"/>
              <a:gd name="connsiteY12" fmla="*/ 1725060 h 1879362"/>
              <a:gd name="connsiteX13" fmla="*/ 639719 w 1221445"/>
              <a:gd name="connsiteY13" fmla="*/ 1753052 h 1879362"/>
              <a:gd name="connsiteX14" fmla="*/ 630388 w 1221445"/>
              <a:gd name="connsiteY14" fmla="*/ 1585101 h 1879362"/>
              <a:gd name="connsiteX15" fmla="*/ 733025 w 1221445"/>
              <a:gd name="connsiteY15" fmla="*/ 1351835 h 1879362"/>
              <a:gd name="connsiteX16" fmla="*/ 705033 w 1221445"/>
              <a:gd name="connsiteY16" fmla="*/ 1137231 h 1879362"/>
              <a:gd name="connsiteX17" fmla="*/ 593066 w 1221445"/>
              <a:gd name="connsiteY17" fmla="*/ 726684 h 1879362"/>
              <a:gd name="connsiteX18" fmla="*/ 443776 w 1221445"/>
              <a:gd name="connsiteY18" fmla="*/ 1099909 h 1879362"/>
              <a:gd name="connsiteX19" fmla="*/ 434445 w 1221445"/>
              <a:gd name="connsiteY19" fmla="*/ 1435811 h 1879362"/>
              <a:gd name="connsiteX20" fmla="*/ 527751 w 1221445"/>
              <a:gd name="connsiteY20" fmla="*/ 1613093 h 1879362"/>
              <a:gd name="connsiteX21" fmla="*/ 546412 w 1221445"/>
              <a:gd name="connsiteY21" fmla="*/ 1743721 h 1879362"/>
              <a:gd name="connsiteX22" fmla="*/ 247833 w 1221445"/>
              <a:gd name="connsiteY22" fmla="*/ 1547778 h 1879362"/>
              <a:gd name="connsiteX23" fmla="*/ 98543 w 1221445"/>
              <a:gd name="connsiteY23" fmla="*/ 1109239 h 1879362"/>
              <a:gd name="connsiteX24" fmla="*/ 89212 w 1221445"/>
              <a:gd name="connsiteY24" fmla="*/ 670701 h 1879362"/>
              <a:gd name="connsiteX25" fmla="*/ 293442 w 1221445"/>
              <a:gd name="connsiteY25" fmla="*/ 0 h 1879362"/>
              <a:gd name="connsiteX0" fmla="*/ 293442 w 1249599"/>
              <a:gd name="connsiteY0" fmla="*/ 15185 h 1894547"/>
              <a:gd name="connsiteX1" fmla="*/ 8642 w 1249599"/>
              <a:gd name="connsiteY1" fmla="*/ 673113 h 1894547"/>
              <a:gd name="connsiteX2" fmla="*/ 28696 w 1249599"/>
              <a:gd name="connsiteY2" fmla="*/ 1268821 h 1894547"/>
              <a:gd name="connsiteX3" fmla="*/ 259567 w 1249599"/>
              <a:gd name="connsiteY3" fmla="*/ 1776060 h 1894547"/>
              <a:gd name="connsiteX4" fmla="*/ 555743 w 1249599"/>
              <a:gd name="connsiteY4" fmla="*/ 1889535 h 1894547"/>
              <a:gd name="connsiteX5" fmla="*/ 817000 w 1249599"/>
              <a:gd name="connsiteY5" fmla="*/ 1824220 h 1894547"/>
              <a:gd name="connsiteX6" fmla="*/ 1152902 w 1249599"/>
              <a:gd name="connsiteY6" fmla="*/ 1395012 h 1894547"/>
              <a:gd name="connsiteX7" fmla="*/ 1218217 w 1249599"/>
              <a:gd name="connsiteY7" fmla="*/ 863167 h 1894547"/>
              <a:gd name="connsiteX8" fmla="*/ 705930 w 1249599"/>
              <a:gd name="connsiteY8" fmla="*/ 3658 h 1894547"/>
              <a:gd name="connsiteX9" fmla="*/ 1115580 w 1249599"/>
              <a:gd name="connsiteY9" fmla="*/ 573918 h 1894547"/>
              <a:gd name="connsiteX10" fmla="*/ 1115580 w 1249599"/>
              <a:gd name="connsiteY10" fmla="*/ 1068441 h 1894547"/>
              <a:gd name="connsiteX11" fmla="*/ 956959 w 1249599"/>
              <a:gd name="connsiteY11" fmla="*/ 1506980 h 1894547"/>
              <a:gd name="connsiteX12" fmla="*/ 761017 w 1249599"/>
              <a:gd name="connsiteY12" fmla="*/ 1740245 h 1894547"/>
              <a:gd name="connsiteX13" fmla="*/ 639719 w 1249599"/>
              <a:gd name="connsiteY13" fmla="*/ 1768237 h 1894547"/>
              <a:gd name="connsiteX14" fmla="*/ 630388 w 1249599"/>
              <a:gd name="connsiteY14" fmla="*/ 1600286 h 1894547"/>
              <a:gd name="connsiteX15" fmla="*/ 733025 w 1249599"/>
              <a:gd name="connsiteY15" fmla="*/ 1367020 h 1894547"/>
              <a:gd name="connsiteX16" fmla="*/ 705033 w 1249599"/>
              <a:gd name="connsiteY16" fmla="*/ 1152416 h 1894547"/>
              <a:gd name="connsiteX17" fmla="*/ 593066 w 1249599"/>
              <a:gd name="connsiteY17" fmla="*/ 741869 h 1894547"/>
              <a:gd name="connsiteX18" fmla="*/ 443776 w 1249599"/>
              <a:gd name="connsiteY18" fmla="*/ 1115094 h 1894547"/>
              <a:gd name="connsiteX19" fmla="*/ 434445 w 1249599"/>
              <a:gd name="connsiteY19" fmla="*/ 1450996 h 1894547"/>
              <a:gd name="connsiteX20" fmla="*/ 527751 w 1249599"/>
              <a:gd name="connsiteY20" fmla="*/ 1628278 h 1894547"/>
              <a:gd name="connsiteX21" fmla="*/ 546412 w 1249599"/>
              <a:gd name="connsiteY21" fmla="*/ 1758906 h 1894547"/>
              <a:gd name="connsiteX22" fmla="*/ 247833 w 1249599"/>
              <a:gd name="connsiteY22" fmla="*/ 1562963 h 1894547"/>
              <a:gd name="connsiteX23" fmla="*/ 98543 w 1249599"/>
              <a:gd name="connsiteY23" fmla="*/ 1124424 h 1894547"/>
              <a:gd name="connsiteX24" fmla="*/ 89212 w 1249599"/>
              <a:gd name="connsiteY24" fmla="*/ 685886 h 1894547"/>
              <a:gd name="connsiteX25" fmla="*/ 293442 w 1249599"/>
              <a:gd name="connsiteY25" fmla="*/ 15185 h 1894547"/>
              <a:gd name="connsiteX0" fmla="*/ 293442 w 1249599"/>
              <a:gd name="connsiteY0" fmla="*/ 14306 h 1893668"/>
              <a:gd name="connsiteX1" fmla="*/ 8642 w 1249599"/>
              <a:gd name="connsiteY1" fmla="*/ 672234 h 1893668"/>
              <a:gd name="connsiteX2" fmla="*/ 28696 w 1249599"/>
              <a:gd name="connsiteY2" fmla="*/ 1267942 h 1893668"/>
              <a:gd name="connsiteX3" fmla="*/ 259567 w 1249599"/>
              <a:gd name="connsiteY3" fmla="*/ 1775181 h 1893668"/>
              <a:gd name="connsiteX4" fmla="*/ 555743 w 1249599"/>
              <a:gd name="connsiteY4" fmla="*/ 1888656 h 1893668"/>
              <a:gd name="connsiteX5" fmla="*/ 817000 w 1249599"/>
              <a:gd name="connsiteY5" fmla="*/ 1823341 h 1893668"/>
              <a:gd name="connsiteX6" fmla="*/ 1152902 w 1249599"/>
              <a:gd name="connsiteY6" fmla="*/ 1394133 h 1893668"/>
              <a:gd name="connsiteX7" fmla="*/ 1218217 w 1249599"/>
              <a:gd name="connsiteY7" fmla="*/ 862288 h 1893668"/>
              <a:gd name="connsiteX8" fmla="*/ 705930 w 1249599"/>
              <a:gd name="connsiteY8" fmla="*/ 2779 h 1893668"/>
              <a:gd name="connsiteX9" fmla="*/ 962842 w 1249599"/>
              <a:gd name="connsiteY9" fmla="*/ 604429 h 1893668"/>
              <a:gd name="connsiteX10" fmla="*/ 1115580 w 1249599"/>
              <a:gd name="connsiteY10" fmla="*/ 1067562 h 1893668"/>
              <a:gd name="connsiteX11" fmla="*/ 956959 w 1249599"/>
              <a:gd name="connsiteY11" fmla="*/ 1506101 h 1893668"/>
              <a:gd name="connsiteX12" fmla="*/ 761017 w 1249599"/>
              <a:gd name="connsiteY12" fmla="*/ 1739366 h 1893668"/>
              <a:gd name="connsiteX13" fmla="*/ 639719 w 1249599"/>
              <a:gd name="connsiteY13" fmla="*/ 1767358 h 1893668"/>
              <a:gd name="connsiteX14" fmla="*/ 630388 w 1249599"/>
              <a:gd name="connsiteY14" fmla="*/ 1599407 h 1893668"/>
              <a:gd name="connsiteX15" fmla="*/ 733025 w 1249599"/>
              <a:gd name="connsiteY15" fmla="*/ 1366141 h 1893668"/>
              <a:gd name="connsiteX16" fmla="*/ 705033 w 1249599"/>
              <a:gd name="connsiteY16" fmla="*/ 1151537 h 1893668"/>
              <a:gd name="connsiteX17" fmla="*/ 593066 w 1249599"/>
              <a:gd name="connsiteY17" fmla="*/ 740990 h 1893668"/>
              <a:gd name="connsiteX18" fmla="*/ 443776 w 1249599"/>
              <a:gd name="connsiteY18" fmla="*/ 1114215 h 1893668"/>
              <a:gd name="connsiteX19" fmla="*/ 434445 w 1249599"/>
              <a:gd name="connsiteY19" fmla="*/ 1450117 h 1893668"/>
              <a:gd name="connsiteX20" fmla="*/ 527751 w 1249599"/>
              <a:gd name="connsiteY20" fmla="*/ 1627399 h 1893668"/>
              <a:gd name="connsiteX21" fmla="*/ 546412 w 1249599"/>
              <a:gd name="connsiteY21" fmla="*/ 1758027 h 1893668"/>
              <a:gd name="connsiteX22" fmla="*/ 247833 w 1249599"/>
              <a:gd name="connsiteY22" fmla="*/ 1562084 h 1893668"/>
              <a:gd name="connsiteX23" fmla="*/ 98543 w 1249599"/>
              <a:gd name="connsiteY23" fmla="*/ 1123545 h 1893668"/>
              <a:gd name="connsiteX24" fmla="*/ 89212 w 1249599"/>
              <a:gd name="connsiteY24" fmla="*/ 685007 h 1893668"/>
              <a:gd name="connsiteX25" fmla="*/ 293442 w 1249599"/>
              <a:gd name="connsiteY25" fmla="*/ 14306 h 1893668"/>
              <a:gd name="connsiteX0" fmla="*/ 293442 w 1249599"/>
              <a:gd name="connsiteY0" fmla="*/ 14276 h 1893638"/>
              <a:gd name="connsiteX1" fmla="*/ 8642 w 1249599"/>
              <a:gd name="connsiteY1" fmla="*/ 672204 h 1893638"/>
              <a:gd name="connsiteX2" fmla="*/ 28696 w 1249599"/>
              <a:gd name="connsiteY2" fmla="*/ 1267912 h 1893638"/>
              <a:gd name="connsiteX3" fmla="*/ 259567 w 1249599"/>
              <a:gd name="connsiteY3" fmla="*/ 1775151 h 1893638"/>
              <a:gd name="connsiteX4" fmla="*/ 555743 w 1249599"/>
              <a:gd name="connsiteY4" fmla="*/ 1888626 h 1893638"/>
              <a:gd name="connsiteX5" fmla="*/ 817000 w 1249599"/>
              <a:gd name="connsiteY5" fmla="*/ 1823311 h 1893638"/>
              <a:gd name="connsiteX6" fmla="*/ 1152902 w 1249599"/>
              <a:gd name="connsiteY6" fmla="*/ 1394103 h 1893638"/>
              <a:gd name="connsiteX7" fmla="*/ 1218217 w 1249599"/>
              <a:gd name="connsiteY7" fmla="*/ 862258 h 1893638"/>
              <a:gd name="connsiteX8" fmla="*/ 705930 w 1249599"/>
              <a:gd name="connsiteY8" fmla="*/ 2749 h 1893638"/>
              <a:gd name="connsiteX9" fmla="*/ 962842 w 1249599"/>
              <a:gd name="connsiteY9" fmla="*/ 604399 h 1893638"/>
              <a:gd name="connsiteX10" fmla="*/ 1028330 w 1249599"/>
              <a:gd name="connsiteY10" fmla="*/ 1033434 h 1893638"/>
              <a:gd name="connsiteX11" fmla="*/ 956959 w 1249599"/>
              <a:gd name="connsiteY11" fmla="*/ 1506071 h 1893638"/>
              <a:gd name="connsiteX12" fmla="*/ 761017 w 1249599"/>
              <a:gd name="connsiteY12" fmla="*/ 1739336 h 1893638"/>
              <a:gd name="connsiteX13" fmla="*/ 639719 w 1249599"/>
              <a:gd name="connsiteY13" fmla="*/ 1767328 h 1893638"/>
              <a:gd name="connsiteX14" fmla="*/ 630388 w 1249599"/>
              <a:gd name="connsiteY14" fmla="*/ 1599377 h 1893638"/>
              <a:gd name="connsiteX15" fmla="*/ 733025 w 1249599"/>
              <a:gd name="connsiteY15" fmla="*/ 1366111 h 1893638"/>
              <a:gd name="connsiteX16" fmla="*/ 705033 w 1249599"/>
              <a:gd name="connsiteY16" fmla="*/ 1151507 h 1893638"/>
              <a:gd name="connsiteX17" fmla="*/ 593066 w 1249599"/>
              <a:gd name="connsiteY17" fmla="*/ 740960 h 1893638"/>
              <a:gd name="connsiteX18" fmla="*/ 443776 w 1249599"/>
              <a:gd name="connsiteY18" fmla="*/ 1114185 h 1893638"/>
              <a:gd name="connsiteX19" fmla="*/ 434445 w 1249599"/>
              <a:gd name="connsiteY19" fmla="*/ 1450087 h 1893638"/>
              <a:gd name="connsiteX20" fmla="*/ 527751 w 1249599"/>
              <a:gd name="connsiteY20" fmla="*/ 1627369 h 1893638"/>
              <a:gd name="connsiteX21" fmla="*/ 546412 w 1249599"/>
              <a:gd name="connsiteY21" fmla="*/ 1757997 h 1893638"/>
              <a:gd name="connsiteX22" fmla="*/ 247833 w 1249599"/>
              <a:gd name="connsiteY22" fmla="*/ 1562054 h 1893638"/>
              <a:gd name="connsiteX23" fmla="*/ 98543 w 1249599"/>
              <a:gd name="connsiteY23" fmla="*/ 1123515 h 1893638"/>
              <a:gd name="connsiteX24" fmla="*/ 89212 w 1249599"/>
              <a:gd name="connsiteY24" fmla="*/ 684977 h 1893638"/>
              <a:gd name="connsiteX25" fmla="*/ 293442 w 1249599"/>
              <a:gd name="connsiteY25" fmla="*/ 14276 h 1893638"/>
              <a:gd name="connsiteX0" fmla="*/ 293442 w 1178223"/>
              <a:gd name="connsiteY0" fmla="*/ 11775 h 1891137"/>
              <a:gd name="connsiteX1" fmla="*/ 8642 w 1178223"/>
              <a:gd name="connsiteY1" fmla="*/ 669703 h 1891137"/>
              <a:gd name="connsiteX2" fmla="*/ 28696 w 1178223"/>
              <a:gd name="connsiteY2" fmla="*/ 1265411 h 1891137"/>
              <a:gd name="connsiteX3" fmla="*/ 259567 w 1178223"/>
              <a:gd name="connsiteY3" fmla="*/ 1772650 h 1891137"/>
              <a:gd name="connsiteX4" fmla="*/ 555743 w 1178223"/>
              <a:gd name="connsiteY4" fmla="*/ 1886125 h 1891137"/>
              <a:gd name="connsiteX5" fmla="*/ 817000 w 1178223"/>
              <a:gd name="connsiteY5" fmla="*/ 1820810 h 1891137"/>
              <a:gd name="connsiteX6" fmla="*/ 1152902 w 1178223"/>
              <a:gd name="connsiteY6" fmla="*/ 1391602 h 1891137"/>
              <a:gd name="connsiteX7" fmla="*/ 1104201 w 1178223"/>
              <a:gd name="connsiteY7" fmla="*/ 675069 h 1891137"/>
              <a:gd name="connsiteX8" fmla="*/ 705930 w 1178223"/>
              <a:gd name="connsiteY8" fmla="*/ 248 h 1891137"/>
              <a:gd name="connsiteX9" fmla="*/ 962842 w 1178223"/>
              <a:gd name="connsiteY9" fmla="*/ 601898 h 1891137"/>
              <a:gd name="connsiteX10" fmla="*/ 1028330 w 1178223"/>
              <a:gd name="connsiteY10" fmla="*/ 1030933 h 1891137"/>
              <a:gd name="connsiteX11" fmla="*/ 956959 w 1178223"/>
              <a:gd name="connsiteY11" fmla="*/ 1503570 h 1891137"/>
              <a:gd name="connsiteX12" fmla="*/ 761017 w 1178223"/>
              <a:gd name="connsiteY12" fmla="*/ 1736835 h 1891137"/>
              <a:gd name="connsiteX13" fmla="*/ 639719 w 1178223"/>
              <a:gd name="connsiteY13" fmla="*/ 1764827 h 1891137"/>
              <a:gd name="connsiteX14" fmla="*/ 630388 w 1178223"/>
              <a:gd name="connsiteY14" fmla="*/ 1596876 h 1891137"/>
              <a:gd name="connsiteX15" fmla="*/ 733025 w 1178223"/>
              <a:gd name="connsiteY15" fmla="*/ 1363610 h 1891137"/>
              <a:gd name="connsiteX16" fmla="*/ 705033 w 1178223"/>
              <a:gd name="connsiteY16" fmla="*/ 1149006 h 1891137"/>
              <a:gd name="connsiteX17" fmla="*/ 593066 w 1178223"/>
              <a:gd name="connsiteY17" fmla="*/ 738459 h 1891137"/>
              <a:gd name="connsiteX18" fmla="*/ 443776 w 1178223"/>
              <a:gd name="connsiteY18" fmla="*/ 1111684 h 1891137"/>
              <a:gd name="connsiteX19" fmla="*/ 434445 w 1178223"/>
              <a:gd name="connsiteY19" fmla="*/ 1447586 h 1891137"/>
              <a:gd name="connsiteX20" fmla="*/ 527751 w 1178223"/>
              <a:gd name="connsiteY20" fmla="*/ 1624868 h 1891137"/>
              <a:gd name="connsiteX21" fmla="*/ 546412 w 1178223"/>
              <a:gd name="connsiteY21" fmla="*/ 1755496 h 1891137"/>
              <a:gd name="connsiteX22" fmla="*/ 247833 w 1178223"/>
              <a:gd name="connsiteY22" fmla="*/ 1559553 h 1891137"/>
              <a:gd name="connsiteX23" fmla="*/ 98543 w 1178223"/>
              <a:gd name="connsiteY23" fmla="*/ 1121014 h 1891137"/>
              <a:gd name="connsiteX24" fmla="*/ 89212 w 1178223"/>
              <a:gd name="connsiteY24" fmla="*/ 682476 h 1891137"/>
              <a:gd name="connsiteX25" fmla="*/ 293442 w 1178223"/>
              <a:gd name="connsiteY25" fmla="*/ 11775 h 1891137"/>
              <a:gd name="connsiteX0" fmla="*/ 293442 w 1150886"/>
              <a:gd name="connsiteY0" fmla="*/ 11775 h 1893405"/>
              <a:gd name="connsiteX1" fmla="*/ 8642 w 1150886"/>
              <a:gd name="connsiteY1" fmla="*/ 669703 h 1893405"/>
              <a:gd name="connsiteX2" fmla="*/ 28696 w 1150886"/>
              <a:gd name="connsiteY2" fmla="*/ 1265411 h 1893405"/>
              <a:gd name="connsiteX3" fmla="*/ 259567 w 1150886"/>
              <a:gd name="connsiteY3" fmla="*/ 1772650 h 1893405"/>
              <a:gd name="connsiteX4" fmla="*/ 555743 w 1150886"/>
              <a:gd name="connsiteY4" fmla="*/ 1886125 h 1893405"/>
              <a:gd name="connsiteX5" fmla="*/ 817000 w 1150886"/>
              <a:gd name="connsiteY5" fmla="*/ 1820810 h 1893405"/>
              <a:gd name="connsiteX6" fmla="*/ 1110980 w 1150886"/>
              <a:gd name="connsiteY6" fmla="*/ 1330845 h 1893405"/>
              <a:gd name="connsiteX7" fmla="*/ 1104201 w 1150886"/>
              <a:gd name="connsiteY7" fmla="*/ 675069 h 1893405"/>
              <a:gd name="connsiteX8" fmla="*/ 705930 w 1150886"/>
              <a:gd name="connsiteY8" fmla="*/ 248 h 1893405"/>
              <a:gd name="connsiteX9" fmla="*/ 962842 w 1150886"/>
              <a:gd name="connsiteY9" fmla="*/ 601898 h 1893405"/>
              <a:gd name="connsiteX10" fmla="*/ 1028330 w 1150886"/>
              <a:gd name="connsiteY10" fmla="*/ 1030933 h 1893405"/>
              <a:gd name="connsiteX11" fmla="*/ 956959 w 1150886"/>
              <a:gd name="connsiteY11" fmla="*/ 1503570 h 1893405"/>
              <a:gd name="connsiteX12" fmla="*/ 761017 w 1150886"/>
              <a:gd name="connsiteY12" fmla="*/ 1736835 h 1893405"/>
              <a:gd name="connsiteX13" fmla="*/ 639719 w 1150886"/>
              <a:gd name="connsiteY13" fmla="*/ 1764827 h 1893405"/>
              <a:gd name="connsiteX14" fmla="*/ 630388 w 1150886"/>
              <a:gd name="connsiteY14" fmla="*/ 1596876 h 1893405"/>
              <a:gd name="connsiteX15" fmla="*/ 733025 w 1150886"/>
              <a:gd name="connsiteY15" fmla="*/ 1363610 h 1893405"/>
              <a:gd name="connsiteX16" fmla="*/ 705033 w 1150886"/>
              <a:gd name="connsiteY16" fmla="*/ 1149006 h 1893405"/>
              <a:gd name="connsiteX17" fmla="*/ 593066 w 1150886"/>
              <a:gd name="connsiteY17" fmla="*/ 738459 h 1893405"/>
              <a:gd name="connsiteX18" fmla="*/ 443776 w 1150886"/>
              <a:gd name="connsiteY18" fmla="*/ 1111684 h 1893405"/>
              <a:gd name="connsiteX19" fmla="*/ 434445 w 1150886"/>
              <a:gd name="connsiteY19" fmla="*/ 1447586 h 1893405"/>
              <a:gd name="connsiteX20" fmla="*/ 527751 w 1150886"/>
              <a:gd name="connsiteY20" fmla="*/ 1624868 h 1893405"/>
              <a:gd name="connsiteX21" fmla="*/ 546412 w 1150886"/>
              <a:gd name="connsiteY21" fmla="*/ 1755496 h 1893405"/>
              <a:gd name="connsiteX22" fmla="*/ 247833 w 1150886"/>
              <a:gd name="connsiteY22" fmla="*/ 1559553 h 1893405"/>
              <a:gd name="connsiteX23" fmla="*/ 98543 w 1150886"/>
              <a:gd name="connsiteY23" fmla="*/ 1121014 h 1893405"/>
              <a:gd name="connsiteX24" fmla="*/ 89212 w 1150886"/>
              <a:gd name="connsiteY24" fmla="*/ 682476 h 1893405"/>
              <a:gd name="connsiteX25" fmla="*/ 293442 w 1150886"/>
              <a:gd name="connsiteY25" fmla="*/ 11775 h 1893405"/>
              <a:gd name="connsiteX0" fmla="*/ 293442 w 1150886"/>
              <a:gd name="connsiteY0" fmla="*/ 11770 h 1893400"/>
              <a:gd name="connsiteX1" fmla="*/ 8642 w 1150886"/>
              <a:gd name="connsiteY1" fmla="*/ 669698 h 1893400"/>
              <a:gd name="connsiteX2" fmla="*/ 28696 w 1150886"/>
              <a:gd name="connsiteY2" fmla="*/ 1265406 h 1893400"/>
              <a:gd name="connsiteX3" fmla="*/ 259567 w 1150886"/>
              <a:gd name="connsiteY3" fmla="*/ 1772645 h 1893400"/>
              <a:gd name="connsiteX4" fmla="*/ 555743 w 1150886"/>
              <a:gd name="connsiteY4" fmla="*/ 1886120 h 1893400"/>
              <a:gd name="connsiteX5" fmla="*/ 817000 w 1150886"/>
              <a:gd name="connsiteY5" fmla="*/ 1820805 h 1893400"/>
              <a:gd name="connsiteX6" fmla="*/ 1110980 w 1150886"/>
              <a:gd name="connsiteY6" fmla="*/ 1330840 h 1893400"/>
              <a:gd name="connsiteX7" fmla="*/ 1104201 w 1150886"/>
              <a:gd name="connsiteY7" fmla="*/ 675064 h 1893400"/>
              <a:gd name="connsiteX8" fmla="*/ 705930 w 1150886"/>
              <a:gd name="connsiteY8" fmla="*/ 243 h 1893400"/>
              <a:gd name="connsiteX9" fmla="*/ 962842 w 1150886"/>
              <a:gd name="connsiteY9" fmla="*/ 601893 h 1893400"/>
              <a:gd name="connsiteX10" fmla="*/ 1011575 w 1150886"/>
              <a:gd name="connsiteY10" fmla="*/ 982341 h 1893400"/>
              <a:gd name="connsiteX11" fmla="*/ 956959 w 1150886"/>
              <a:gd name="connsiteY11" fmla="*/ 1503565 h 1893400"/>
              <a:gd name="connsiteX12" fmla="*/ 761017 w 1150886"/>
              <a:gd name="connsiteY12" fmla="*/ 1736830 h 1893400"/>
              <a:gd name="connsiteX13" fmla="*/ 639719 w 1150886"/>
              <a:gd name="connsiteY13" fmla="*/ 1764822 h 1893400"/>
              <a:gd name="connsiteX14" fmla="*/ 630388 w 1150886"/>
              <a:gd name="connsiteY14" fmla="*/ 1596871 h 1893400"/>
              <a:gd name="connsiteX15" fmla="*/ 733025 w 1150886"/>
              <a:gd name="connsiteY15" fmla="*/ 1363605 h 1893400"/>
              <a:gd name="connsiteX16" fmla="*/ 705033 w 1150886"/>
              <a:gd name="connsiteY16" fmla="*/ 1149001 h 1893400"/>
              <a:gd name="connsiteX17" fmla="*/ 593066 w 1150886"/>
              <a:gd name="connsiteY17" fmla="*/ 738454 h 1893400"/>
              <a:gd name="connsiteX18" fmla="*/ 443776 w 1150886"/>
              <a:gd name="connsiteY18" fmla="*/ 1111679 h 1893400"/>
              <a:gd name="connsiteX19" fmla="*/ 434445 w 1150886"/>
              <a:gd name="connsiteY19" fmla="*/ 1447581 h 1893400"/>
              <a:gd name="connsiteX20" fmla="*/ 527751 w 1150886"/>
              <a:gd name="connsiteY20" fmla="*/ 1624863 h 1893400"/>
              <a:gd name="connsiteX21" fmla="*/ 546412 w 1150886"/>
              <a:gd name="connsiteY21" fmla="*/ 1755491 h 1893400"/>
              <a:gd name="connsiteX22" fmla="*/ 247833 w 1150886"/>
              <a:gd name="connsiteY22" fmla="*/ 1559548 h 1893400"/>
              <a:gd name="connsiteX23" fmla="*/ 98543 w 1150886"/>
              <a:gd name="connsiteY23" fmla="*/ 1121009 h 1893400"/>
              <a:gd name="connsiteX24" fmla="*/ 89212 w 1150886"/>
              <a:gd name="connsiteY24" fmla="*/ 682471 h 1893400"/>
              <a:gd name="connsiteX25" fmla="*/ 293442 w 1150886"/>
              <a:gd name="connsiteY25" fmla="*/ 11770 h 1893400"/>
              <a:gd name="connsiteX0" fmla="*/ 293442 w 1137531"/>
              <a:gd name="connsiteY0" fmla="*/ 11770 h 1895467"/>
              <a:gd name="connsiteX1" fmla="*/ 8642 w 1137531"/>
              <a:gd name="connsiteY1" fmla="*/ 669698 h 1895467"/>
              <a:gd name="connsiteX2" fmla="*/ 28696 w 1137531"/>
              <a:gd name="connsiteY2" fmla="*/ 1265406 h 1895467"/>
              <a:gd name="connsiteX3" fmla="*/ 259567 w 1137531"/>
              <a:gd name="connsiteY3" fmla="*/ 1772645 h 1895467"/>
              <a:gd name="connsiteX4" fmla="*/ 555743 w 1137531"/>
              <a:gd name="connsiteY4" fmla="*/ 1886120 h 1895467"/>
              <a:gd name="connsiteX5" fmla="*/ 817000 w 1137531"/>
              <a:gd name="connsiteY5" fmla="*/ 1820805 h 1895467"/>
              <a:gd name="connsiteX6" fmla="*/ 1082476 w 1137531"/>
              <a:gd name="connsiteY6" fmla="*/ 1284668 h 1895467"/>
              <a:gd name="connsiteX7" fmla="*/ 1104201 w 1137531"/>
              <a:gd name="connsiteY7" fmla="*/ 675064 h 1895467"/>
              <a:gd name="connsiteX8" fmla="*/ 705930 w 1137531"/>
              <a:gd name="connsiteY8" fmla="*/ 243 h 1895467"/>
              <a:gd name="connsiteX9" fmla="*/ 962842 w 1137531"/>
              <a:gd name="connsiteY9" fmla="*/ 601893 h 1895467"/>
              <a:gd name="connsiteX10" fmla="*/ 1011575 w 1137531"/>
              <a:gd name="connsiteY10" fmla="*/ 982341 h 1895467"/>
              <a:gd name="connsiteX11" fmla="*/ 956959 w 1137531"/>
              <a:gd name="connsiteY11" fmla="*/ 1503565 h 1895467"/>
              <a:gd name="connsiteX12" fmla="*/ 761017 w 1137531"/>
              <a:gd name="connsiteY12" fmla="*/ 1736830 h 1895467"/>
              <a:gd name="connsiteX13" fmla="*/ 639719 w 1137531"/>
              <a:gd name="connsiteY13" fmla="*/ 1764822 h 1895467"/>
              <a:gd name="connsiteX14" fmla="*/ 630388 w 1137531"/>
              <a:gd name="connsiteY14" fmla="*/ 1596871 h 1895467"/>
              <a:gd name="connsiteX15" fmla="*/ 733025 w 1137531"/>
              <a:gd name="connsiteY15" fmla="*/ 1363605 h 1895467"/>
              <a:gd name="connsiteX16" fmla="*/ 705033 w 1137531"/>
              <a:gd name="connsiteY16" fmla="*/ 1149001 h 1895467"/>
              <a:gd name="connsiteX17" fmla="*/ 593066 w 1137531"/>
              <a:gd name="connsiteY17" fmla="*/ 738454 h 1895467"/>
              <a:gd name="connsiteX18" fmla="*/ 443776 w 1137531"/>
              <a:gd name="connsiteY18" fmla="*/ 1111679 h 1895467"/>
              <a:gd name="connsiteX19" fmla="*/ 434445 w 1137531"/>
              <a:gd name="connsiteY19" fmla="*/ 1447581 h 1895467"/>
              <a:gd name="connsiteX20" fmla="*/ 527751 w 1137531"/>
              <a:gd name="connsiteY20" fmla="*/ 1624863 h 1895467"/>
              <a:gd name="connsiteX21" fmla="*/ 546412 w 1137531"/>
              <a:gd name="connsiteY21" fmla="*/ 1755491 h 1895467"/>
              <a:gd name="connsiteX22" fmla="*/ 247833 w 1137531"/>
              <a:gd name="connsiteY22" fmla="*/ 1559548 h 1895467"/>
              <a:gd name="connsiteX23" fmla="*/ 98543 w 1137531"/>
              <a:gd name="connsiteY23" fmla="*/ 1121009 h 1895467"/>
              <a:gd name="connsiteX24" fmla="*/ 89212 w 1137531"/>
              <a:gd name="connsiteY24" fmla="*/ 682471 h 1895467"/>
              <a:gd name="connsiteX25" fmla="*/ 293442 w 1137531"/>
              <a:gd name="connsiteY25" fmla="*/ 11770 h 1895467"/>
              <a:gd name="connsiteX0" fmla="*/ 293442 w 1137531"/>
              <a:gd name="connsiteY0" fmla="*/ 11770 h 1895467"/>
              <a:gd name="connsiteX1" fmla="*/ 8642 w 1137531"/>
              <a:gd name="connsiteY1" fmla="*/ 669698 h 1895467"/>
              <a:gd name="connsiteX2" fmla="*/ 28696 w 1137531"/>
              <a:gd name="connsiteY2" fmla="*/ 1265406 h 1895467"/>
              <a:gd name="connsiteX3" fmla="*/ 259567 w 1137531"/>
              <a:gd name="connsiteY3" fmla="*/ 1772645 h 1895467"/>
              <a:gd name="connsiteX4" fmla="*/ 555743 w 1137531"/>
              <a:gd name="connsiteY4" fmla="*/ 1886120 h 1895467"/>
              <a:gd name="connsiteX5" fmla="*/ 817000 w 1137531"/>
              <a:gd name="connsiteY5" fmla="*/ 1820805 h 1895467"/>
              <a:gd name="connsiteX6" fmla="*/ 1082476 w 1137531"/>
              <a:gd name="connsiteY6" fmla="*/ 1284668 h 1895467"/>
              <a:gd name="connsiteX7" fmla="*/ 1104201 w 1137531"/>
              <a:gd name="connsiteY7" fmla="*/ 675063 h 1895467"/>
              <a:gd name="connsiteX8" fmla="*/ 705930 w 1137531"/>
              <a:gd name="connsiteY8" fmla="*/ 243 h 1895467"/>
              <a:gd name="connsiteX9" fmla="*/ 962842 w 1137531"/>
              <a:gd name="connsiteY9" fmla="*/ 601893 h 1895467"/>
              <a:gd name="connsiteX10" fmla="*/ 1011575 w 1137531"/>
              <a:gd name="connsiteY10" fmla="*/ 982341 h 1895467"/>
              <a:gd name="connsiteX11" fmla="*/ 956959 w 1137531"/>
              <a:gd name="connsiteY11" fmla="*/ 1503565 h 1895467"/>
              <a:gd name="connsiteX12" fmla="*/ 761017 w 1137531"/>
              <a:gd name="connsiteY12" fmla="*/ 1736830 h 1895467"/>
              <a:gd name="connsiteX13" fmla="*/ 639719 w 1137531"/>
              <a:gd name="connsiteY13" fmla="*/ 1764822 h 1895467"/>
              <a:gd name="connsiteX14" fmla="*/ 630388 w 1137531"/>
              <a:gd name="connsiteY14" fmla="*/ 1596871 h 1895467"/>
              <a:gd name="connsiteX15" fmla="*/ 733025 w 1137531"/>
              <a:gd name="connsiteY15" fmla="*/ 1363605 h 1895467"/>
              <a:gd name="connsiteX16" fmla="*/ 705033 w 1137531"/>
              <a:gd name="connsiteY16" fmla="*/ 1149001 h 1895467"/>
              <a:gd name="connsiteX17" fmla="*/ 593066 w 1137531"/>
              <a:gd name="connsiteY17" fmla="*/ 738454 h 1895467"/>
              <a:gd name="connsiteX18" fmla="*/ 443776 w 1137531"/>
              <a:gd name="connsiteY18" fmla="*/ 1111679 h 1895467"/>
              <a:gd name="connsiteX19" fmla="*/ 434445 w 1137531"/>
              <a:gd name="connsiteY19" fmla="*/ 1447581 h 1895467"/>
              <a:gd name="connsiteX20" fmla="*/ 527751 w 1137531"/>
              <a:gd name="connsiteY20" fmla="*/ 1624863 h 1895467"/>
              <a:gd name="connsiteX21" fmla="*/ 546412 w 1137531"/>
              <a:gd name="connsiteY21" fmla="*/ 1755491 h 1895467"/>
              <a:gd name="connsiteX22" fmla="*/ 247833 w 1137531"/>
              <a:gd name="connsiteY22" fmla="*/ 1559548 h 1895467"/>
              <a:gd name="connsiteX23" fmla="*/ 98543 w 1137531"/>
              <a:gd name="connsiteY23" fmla="*/ 1121009 h 1895467"/>
              <a:gd name="connsiteX24" fmla="*/ 89212 w 1137531"/>
              <a:gd name="connsiteY24" fmla="*/ 682471 h 1895467"/>
              <a:gd name="connsiteX25" fmla="*/ 293442 w 1137531"/>
              <a:gd name="connsiteY25" fmla="*/ 11770 h 1895467"/>
              <a:gd name="connsiteX0" fmla="*/ 293442 w 1129233"/>
              <a:gd name="connsiteY0" fmla="*/ 69894 h 1953591"/>
              <a:gd name="connsiteX1" fmla="*/ 8642 w 1129233"/>
              <a:gd name="connsiteY1" fmla="*/ 727822 h 1953591"/>
              <a:gd name="connsiteX2" fmla="*/ 28696 w 1129233"/>
              <a:gd name="connsiteY2" fmla="*/ 1323530 h 1953591"/>
              <a:gd name="connsiteX3" fmla="*/ 259567 w 1129233"/>
              <a:gd name="connsiteY3" fmla="*/ 1830769 h 1953591"/>
              <a:gd name="connsiteX4" fmla="*/ 555743 w 1129233"/>
              <a:gd name="connsiteY4" fmla="*/ 1944244 h 1953591"/>
              <a:gd name="connsiteX5" fmla="*/ 817000 w 1129233"/>
              <a:gd name="connsiteY5" fmla="*/ 1878929 h 1953591"/>
              <a:gd name="connsiteX6" fmla="*/ 1082476 w 1129233"/>
              <a:gd name="connsiteY6" fmla="*/ 1342792 h 1953591"/>
              <a:gd name="connsiteX7" fmla="*/ 1104201 w 1129233"/>
              <a:gd name="connsiteY7" fmla="*/ 733187 h 1953591"/>
              <a:gd name="connsiteX8" fmla="*/ 820083 w 1129233"/>
              <a:gd name="connsiteY8" fmla="*/ 219 h 1953591"/>
              <a:gd name="connsiteX9" fmla="*/ 962842 w 1129233"/>
              <a:gd name="connsiteY9" fmla="*/ 660017 h 1953591"/>
              <a:gd name="connsiteX10" fmla="*/ 1011575 w 1129233"/>
              <a:gd name="connsiteY10" fmla="*/ 1040465 h 1953591"/>
              <a:gd name="connsiteX11" fmla="*/ 956959 w 1129233"/>
              <a:gd name="connsiteY11" fmla="*/ 1561689 h 1953591"/>
              <a:gd name="connsiteX12" fmla="*/ 761017 w 1129233"/>
              <a:gd name="connsiteY12" fmla="*/ 1794954 h 1953591"/>
              <a:gd name="connsiteX13" fmla="*/ 639719 w 1129233"/>
              <a:gd name="connsiteY13" fmla="*/ 1822946 h 1953591"/>
              <a:gd name="connsiteX14" fmla="*/ 630388 w 1129233"/>
              <a:gd name="connsiteY14" fmla="*/ 1654995 h 1953591"/>
              <a:gd name="connsiteX15" fmla="*/ 733025 w 1129233"/>
              <a:gd name="connsiteY15" fmla="*/ 1421729 h 1953591"/>
              <a:gd name="connsiteX16" fmla="*/ 705033 w 1129233"/>
              <a:gd name="connsiteY16" fmla="*/ 1207125 h 1953591"/>
              <a:gd name="connsiteX17" fmla="*/ 593066 w 1129233"/>
              <a:gd name="connsiteY17" fmla="*/ 796578 h 1953591"/>
              <a:gd name="connsiteX18" fmla="*/ 443776 w 1129233"/>
              <a:gd name="connsiteY18" fmla="*/ 1169803 h 1953591"/>
              <a:gd name="connsiteX19" fmla="*/ 434445 w 1129233"/>
              <a:gd name="connsiteY19" fmla="*/ 1505705 h 1953591"/>
              <a:gd name="connsiteX20" fmla="*/ 527751 w 1129233"/>
              <a:gd name="connsiteY20" fmla="*/ 1682987 h 1953591"/>
              <a:gd name="connsiteX21" fmla="*/ 546412 w 1129233"/>
              <a:gd name="connsiteY21" fmla="*/ 1813615 h 1953591"/>
              <a:gd name="connsiteX22" fmla="*/ 247833 w 1129233"/>
              <a:gd name="connsiteY22" fmla="*/ 1617672 h 1953591"/>
              <a:gd name="connsiteX23" fmla="*/ 98543 w 1129233"/>
              <a:gd name="connsiteY23" fmla="*/ 1179133 h 1953591"/>
              <a:gd name="connsiteX24" fmla="*/ 89212 w 1129233"/>
              <a:gd name="connsiteY24" fmla="*/ 740595 h 1953591"/>
              <a:gd name="connsiteX25" fmla="*/ 293442 w 1129233"/>
              <a:gd name="connsiteY25" fmla="*/ 69894 h 1953591"/>
              <a:gd name="connsiteX0" fmla="*/ 293442 w 1136308"/>
              <a:gd name="connsiteY0" fmla="*/ 0 h 1883697"/>
              <a:gd name="connsiteX1" fmla="*/ 8642 w 1136308"/>
              <a:gd name="connsiteY1" fmla="*/ 657928 h 1883697"/>
              <a:gd name="connsiteX2" fmla="*/ 28696 w 1136308"/>
              <a:gd name="connsiteY2" fmla="*/ 1253636 h 1883697"/>
              <a:gd name="connsiteX3" fmla="*/ 259567 w 1136308"/>
              <a:gd name="connsiteY3" fmla="*/ 1760875 h 1883697"/>
              <a:gd name="connsiteX4" fmla="*/ 555743 w 1136308"/>
              <a:gd name="connsiteY4" fmla="*/ 1874350 h 1883697"/>
              <a:gd name="connsiteX5" fmla="*/ 817000 w 1136308"/>
              <a:gd name="connsiteY5" fmla="*/ 1809035 h 1883697"/>
              <a:gd name="connsiteX6" fmla="*/ 1082476 w 1136308"/>
              <a:gd name="connsiteY6" fmla="*/ 1272898 h 1883697"/>
              <a:gd name="connsiteX7" fmla="*/ 1104201 w 1136308"/>
              <a:gd name="connsiteY7" fmla="*/ 663293 h 1883697"/>
              <a:gd name="connsiteX8" fmla="*/ 722685 w 1136308"/>
              <a:gd name="connsiteY8" fmla="*/ 37059 h 1883697"/>
              <a:gd name="connsiteX9" fmla="*/ 962842 w 1136308"/>
              <a:gd name="connsiteY9" fmla="*/ 590123 h 1883697"/>
              <a:gd name="connsiteX10" fmla="*/ 1011575 w 1136308"/>
              <a:gd name="connsiteY10" fmla="*/ 970571 h 1883697"/>
              <a:gd name="connsiteX11" fmla="*/ 956959 w 1136308"/>
              <a:gd name="connsiteY11" fmla="*/ 1491795 h 1883697"/>
              <a:gd name="connsiteX12" fmla="*/ 761017 w 1136308"/>
              <a:gd name="connsiteY12" fmla="*/ 1725060 h 1883697"/>
              <a:gd name="connsiteX13" fmla="*/ 639719 w 1136308"/>
              <a:gd name="connsiteY13" fmla="*/ 1753052 h 1883697"/>
              <a:gd name="connsiteX14" fmla="*/ 630388 w 1136308"/>
              <a:gd name="connsiteY14" fmla="*/ 1585101 h 1883697"/>
              <a:gd name="connsiteX15" fmla="*/ 733025 w 1136308"/>
              <a:gd name="connsiteY15" fmla="*/ 1351835 h 1883697"/>
              <a:gd name="connsiteX16" fmla="*/ 705033 w 1136308"/>
              <a:gd name="connsiteY16" fmla="*/ 1137231 h 1883697"/>
              <a:gd name="connsiteX17" fmla="*/ 593066 w 1136308"/>
              <a:gd name="connsiteY17" fmla="*/ 726684 h 1883697"/>
              <a:gd name="connsiteX18" fmla="*/ 443776 w 1136308"/>
              <a:gd name="connsiteY18" fmla="*/ 1099909 h 1883697"/>
              <a:gd name="connsiteX19" fmla="*/ 434445 w 1136308"/>
              <a:gd name="connsiteY19" fmla="*/ 1435811 h 1883697"/>
              <a:gd name="connsiteX20" fmla="*/ 527751 w 1136308"/>
              <a:gd name="connsiteY20" fmla="*/ 1613093 h 1883697"/>
              <a:gd name="connsiteX21" fmla="*/ 546412 w 1136308"/>
              <a:gd name="connsiteY21" fmla="*/ 1743721 h 1883697"/>
              <a:gd name="connsiteX22" fmla="*/ 247833 w 1136308"/>
              <a:gd name="connsiteY22" fmla="*/ 1547778 h 1883697"/>
              <a:gd name="connsiteX23" fmla="*/ 98543 w 1136308"/>
              <a:gd name="connsiteY23" fmla="*/ 1109239 h 1883697"/>
              <a:gd name="connsiteX24" fmla="*/ 89212 w 1136308"/>
              <a:gd name="connsiteY24" fmla="*/ 670701 h 1883697"/>
              <a:gd name="connsiteX25" fmla="*/ 293442 w 1136308"/>
              <a:gd name="connsiteY25" fmla="*/ 0 h 1883697"/>
              <a:gd name="connsiteX0" fmla="*/ 293442 w 1122988"/>
              <a:gd name="connsiteY0" fmla="*/ 35808 h 1919505"/>
              <a:gd name="connsiteX1" fmla="*/ 8642 w 1122988"/>
              <a:gd name="connsiteY1" fmla="*/ 693736 h 1919505"/>
              <a:gd name="connsiteX2" fmla="*/ 28696 w 1122988"/>
              <a:gd name="connsiteY2" fmla="*/ 1289444 h 1919505"/>
              <a:gd name="connsiteX3" fmla="*/ 259567 w 1122988"/>
              <a:gd name="connsiteY3" fmla="*/ 1796683 h 1919505"/>
              <a:gd name="connsiteX4" fmla="*/ 555743 w 1122988"/>
              <a:gd name="connsiteY4" fmla="*/ 1910158 h 1919505"/>
              <a:gd name="connsiteX5" fmla="*/ 817000 w 1122988"/>
              <a:gd name="connsiteY5" fmla="*/ 1844843 h 1919505"/>
              <a:gd name="connsiteX6" fmla="*/ 1082476 w 1122988"/>
              <a:gd name="connsiteY6" fmla="*/ 1308706 h 1919505"/>
              <a:gd name="connsiteX7" fmla="*/ 1104201 w 1122988"/>
              <a:gd name="connsiteY7" fmla="*/ 699101 h 1919505"/>
              <a:gd name="connsiteX8" fmla="*/ 907333 w 1122988"/>
              <a:gd name="connsiteY8" fmla="*/ 232 h 1919505"/>
              <a:gd name="connsiteX9" fmla="*/ 962842 w 1122988"/>
              <a:gd name="connsiteY9" fmla="*/ 625931 h 1919505"/>
              <a:gd name="connsiteX10" fmla="*/ 1011575 w 1122988"/>
              <a:gd name="connsiteY10" fmla="*/ 1006379 h 1919505"/>
              <a:gd name="connsiteX11" fmla="*/ 956959 w 1122988"/>
              <a:gd name="connsiteY11" fmla="*/ 1527603 h 1919505"/>
              <a:gd name="connsiteX12" fmla="*/ 761017 w 1122988"/>
              <a:gd name="connsiteY12" fmla="*/ 1760868 h 1919505"/>
              <a:gd name="connsiteX13" fmla="*/ 639719 w 1122988"/>
              <a:gd name="connsiteY13" fmla="*/ 1788860 h 1919505"/>
              <a:gd name="connsiteX14" fmla="*/ 630388 w 1122988"/>
              <a:gd name="connsiteY14" fmla="*/ 1620909 h 1919505"/>
              <a:gd name="connsiteX15" fmla="*/ 733025 w 1122988"/>
              <a:gd name="connsiteY15" fmla="*/ 1387643 h 1919505"/>
              <a:gd name="connsiteX16" fmla="*/ 705033 w 1122988"/>
              <a:gd name="connsiteY16" fmla="*/ 1173039 h 1919505"/>
              <a:gd name="connsiteX17" fmla="*/ 593066 w 1122988"/>
              <a:gd name="connsiteY17" fmla="*/ 762492 h 1919505"/>
              <a:gd name="connsiteX18" fmla="*/ 443776 w 1122988"/>
              <a:gd name="connsiteY18" fmla="*/ 1135717 h 1919505"/>
              <a:gd name="connsiteX19" fmla="*/ 434445 w 1122988"/>
              <a:gd name="connsiteY19" fmla="*/ 1471619 h 1919505"/>
              <a:gd name="connsiteX20" fmla="*/ 527751 w 1122988"/>
              <a:gd name="connsiteY20" fmla="*/ 1648901 h 1919505"/>
              <a:gd name="connsiteX21" fmla="*/ 546412 w 1122988"/>
              <a:gd name="connsiteY21" fmla="*/ 1779529 h 1919505"/>
              <a:gd name="connsiteX22" fmla="*/ 247833 w 1122988"/>
              <a:gd name="connsiteY22" fmla="*/ 1583586 h 1919505"/>
              <a:gd name="connsiteX23" fmla="*/ 98543 w 1122988"/>
              <a:gd name="connsiteY23" fmla="*/ 1145047 h 1919505"/>
              <a:gd name="connsiteX24" fmla="*/ 89212 w 1122988"/>
              <a:gd name="connsiteY24" fmla="*/ 706509 h 1919505"/>
              <a:gd name="connsiteX25" fmla="*/ 293442 w 1122988"/>
              <a:gd name="connsiteY25" fmla="*/ 35808 h 1919505"/>
              <a:gd name="connsiteX0" fmla="*/ 293442 w 1122988"/>
              <a:gd name="connsiteY0" fmla="*/ 36410 h 1920107"/>
              <a:gd name="connsiteX1" fmla="*/ 8642 w 1122988"/>
              <a:gd name="connsiteY1" fmla="*/ 694338 h 1920107"/>
              <a:gd name="connsiteX2" fmla="*/ 28696 w 1122988"/>
              <a:gd name="connsiteY2" fmla="*/ 1290046 h 1920107"/>
              <a:gd name="connsiteX3" fmla="*/ 259567 w 1122988"/>
              <a:gd name="connsiteY3" fmla="*/ 1797285 h 1920107"/>
              <a:gd name="connsiteX4" fmla="*/ 555743 w 1122988"/>
              <a:gd name="connsiteY4" fmla="*/ 1910760 h 1920107"/>
              <a:gd name="connsiteX5" fmla="*/ 817000 w 1122988"/>
              <a:gd name="connsiteY5" fmla="*/ 1845445 h 1920107"/>
              <a:gd name="connsiteX6" fmla="*/ 1082476 w 1122988"/>
              <a:gd name="connsiteY6" fmla="*/ 1309308 h 1920107"/>
              <a:gd name="connsiteX7" fmla="*/ 1104201 w 1122988"/>
              <a:gd name="connsiteY7" fmla="*/ 699703 h 1920107"/>
              <a:gd name="connsiteX8" fmla="*/ 907333 w 1122988"/>
              <a:gd name="connsiteY8" fmla="*/ 834 h 1920107"/>
              <a:gd name="connsiteX9" fmla="*/ 962842 w 1122988"/>
              <a:gd name="connsiteY9" fmla="*/ 626533 h 1920107"/>
              <a:gd name="connsiteX10" fmla="*/ 1011575 w 1122988"/>
              <a:gd name="connsiteY10" fmla="*/ 1006981 h 1920107"/>
              <a:gd name="connsiteX11" fmla="*/ 956959 w 1122988"/>
              <a:gd name="connsiteY11" fmla="*/ 1528205 h 1920107"/>
              <a:gd name="connsiteX12" fmla="*/ 761017 w 1122988"/>
              <a:gd name="connsiteY12" fmla="*/ 1761470 h 1920107"/>
              <a:gd name="connsiteX13" fmla="*/ 639719 w 1122988"/>
              <a:gd name="connsiteY13" fmla="*/ 1789462 h 1920107"/>
              <a:gd name="connsiteX14" fmla="*/ 630388 w 1122988"/>
              <a:gd name="connsiteY14" fmla="*/ 1621511 h 1920107"/>
              <a:gd name="connsiteX15" fmla="*/ 733025 w 1122988"/>
              <a:gd name="connsiteY15" fmla="*/ 1388245 h 1920107"/>
              <a:gd name="connsiteX16" fmla="*/ 705033 w 1122988"/>
              <a:gd name="connsiteY16" fmla="*/ 1173641 h 1920107"/>
              <a:gd name="connsiteX17" fmla="*/ 593066 w 1122988"/>
              <a:gd name="connsiteY17" fmla="*/ 763094 h 1920107"/>
              <a:gd name="connsiteX18" fmla="*/ 443776 w 1122988"/>
              <a:gd name="connsiteY18" fmla="*/ 1136319 h 1920107"/>
              <a:gd name="connsiteX19" fmla="*/ 434445 w 1122988"/>
              <a:gd name="connsiteY19" fmla="*/ 1472221 h 1920107"/>
              <a:gd name="connsiteX20" fmla="*/ 527751 w 1122988"/>
              <a:gd name="connsiteY20" fmla="*/ 1649503 h 1920107"/>
              <a:gd name="connsiteX21" fmla="*/ 546412 w 1122988"/>
              <a:gd name="connsiteY21" fmla="*/ 1780131 h 1920107"/>
              <a:gd name="connsiteX22" fmla="*/ 247833 w 1122988"/>
              <a:gd name="connsiteY22" fmla="*/ 1584188 h 1920107"/>
              <a:gd name="connsiteX23" fmla="*/ 98543 w 1122988"/>
              <a:gd name="connsiteY23" fmla="*/ 1145649 h 1920107"/>
              <a:gd name="connsiteX24" fmla="*/ 89212 w 1122988"/>
              <a:gd name="connsiteY24" fmla="*/ 707111 h 1920107"/>
              <a:gd name="connsiteX25" fmla="*/ 293442 w 1122988"/>
              <a:gd name="connsiteY25" fmla="*/ 36410 h 1920107"/>
              <a:gd name="connsiteX0" fmla="*/ 293442 w 1132638"/>
              <a:gd name="connsiteY0" fmla="*/ 60818 h 1944515"/>
              <a:gd name="connsiteX1" fmla="*/ 8642 w 1132638"/>
              <a:gd name="connsiteY1" fmla="*/ 718746 h 1944515"/>
              <a:gd name="connsiteX2" fmla="*/ 28696 w 1132638"/>
              <a:gd name="connsiteY2" fmla="*/ 1314454 h 1944515"/>
              <a:gd name="connsiteX3" fmla="*/ 259567 w 1132638"/>
              <a:gd name="connsiteY3" fmla="*/ 1821693 h 1944515"/>
              <a:gd name="connsiteX4" fmla="*/ 555743 w 1132638"/>
              <a:gd name="connsiteY4" fmla="*/ 1935168 h 1944515"/>
              <a:gd name="connsiteX5" fmla="*/ 817000 w 1132638"/>
              <a:gd name="connsiteY5" fmla="*/ 1869853 h 1944515"/>
              <a:gd name="connsiteX6" fmla="*/ 1082476 w 1132638"/>
              <a:gd name="connsiteY6" fmla="*/ 1333716 h 1944515"/>
              <a:gd name="connsiteX7" fmla="*/ 1104201 w 1132638"/>
              <a:gd name="connsiteY7" fmla="*/ 724111 h 1944515"/>
              <a:gd name="connsiteX8" fmla="*/ 773086 w 1132638"/>
              <a:gd name="connsiteY8" fmla="*/ 803 h 1944515"/>
              <a:gd name="connsiteX9" fmla="*/ 962842 w 1132638"/>
              <a:gd name="connsiteY9" fmla="*/ 650941 h 1944515"/>
              <a:gd name="connsiteX10" fmla="*/ 1011575 w 1132638"/>
              <a:gd name="connsiteY10" fmla="*/ 1031389 h 1944515"/>
              <a:gd name="connsiteX11" fmla="*/ 956959 w 1132638"/>
              <a:gd name="connsiteY11" fmla="*/ 1552613 h 1944515"/>
              <a:gd name="connsiteX12" fmla="*/ 761017 w 1132638"/>
              <a:gd name="connsiteY12" fmla="*/ 1785878 h 1944515"/>
              <a:gd name="connsiteX13" fmla="*/ 639719 w 1132638"/>
              <a:gd name="connsiteY13" fmla="*/ 1813870 h 1944515"/>
              <a:gd name="connsiteX14" fmla="*/ 630388 w 1132638"/>
              <a:gd name="connsiteY14" fmla="*/ 1645919 h 1944515"/>
              <a:gd name="connsiteX15" fmla="*/ 733025 w 1132638"/>
              <a:gd name="connsiteY15" fmla="*/ 1412653 h 1944515"/>
              <a:gd name="connsiteX16" fmla="*/ 705033 w 1132638"/>
              <a:gd name="connsiteY16" fmla="*/ 1198049 h 1944515"/>
              <a:gd name="connsiteX17" fmla="*/ 593066 w 1132638"/>
              <a:gd name="connsiteY17" fmla="*/ 787502 h 1944515"/>
              <a:gd name="connsiteX18" fmla="*/ 443776 w 1132638"/>
              <a:gd name="connsiteY18" fmla="*/ 1160727 h 1944515"/>
              <a:gd name="connsiteX19" fmla="*/ 434445 w 1132638"/>
              <a:gd name="connsiteY19" fmla="*/ 1496629 h 1944515"/>
              <a:gd name="connsiteX20" fmla="*/ 527751 w 1132638"/>
              <a:gd name="connsiteY20" fmla="*/ 1673911 h 1944515"/>
              <a:gd name="connsiteX21" fmla="*/ 546412 w 1132638"/>
              <a:gd name="connsiteY21" fmla="*/ 1804539 h 1944515"/>
              <a:gd name="connsiteX22" fmla="*/ 247833 w 1132638"/>
              <a:gd name="connsiteY22" fmla="*/ 1608596 h 1944515"/>
              <a:gd name="connsiteX23" fmla="*/ 98543 w 1132638"/>
              <a:gd name="connsiteY23" fmla="*/ 1170057 h 1944515"/>
              <a:gd name="connsiteX24" fmla="*/ 89212 w 1132638"/>
              <a:gd name="connsiteY24" fmla="*/ 731519 h 1944515"/>
              <a:gd name="connsiteX25" fmla="*/ 293442 w 1132638"/>
              <a:gd name="connsiteY25" fmla="*/ 60818 h 1944515"/>
              <a:gd name="connsiteX0" fmla="*/ 293442 w 1132638"/>
              <a:gd name="connsiteY0" fmla="*/ 60818 h 1944515"/>
              <a:gd name="connsiteX1" fmla="*/ 8642 w 1132638"/>
              <a:gd name="connsiteY1" fmla="*/ 718746 h 1944515"/>
              <a:gd name="connsiteX2" fmla="*/ 28696 w 1132638"/>
              <a:gd name="connsiteY2" fmla="*/ 1314454 h 1944515"/>
              <a:gd name="connsiteX3" fmla="*/ 259567 w 1132638"/>
              <a:gd name="connsiteY3" fmla="*/ 1821693 h 1944515"/>
              <a:gd name="connsiteX4" fmla="*/ 555743 w 1132638"/>
              <a:gd name="connsiteY4" fmla="*/ 1935168 h 1944515"/>
              <a:gd name="connsiteX5" fmla="*/ 817000 w 1132638"/>
              <a:gd name="connsiteY5" fmla="*/ 1869853 h 1944515"/>
              <a:gd name="connsiteX6" fmla="*/ 1082476 w 1132638"/>
              <a:gd name="connsiteY6" fmla="*/ 1333716 h 1944515"/>
              <a:gd name="connsiteX7" fmla="*/ 1104201 w 1132638"/>
              <a:gd name="connsiteY7" fmla="*/ 724111 h 1944515"/>
              <a:gd name="connsiteX8" fmla="*/ 773086 w 1132638"/>
              <a:gd name="connsiteY8" fmla="*/ 803 h 1944515"/>
              <a:gd name="connsiteX9" fmla="*/ 962842 w 1132638"/>
              <a:gd name="connsiteY9" fmla="*/ 650941 h 1944515"/>
              <a:gd name="connsiteX10" fmla="*/ 1011575 w 1132638"/>
              <a:gd name="connsiteY10" fmla="*/ 1031389 h 1944515"/>
              <a:gd name="connsiteX11" fmla="*/ 956959 w 1132638"/>
              <a:gd name="connsiteY11" fmla="*/ 1552613 h 1944515"/>
              <a:gd name="connsiteX12" fmla="*/ 761017 w 1132638"/>
              <a:gd name="connsiteY12" fmla="*/ 1785878 h 1944515"/>
              <a:gd name="connsiteX13" fmla="*/ 639719 w 1132638"/>
              <a:gd name="connsiteY13" fmla="*/ 1813870 h 1944515"/>
              <a:gd name="connsiteX14" fmla="*/ 630388 w 1132638"/>
              <a:gd name="connsiteY14" fmla="*/ 1645919 h 1944515"/>
              <a:gd name="connsiteX15" fmla="*/ 733025 w 1132638"/>
              <a:gd name="connsiteY15" fmla="*/ 1412653 h 1944515"/>
              <a:gd name="connsiteX16" fmla="*/ 705033 w 1132638"/>
              <a:gd name="connsiteY16" fmla="*/ 1198049 h 1944515"/>
              <a:gd name="connsiteX17" fmla="*/ 593066 w 1132638"/>
              <a:gd name="connsiteY17" fmla="*/ 787502 h 1944515"/>
              <a:gd name="connsiteX18" fmla="*/ 443776 w 1132638"/>
              <a:gd name="connsiteY18" fmla="*/ 1160727 h 1944515"/>
              <a:gd name="connsiteX19" fmla="*/ 434445 w 1132638"/>
              <a:gd name="connsiteY19" fmla="*/ 1496629 h 1944515"/>
              <a:gd name="connsiteX20" fmla="*/ 527751 w 1132638"/>
              <a:gd name="connsiteY20" fmla="*/ 1673911 h 1944515"/>
              <a:gd name="connsiteX21" fmla="*/ 546412 w 1132638"/>
              <a:gd name="connsiteY21" fmla="*/ 1804539 h 1944515"/>
              <a:gd name="connsiteX22" fmla="*/ 247833 w 1132638"/>
              <a:gd name="connsiteY22" fmla="*/ 1608596 h 1944515"/>
              <a:gd name="connsiteX23" fmla="*/ 98543 w 1132638"/>
              <a:gd name="connsiteY23" fmla="*/ 1170057 h 1944515"/>
              <a:gd name="connsiteX24" fmla="*/ 89212 w 1132638"/>
              <a:gd name="connsiteY24" fmla="*/ 731519 h 1944515"/>
              <a:gd name="connsiteX25" fmla="*/ 293442 w 1132638"/>
              <a:gd name="connsiteY25" fmla="*/ 60818 h 1944515"/>
              <a:gd name="connsiteX0" fmla="*/ 293442 w 1132638"/>
              <a:gd name="connsiteY0" fmla="*/ 60818 h 1944515"/>
              <a:gd name="connsiteX1" fmla="*/ 8642 w 1132638"/>
              <a:gd name="connsiteY1" fmla="*/ 718746 h 1944515"/>
              <a:gd name="connsiteX2" fmla="*/ 28696 w 1132638"/>
              <a:gd name="connsiteY2" fmla="*/ 1314454 h 1944515"/>
              <a:gd name="connsiteX3" fmla="*/ 259567 w 1132638"/>
              <a:gd name="connsiteY3" fmla="*/ 1821693 h 1944515"/>
              <a:gd name="connsiteX4" fmla="*/ 555743 w 1132638"/>
              <a:gd name="connsiteY4" fmla="*/ 1935168 h 1944515"/>
              <a:gd name="connsiteX5" fmla="*/ 817000 w 1132638"/>
              <a:gd name="connsiteY5" fmla="*/ 1869853 h 1944515"/>
              <a:gd name="connsiteX6" fmla="*/ 1082476 w 1132638"/>
              <a:gd name="connsiteY6" fmla="*/ 1333716 h 1944515"/>
              <a:gd name="connsiteX7" fmla="*/ 1104201 w 1132638"/>
              <a:gd name="connsiteY7" fmla="*/ 724111 h 1944515"/>
              <a:gd name="connsiteX8" fmla="*/ 773086 w 1132638"/>
              <a:gd name="connsiteY8" fmla="*/ 803 h 1944515"/>
              <a:gd name="connsiteX9" fmla="*/ 962842 w 1132638"/>
              <a:gd name="connsiteY9" fmla="*/ 650941 h 1944515"/>
              <a:gd name="connsiteX10" fmla="*/ 1011575 w 1132638"/>
              <a:gd name="connsiteY10" fmla="*/ 1031389 h 1944515"/>
              <a:gd name="connsiteX11" fmla="*/ 956959 w 1132638"/>
              <a:gd name="connsiteY11" fmla="*/ 1552613 h 1944515"/>
              <a:gd name="connsiteX12" fmla="*/ 761017 w 1132638"/>
              <a:gd name="connsiteY12" fmla="*/ 1785878 h 1944515"/>
              <a:gd name="connsiteX13" fmla="*/ 639719 w 1132638"/>
              <a:gd name="connsiteY13" fmla="*/ 1813870 h 1944515"/>
              <a:gd name="connsiteX14" fmla="*/ 630388 w 1132638"/>
              <a:gd name="connsiteY14" fmla="*/ 1645919 h 1944515"/>
              <a:gd name="connsiteX15" fmla="*/ 733025 w 1132638"/>
              <a:gd name="connsiteY15" fmla="*/ 1412653 h 1944515"/>
              <a:gd name="connsiteX16" fmla="*/ 705033 w 1132638"/>
              <a:gd name="connsiteY16" fmla="*/ 1198049 h 1944515"/>
              <a:gd name="connsiteX17" fmla="*/ 593066 w 1132638"/>
              <a:gd name="connsiteY17" fmla="*/ 787502 h 1944515"/>
              <a:gd name="connsiteX18" fmla="*/ 443776 w 1132638"/>
              <a:gd name="connsiteY18" fmla="*/ 1160727 h 1944515"/>
              <a:gd name="connsiteX19" fmla="*/ 434445 w 1132638"/>
              <a:gd name="connsiteY19" fmla="*/ 1496629 h 1944515"/>
              <a:gd name="connsiteX20" fmla="*/ 527751 w 1132638"/>
              <a:gd name="connsiteY20" fmla="*/ 1673911 h 1944515"/>
              <a:gd name="connsiteX21" fmla="*/ 546412 w 1132638"/>
              <a:gd name="connsiteY21" fmla="*/ 1804539 h 1944515"/>
              <a:gd name="connsiteX22" fmla="*/ 247833 w 1132638"/>
              <a:gd name="connsiteY22" fmla="*/ 1608596 h 1944515"/>
              <a:gd name="connsiteX23" fmla="*/ 98543 w 1132638"/>
              <a:gd name="connsiteY23" fmla="*/ 1170057 h 1944515"/>
              <a:gd name="connsiteX24" fmla="*/ 89212 w 1132638"/>
              <a:gd name="connsiteY24" fmla="*/ 731519 h 1944515"/>
              <a:gd name="connsiteX25" fmla="*/ 293442 w 1132638"/>
              <a:gd name="connsiteY25" fmla="*/ 60818 h 1944515"/>
              <a:gd name="connsiteX0" fmla="*/ 293442 w 1132638"/>
              <a:gd name="connsiteY0" fmla="*/ 60818 h 1944515"/>
              <a:gd name="connsiteX1" fmla="*/ 8642 w 1132638"/>
              <a:gd name="connsiteY1" fmla="*/ 718746 h 1944515"/>
              <a:gd name="connsiteX2" fmla="*/ 28696 w 1132638"/>
              <a:gd name="connsiteY2" fmla="*/ 1314454 h 1944515"/>
              <a:gd name="connsiteX3" fmla="*/ 259567 w 1132638"/>
              <a:gd name="connsiteY3" fmla="*/ 1821693 h 1944515"/>
              <a:gd name="connsiteX4" fmla="*/ 555743 w 1132638"/>
              <a:gd name="connsiteY4" fmla="*/ 1935168 h 1944515"/>
              <a:gd name="connsiteX5" fmla="*/ 817000 w 1132638"/>
              <a:gd name="connsiteY5" fmla="*/ 1869853 h 1944515"/>
              <a:gd name="connsiteX6" fmla="*/ 1082476 w 1132638"/>
              <a:gd name="connsiteY6" fmla="*/ 1333716 h 1944515"/>
              <a:gd name="connsiteX7" fmla="*/ 1104201 w 1132638"/>
              <a:gd name="connsiteY7" fmla="*/ 724111 h 1944515"/>
              <a:gd name="connsiteX8" fmla="*/ 773086 w 1132638"/>
              <a:gd name="connsiteY8" fmla="*/ 803 h 1944515"/>
              <a:gd name="connsiteX9" fmla="*/ 962842 w 1132638"/>
              <a:gd name="connsiteY9" fmla="*/ 650941 h 1944515"/>
              <a:gd name="connsiteX10" fmla="*/ 1011575 w 1132638"/>
              <a:gd name="connsiteY10" fmla="*/ 1031389 h 1944515"/>
              <a:gd name="connsiteX11" fmla="*/ 956959 w 1132638"/>
              <a:gd name="connsiteY11" fmla="*/ 1552613 h 1944515"/>
              <a:gd name="connsiteX12" fmla="*/ 761017 w 1132638"/>
              <a:gd name="connsiteY12" fmla="*/ 1785878 h 1944515"/>
              <a:gd name="connsiteX13" fmla="*/ 639719 w 1132638"/>
              <a:gd name="connsiteY13" fmla="*/ 1813870 h 1944515"/>
              <a:gd name="connsiteX14" fmla="*/ 630388 w 1132638"/>
              <a:gd name="connsiteY14" fmla="*/ 1645919 h 1944515"/>
              <a:gd name="connsiteX15" fmla="*/ 733025 w 1132638"/>
              <a:gd name="connsiteY15" fmla="*/ 1412653 h 1944515"/>
              <a:gd name="connsiteX16" fmla="*/ 705033 w 1132638"/>
              <a:gd name="connsiteY16" fmla="*/ 1198049 h 1944515"/>
              <a:gd name="connsiteX17" fmla="*/ 593066 w 1132638"/>
              <a:gd name="connsiteY17" fmla="*/ 787502 h 1944515"/>
              <a:gd name="connsiteX18" fmla="*/ 443776 w 1132638"/>
              <a:gd name="connsiteY18" fmla="*/ 1160727 h 1944515"/>
              <a:gd name="connsiteX19" fmla="*/ 434445 w 1132638"/>
              <a:gd name="connsiteY19" fmla="*/ 1496629 h 1944515"/>
              <a:gd name="connsiteX20" fmla="*/ 527751 w 1132638"/>
              <a:gd name="connsiteY20" fmla="*/ 1673911 h 1944515"/>
              <a:gd name="connsiteX21" fmla="*/ 546412 w 1132638"/>
              <a:gd name="connsiteY21" fmla="*/ 1804539 h 1944515"/>
              <a:gd name="connsiteX22" fmla="*/ 247833 w 1132638"/>
              <a:gd name="connsiteY22" fmla="*/ 1608596 h 1944515"/>
              <a:gd name="connsiteX23" fmla="*/ 98543 w 1132638"/>
              <a:gd name="connsiteY23" fmla="*/ 1170057 h 1944515"/>
              <a:gd name="connsiteX24" fmla="*/ 139546 w 1132638"/>
              <a:gd name="connsiteY24" fmla="*/ 755862 h 1944515"/>
              <a:gd name="connsiteX25" fmla="*/ 293442 w 1132638"/>
              <a:gd name="connsiteY25" fmla="*/ 60818 h 1944515"/>
              <a:gd name="connsiteX0" fmla="*/ 293442 w 1132638"/>
              <a:gd name="connsiteY0" fmla="*/ 60818 h 1944515"/>
              <a:gd name="connsiteX1" fmla="*/ 8642 w 1132638"/>
              <a:gd name="connsiteY1" fmla="*/ 718746 h 1944515"/>
              <a:gd name="connsiteX2" fmla="*/ 28696 w 1132638"/>
              <a:gd name="connsiteY2" fmla="*/ 1314454 h 1944515"/>
              <a:gd name="connsiteX3" fmla="*/ 259567 w 1132638"/>
              <a:gd name="connsiteY3" fmla="*/ 1821693 h 1944515"/>
              <a:gd name="connsiteX4" fmla="*/ 555743 w 1132638"/>
              <a:gd name="connsiteY4" fmla="*/ 1935168 h 1944515"/>
              <a:gd name="connsiteX5" fmla="*/ 817000 w 1132638"/>
              <a:gd name="connsiteY5" fmla="*/ 1869853 h 1944515"/>
              <a:gd name="connsiteX6" fmla="*/ 1082476 w 1132638"/>
              <a:gd name="connsiteY6" fmla="*/ 1333716 h 1944515"/>
              <a:gd name="connsiteX7" fmla="*/ 1104201 w 1132638"/>
              <a:gd name="connsiteY7" fmla="*/ 724111 h 1944515"/>
              <a:gd name="connsiteX8" fmla="*/ 773086 w 1132638"/>
              <a:gd name="connsiteY8" fmla="*/ 803 h 1944515"/>
              <a:gd name="connsiteX9" fmla="*/ 962842 w 1132638"/>
              <a:gd name="connsiteY9" fmla="*/ 650941 h 1944515"/>
              <a:gd name="connsiteX10" fmla="*/ 1011575 w 1132638"/>
              <a:gd name="connsiteY10" fmla="*/ 1031389 h 1944515"/>
              <a:gd name="connsiteX11" fmla="*/ 956959 w 1132638"/>
              <a:gd name="connsiteY11" fmla="*/ 1552613 h 1944515"/>
              <a:gd name="connsiteX12" fmla="*/ 761017 w 1132638"/>
              <a:gd name="connsiteY12" fmla="*/ 1785878 h 1944515"/>
              <a:gd name="connsiteX13" fmla="*/ 639719 w 1132638"/>
              <a:gd name="connsiteY13" fmla="*/ 1813870 h 1944515"/>
              <a:gd name="connsiteX14" fmla="*/ 630388 w 1132638"/>
              <a:gd name="connsiteY14" fmla="*/ 1645919 h 1944515"/>
              <a:gd name="connsiteX15" fmla="*/ 733025 w 1132638"/>
              <a:gd name="connsiteY15" fmla="*/ 1412653 h 1944515"/>
              <a:gd name="connsiteX16" fmla="*/ 705033 w 1132638"/>
              <a:gd name="connsiteY16" fmla="*/ 1198049 h 1944515"/>
              <a:gd name="connsiteX17" fmla="*/ 593066 w 1132638"/>
              <a:gd name="connsiteY17" fmla="*/ 787502 h 1944515"/>
              <a:gd name="connsiteX18" fmla="*/ 443776 w 1132638"/>
              <a:gd name="connsiteY18" fmla="*/ 1160727 h 1944515"/>
              <a:gd name="connsiteX19" fmla="*/ 434445 w 1132638"/>
              <a:gd name="connsiteY19" fmla="*/ 1496629 h 1944515"/>
              <a:gd name="connsiteX20" fmla="*/ 527751 w 1132638"/>
              <a:gd name="connsiteY20" fmla="*/ 1673911 h 1944515"/>
              <a:gd name="connsiteX21" fmla="*/ 546412 w 1132638"/>
              <a:gd name="connsiteY21" fmla="*/ 1804539 h 1944515"/>
              <a:gd name="connsiteX22" fmla="*/ 247833 w 1132638"/>
              <a:gd name="connsiteY22" fmla="*/ 1608596 h 1944515"/>
              <a:gd name="connsiteX23" fmla="*/ 98543 w 1132638"/>
              <a:gd name="connsiteY23" fmla="*/ 1170057 h 1944515"/>
              <a:gd name="connsiteX24" fmla="*/ 139546 w 1132638"/>
              <a:gd name="connsiteY24" fmla="*/ 755862 h 1944515"/>
              <a:gd name="connsiteX25" fmla="*/ 293442 w 1132638"/>
              <a:gd name="connsiteY25" fmla="*/ 60818 h 1944515"/>
              <a:gd name="connsiteX0" fmla="*/ 293442 w 1132638"/>
              <a:gd name="connsiteY0" fmla="*/ 60818 h 1944515"/>
              <a:gd name="connsiteX1" fmla="*/ 8642 w 1132638"/>
              <a:gd name="connsiteY1" fmla="*/ 718746 h 1944515"/>
              <a:gd name="connsiteX2" fmla="*/ 28696 w 1132638"/>
              <a:gd name="connsiteY2" fmla="*/ 1314454 h 1944515"/>
              <a:gd name="connsiteX3" fmla="*/ 259567 w 1132638"/>
              <a:gd name="connsiteY3" fmla="*/ 1821693 h 1944515"/>
              <a:gd name="connsiteX4" fmla="*/ 555743 w 1132638"/>
              <a:gd name="connsiteY4" fmla="*/ 1935168 h 1944515"/>
              <a:gd name="connsiteX5" fmla="*/ 817000 w 1132638"/>
              <a:gd name="connsiteY5" fmla="*/ 1869853 h 1944515"/>
              <a:gd name="connsiteX6" fmla="*/ 1082476 w 1132638"/>
              <a:gd name="connsiteY6" fmla="*/ 1333716 h 1944515"/>
              <a:gd name="connsiteX7" fmla="*/ 1104201 w 1132638"/>
              <a:gd name="connsiteY7" fmla="*/ 724111 h 1944515"/>
              <a:gd name="connsiteX8" fmla="*/ 773086 w 1132638"/>
              <a:gd name="connsiteY8" fmla="*/ 803 h 1944515"/>
              <a:gd name="connsiteX9" fmla="*/ 962842 w 1132638"/>
              <a:gd name="connsiteY9" fmla="*/ 650941 h 1944515"/>
              <a:gd name="connsiteX10" fmla="*/ 1011575 w 1132638"/>
              <a:gd name="connsiteY10" fmla="*/ 1031389 h 1944515"/>
              <a:gd name="connsiteX11" fmla="*/ 956959 w 1132638"/>
              <a:gd name="connsiteY11" fmla="*/ 1552613 h 1944515"/>
              <a:gd name="connsiteX12" fmla="*/ 761017 w 1132638"/>
              <a:gd name="connsiteY12" fmla="*/ 1785878 h 1944515"/>
              <a:gd name="connsiteX13" fmla="*/ 639719 w 1132638"/>
              <a:gd name="connsiteY13" fmla="*/ 1813870 h 1944515"/>
              <a:gd name="connsiteX14" fmla="*/ 630388 w 1132638"/>
              <a:gd name="connsiteY14" fmla="*/ 1645919 h 1944515"/>
              <a:gd name="connsiteX15" fmla="*/ 733025 w 1132638"/>
              <a:gd name="connsiteY15" fmla="*/ 1412653 h 1944515"/>
              <a:gd name="connsiteX16" fmla="*/ 705033 w 1132638"/>
              <a:gd name="connsiteY16" fmla="*/ 1198049 h 1944515"/>
              <a:gd name="connsiteX17" fmla="*/ 593066 w 1132638"/>
              <a:gd name="connsiteY17" fmla="*/ 787502 h 1944515"/>
              <a:gd name="connsiteX18" fmla="*/ 443776 w 1132638"/>
              <a:gd name="connsiteY18" fmla="*/ 1160727 h 1944515"/>
              <a:gd name="connsiteX19" fmla="*/ 434445 w 1132638"/>
              <a:gd name="connsiteY19" fmla="*/ 1496629 h 1944515"/>
              <a:gd name="connsiteX20" fmla="*/ 527751 w 1132638"/>
              <a:gd name="connsiteY20" fmla="*/ 1673911 h 1944515"/>
              <a:gd name="connsiteX21" fmla="*/ 546412 w 1132638"/>
              <a:gd name="connsiteY21" fmla="*/ 1804539 h 1944515"/>
              <a:gd name="connsiteX22" fmla="*/ 247833 w 1132638"/>
              <a:gd name="connsiteY22" fmla="*/ 1608596 h 1944515"/>
              <a:gd name="connsiteX23" fmla="*/ 139546 w 1132638"/>
              <a:gd name="connsiteY23" fmla="*/ 755862 h 1944515"/>
              <a:gd name="connsiteX24" fmla="*/ 293442 w 1132638"/>
              <a:gd name="connsiteY24" fmla="*/ 60818 h 1944515"/>
              <a:gd name="connsiteX0" fmla="*/ 293442 w 1132638"/>
              <a:gd name="connsiteY0" fmla="*/ 60818 h 1944515"/>
              <a:gd name="connsiteX1" fmla="*/ 8642 w 1132638"/>
              <a:gd name="connsiteY1" fmla="*/ 718746 h 1944515"/>
              <a:gd name="connsiteX2" fmla="*/ 28696 w 1132638"/>
              <a:gd name="connsiteY2" fmla="*/ 1314454 h 1944515"/>
              <a:gd name="connsiteX3" fmla="*/ 259567 w 1132638"/>
              <a:gd name="connsiteY3" fmla="*/ 1821693 h 1944515"/>
              <a:gd name="connsiteX4" fmla="*/ 555743 w 1132638"/>
              <a:gd name="connsiteY4" fmla="*/ 1935168 h 1944515"/>
              <a:gd name="connsiteX5" fmla="*/ 817000 w 1132638"/>
              <a:gd name="connsiteY5" fmla="*/ 1869853 h 1944515"/>
              <a:gd name="connsiteX6" fmla="*/ 1082476 w 1132638"/>
              <a:gd name="connsiteY6" fmla="*/ 1333716 h 1944515"/>
              <a:gd name="connsiteX7" fmla="*/ 1104201 w 1132638"/>
              <a:gd name="connsiteY7" fmla="*/ 724111 h 1944515"/>
              <a:gd name="connsiteX8" fmla="*/ 773086 w 1132638"/>
              <a:gd name="connsiteY8" fmla="*/ 803 h 1944515"/>
              <a:gd name="connsiteX9" fmla="*/ 962842 w 1132638"/>
              <a:gd name="connsiteY9" fmla="*/ 650941 h 1944515"/>
              <a:gd name="connsiteX10" fmla="*/ 1011575 w 1132638"/>
              <a:gd name="connsiteY10" fmla="*/ 1031389 h 1944515"/>
              <a:gd name="connsiteX11" fmla="*/ 956959 w 1132638"/>
              <a:gd name="connsiteY11" fmla="*/ 1552613 h 1944515"/>
              <a:gd name="connsiteX12" fmla="*/ 761017 w 1132638"/>
              <a:gd name="connsiteY12" fmla="*/ 1785878 h 1944515"/>
              <a:gd name="connsiteX13" fmla="*/ 639719 w 1132638"/>
              <a:gd name="connsiteY13" fmla="*/ 1813870 h 1944515"/>
              <a:gd name="connsiteX14" fmla="*/ 630388 w 1132638"/>
              <a:gd name="connsiteY14" fmla="*/ 1645919 h 1944515"/>
              <a:gd name="connsiteX15" fmla="*/ 733025 w 1132638"/>
              <a:gd name="connsiteY15" fmla="*/ 1412653 h 1944515"/>
              <a:gd name="connsiteX16" fmla="*/ 705033 w 1132638"/>
              <a:gd name="connsiteY16" fmla="*/ 1198049 h 1944515"/>
              <a:gd name="connsiteX17" fmla="*/ 593066 w 1132638"/>
              <a:gd name="connsiteY17" fmla="*/ 787502 h 1944515"/>
              <a:gd name="connsiteX18" fmla="*/ 443776 w 1132638"/>
              <a:gd name="connsiteY18" fmla="*/ 1160727 h 1944515"/>
              <a:gd name="connsiteX19" fmla="*/ 434445 w 1132638"/>
              <a:gd name="connsiteY19" fmla="*/ 1496629 h 1944515"/>
              <a:gd name="connsiteX20" fmla="*/ 527751 w 1132638"/>
              <a:gd name="connsiteY20" fmla="*/ 1673911 h 1944515"/>
              <a:gd name="connsiteX21" fmla="*/ 546412 w 1132638"/>
              <a:gd name="connsiteY21" fmla="*/ 1804539 h 1944515"/>
              <a:gd name="connsiteX22" fmla="*/ 247832 w 1132638"/>
              <a:gd name="connsiteY22" fmla="*/ 1608597 h 1944515"/>
              <a:gd name="connsiteX23" fmla="*/ 139546 w 1132638"/>
              <a:gd name="connsiteY23" fmla="*/ 755862 h 1944515"/>
              <a:gd name="connsiteX24" fmla="*/ 293442 w 1132638"/>
              <a:gd name="connsiteY24" fmla="*/ 60818 h 1944515"/>
              <a:gd name="connsiteX0" fmla="*/ 293442 w 1132638"/>
              <a:gd name="connsiteY0" fmla="*/ 60818 h 1944515"/>
              <a:gd name="connsiteX1" fmla="*/ 8642 w 1132638"/>
              <a:gd name="connsiteY1" fmla="*/ 718746 h 1944515"/>
              <a:gd name="connsiteX2" fmla="*/ 28696 w 1132638"/>
              <a:gd name="connsiteY2" fmla="*/ 1314454 h 1944515"/>
              <a:gd name="connsiteX3" fmla="*/ 259567 w 1132638"/>
              <a:gd name="connsiteY3" fmla="*/ 1821693 h 1944515"/>
              <a:gd name="connsiteX4" fmla="*/ 555743 w 1132638"/>
              <a:gd name="connsiteY4" fmla="*/ 1935168 h 1944515"/>
              <a:gd name="connsiteX5" fmla="*/ 817000 w 1132638"/>
              <a:gd name="connsiteY5" fmla="*/ 1869853 h 1944515"/>
              <a:gd name="connsiteX6" fmla="*/ 1082476 w 1132638"/>
              <a:gd name="connsiteY6" fmla="*/ 1333716 h 1944515"/>
              <a:gd name="connsiteX7" fmla="*/ 1104201 w 1132638"/>
              <a:gd name="connsiteY7" fmla="*/ 724111 h 1944515"/>
              <a:gd name="connsiteX8" fmla="*/ 773086 w 1132638"/>
              <a:gd name="connsiteY8" fmla="*/ 803 h 1944515"/>
              <a:gd name="connsiteX9" fmla="*/ 962842 w 1132638"/>
              <a:gd name="connsiteY9" fmla="*/ 650941 h 1944515"/>
              <a:gd name="connsiteX10" fmla="*/ 1011575 w 1132638"/>
              <a:gd name="connsiteY10" fmla="*/ 1031389 h 1944515"/>
              <a:gd name="connsiteX11" fmla="*/ 956959 w 1132638"/>
              <a:gd name="connsiteY11" fmla="*/ 1552613 h 1944515"/>
              <a:gd name="connsiteX12" fmla="*/ 761017 w 1132638"/>
              <a:gd name="connsiteY12" fmla="*/ 1785878 h 1944515"/>
              <a:gd name="connsiteX13" fmla="*/ 639719 w 1132638"/>
              <a:gd name="connsiteY13" fmla="*/ 1813870 h 1944515"/>
              <a:gd name="connsiteX14" fmla="*/ 630388 w 1132638"/>
              <a:gd name="connsiteY14" fmla="*/ 1645919 h 1944515"/>
              <a:gd name="connsiteX15" fmla="*/ 733025 w 1132638"/>
              <a:gd name="connsiteY15" fmla="*/ 1412653 h 1944515"/>
              <a:gd name="connsiteX16" fmla="*/ 705033 w 1132638"/>
              <a:gd name="connsiteY16" fmla="*/ 1198049 h 1944515"/>
              <a:gd name="connsiteX17" fmla="*/ 593066 w 1132638"/>
              <a:gd name="connsiteY17" fmla="*/ 787502 h 1944515"/>
              <a:gd name="connsiteX18" fmla="*/ 443776 w 1132638"/>
              <a:gd name="connsiteY18" fmla="*/ 1160727 h 1944515"/>
              <a:gd name="connsiteX19" fmla="*/ 434445 w 1132638"/>
              <a:gd name="connsiteY19" fmla="*/ 1496629 h 1944515"/>
              <a:gd name="connsiteX20" fmla="*/ 527751 w 1132638"/>
              <a:gd name="connsiteY20" fmla="*/ 1673911 h 1944515"/>
              <a:gd name="connsiteX21" fmla="*/ 546412 w 1132638"/>
              <a:gd name="connsiteY21" fmla="*/ 1804539 h 1944515"/>
              <a:gd name="connsiteX22" fmla="*/ 247832 w 1132638"/>
              <a:gd name="connsiteY22" fmla="*/ 1608597 h 1944515"/>
              <a:gd name="connsiteX23" fmla="*/ 139546 w 1132638"/>
              <a:gd name="connsiteY23" fmla="*/ 755862 h 1944515"/>
              <a:gd name="connsiteX24" fmla="*/ 293442 w 1132638"/>
              <a:gd name="connsiteY24" fmla="*/ 60818 h 1944515"/>
              <a:gd name="connsiteX0" fmla="*/ 293442 w 1132638"/>
              <a:gd name="connsiteY0" fmla="*/ 60818 h 1944515"/>
              <a:gd name="connsiteX1" fmla="*/ 8642 w 1132638"/>
              <a:gd name="connsiteY1" fmla="*/ 718746 h 1944515"/>
              <a:gd name="connsiteX2" fmla="*/ 28696 w 1132638"/>
              <a:gd name="connsiteY2" fmla="*/ 1314454 h 1944515"/>
              <a:gd name="connsiteX3" fmla="*/ 259567 w 1132638"/>
              <a:gd name="connsiteY3" fmla="*/ 1821693 h 1944515"/>
              <a:gd name="connsiteX4" fmla="*/ 555743 w 1132638"/>
              <a:gd name="connsiteY4" fmla="*/ 1935168 h 1944515"/>
              <a:gd name="connsiteX5" fmla="*/ 817000 w 1132638"/>
              <a:gd name="connsiteY5" fmla="*/ 1869853 h 1944515"/>
              <a:gd name="connsiteX6" fmla="*/ 1082476 w 1132638"/>
              <a:gd name="connsiteY6" fmla="*/ 1333716 h 1944515"/>
              <a:gd name="connsiteX7" fmla="*/ 1104201 w 1132638"/>
              <a:gd name="connsiteY7" fmla="*/ 724111 h 1944515"/>
              <a:gd name="connsiteX8" fmla="*/ 773086 w 1132638"/>
              <a:gd name="connsiteY8" fmla="*/ 803 h 1944515"/>
              <a:gd name="connsiteX9" fmla="*/ 962842 w 1132638"/>
              <a:gd name="connsiteY9" fmla="*/ 650941 h 1944515"/>
              <a:gd name="connsiteX10" fmla="*/ 1011575 w 1132638"/>
              <a:gd name="connsiteY10" fmla="*/ 1031389 h 1944515"/>
              <a:gd name="connsiteX11" fmla="*/ 956959 w 1132638"/>
              <a:gd name="connsiteY11" fmla="*/ 1552613 h 1944515"/>
              <a:gd name="connsiteX12" fmla="*/ 761017 w 1132638"/>
              <a:gd name="connsiteY12" fmla="*/ 1785878 h 1944515"/>
              <a:gd name="connsiteX13" fmla="*/ 639719 w 1132638"/>
              <a:gd name="connsiteY13" fmla="*/ 1813870 h 1944515"/>
              <a:gd name="connsiteX14" fmla="*/ 630388 w 1132638"/>
              <a:gd name="connsiteY14" fmla="*/ 1645919 h 1944515"/>
              <a:gd name="connsiteX15" fmla="*/ 733025 w 1132638"/>
              <a:gd name="connsiteY15" fmla="*/ 1412653 h 1944515"/>
              <a:gd name="connsiteX16" fmla="*/ 705033 w 1132638"/>
              <a:gd name="connsiteY16" fmla="*/ 1198049 h 1944515"/>
              <a:gd name="connsiteX17" fmla="*/ 593066 w 1132638"/>
              <a:gd name="connsiteY17" fmla="*/ 787502 h 1944515"/>
              <a:gd name="connsiteX18" fmla="*/ 443776 w 1132638"/>
              <a:gd name="connsiteY18" fmla="*/ 1160727 h 1944515"/>
              <a:gd name="connsiteX19" fmla="*/ 434445 w 1132638"/>
              <a:gd name="connsiteY19" fmla="*/ 1496629 h 1944515"/>
              <a:gd name="connsiteX20" fmla="*/ 527751 w 1132638"/>
              <a:gd name="connsiteY20" fmla="*/ 1673911 h 1944515"/>
              <a:gd name="connsiteX21" fmla="*/ 546412 w 1132638"/>
              <a:gd name="connsiteY21" fmla="*/ 1804539 h 1944515"/>
              <a:gd name="connsiteX22" fmla="*/ 215990 w 1132638"/>
              <a:gd name="connsiteY22" fmla="*/ 1528423 h 1944515"/>
              <a:gd name="connsiteX23" fmla="*/ 139546 w 1132638"/>
              <a:gd name="connsiteY23" fmla="*/ 755862 h 1944515"/>
              <a:gd name="connsiteX24" fmla="*/ 293442 w 1132638"/>
              <a:gd name="connsiteY24" fmla="*/ 60818 h 1944515"/>
              <a:gd name="connsiteX0" fmla="*/ 293442 w 1132638"/>
              <a:gd name="connsiteY0" fmla="*/ 60818 h 1944515"/>
              <a:gd name="connsiteX1" fmla="*/ 8642 w 1132638"/>
              <a:gd name="connsiteY1" fmla="*/ 718746 h 1944515"/>
              <a:gd name="connsiteX2" fmla="*/ 28696 w 1132638"/>
              <a:gd name="connsiteY2" fmla="*/ 1314454 h 1944515"/>
              <a:gd name="connsiteX3" fmla="*/ 259567 w 1132638"/>
              <a:gd name="connsiteY3" fmla="*/ 1821693 h 1944515"/>
              <a:gd name="connsiteX4" fmla="*/ 555743 w 1132638"/>
              <a:gd name="connsiteY4" fmla="*/ 1935168 h 1944515"/>
              <a:gd name="connsiteX5" fmla="*/ 817000 w 1132638"/>
              <a:gd name="connsiteY5" fmla="*/ 1869853 h 1944515"/>
              <a:gd name="connsiteX6" fmla="*/ 1082476 w 1132638"/>
              <a:gd name="connsiteY6" fmla="*/ 1333716 h 1944515"/>
              <a:gd name="connsiteX7" fmla="*/ 1104201 w 1132638"/>
              <a:gd name="connsiteY7" fmla="*/ 724111 h 1944515"/>
              <a:gd name="connsiteX8" fmla="*/ 773086 w 1132638"/>
              <a:gd name="connsiteY8" fmla="*/ 803 h 1944515"/>
              <a:gd name="connsiteX9" fmla="*/ 962842 w 1132638"/>
              <a:gd name="connsiteY9" fmla="*/ 650941 h 1944515"/>
              <a:gd name="connsiteX10" fmla="*/ 1011575 w 1132638"/>
              <a:gd name="connsiteY10" fmla="*/ 1031389 h 1944515"/>
              <a:gd name="connsiteX11" fmla="*/ 916706 w 1132638"/>
              <a:gd name="connsiteY11" fmla="*/ 1508857 h 1944515"/>
              <a:gd name="connsiteX12" fmla="*/ 761017 w 1132638"/>
              <a:gd name="connsiteY12" fmla="*/ 1785878 h 1944515"/>
              <a:gd name="connsiteX13" fmla="*/ 639719 w 1132638"/>
              <a:gd name="connsiteY13" fmla="*/ 1813870 h 1944515"/>
              <a:gd name="connsiteX14" fmla="*/ 630388 w 1132638"/>
              <a:gd name="connsiteY14" fmla="*/ 1645919 h 1944515"/>
              <a:gd name="connsiteX15" fmla="*/ 733025 w 1132638"/>
              <a:gd name="connsiteY15" fmla="*/ 1412653 h 1944515"/>
              <a:gd name="connsiteX16" fmla="*/ 705033 w 1132638"/>
              <a:gd name="connsiteY16" fmla="*/ 1198049 h 1944515"/>
              <a:gd name="connsiteX17" fmla="*/ 593066 w 1132638"/>
              <a:gd name="connsiteY17" fmla="*/ 787502 h 1944515"/>
              <a:gd name="connsiteX18" fmla="*/ 443776 w 1132638"/>
              <a:gd name="connsiteY18" fmla="*/ 1160727 h 1944515"/>
              <a:gd name="connsiteX19" fmla="*/ 434445 w 1132638"/>
              <a:gd name="connsiteY19" fmla="*/ 1496629 h 1944515"/>
              <a:gd name="connsiteX20" fmla="*/ 527751 w 1132638"/>
              <a:gd name="connsiteY20" fmla="*/ 1673911 h 1944515"/>
              <a:gd name="connsiteX21" fmla="*/ 546412 w 1132638"/>
              <a:gd name="connsiteY21" fmla="*/ 1804539 h 1944515"/>
              <a:gd name="connsiteX22" fmla="*/ 215990 w 1132638"/>
              <a:gd name="connsiteY22" fmla="*/ 1528423 h 1944515"/>
              <a:gd name="connsiteX23" fmla="*/ 139546 w 1132638"/>
              <a:gd name="connsiteY23" fmla="*/ 755862 h 1944515"/>
              <a:gd name="connsiteX24" fmla="*/ 293442 w 1132638"/>
              <a:gd name="connsiteY24" fmla="*/ 60818 h 1944515"/>
              <a:gd name="connsiteX0" fmla="*/ 371093 w 1210289"/>
              <a:gd name="connsiteY0" fmla="*/ 60818 h 1944515"/>
              <a:gd name="connsiteX1" fmla="*/ 711 w 1210289"/>
              <a:gd name="connsiteY1" fmla="*/ 701647 h 1944515"/>
              <a:gd name="connsiteX2" fmla="*/ 106347 w 1210289"/>
              <a:gd name="connsiteY2" fmla="*/ 1314454 h 1944515"/>
              <a:gd name="connsiteX3" fmla="*/ 337218 w 1210289"/>
              <a:gd name="connsiteY3" fmla="*/ 1821693 h 1944515"/>
              <a:gd name="connsiteX4" fmla="*/ 633394 w 1210289"/>
              <a:gd name="connsiteY4" fmla="*/ 1935168 h 1944515"/>
              <a:gd name="connsiteX5" fmla="*/ 894651 w 1210289"/>
              <a:gd name="connsiteY5" fmla="*/ 1869853 h 1944515"/>
              <a:gd name="connsiteX6" fmla="*/ 1160127 w 1210289"/>
              <a:gd name="connsiteY6" fmla="*/ 1333716 h 1944515"/>
              <a:gd name="connsiteX7" fmla="*/ 1181852 w 1210289"/>
              <a:gd name="connsiteY7" fmla="*/ 724111 h 1944515"/>
              <a:gd name="connsiteX8" fmla="*/ 850737 w 1210289"/>
              <a:gd name="connsiteY8" fmla="*/ 803 h 1944515"/>
              <a:gd name="connsiteX9" fmla="*/ 1040493 w 1210289"/>
              <a:gd name="connsiteY9" fmla="*/ 650941 h 1944515"/>
              <a:gd name="connsiteX10" fmla="*/ 1089226 w 1210289"/>
              <a:gd name="connsiteY10" fmla="*/ 1031389 h 1944515"/>
              <a:gd name="connsiteX11" fmla="*/ 994357 w 1210289"/>
              <a:gd name="connsiteY11" fmla="*/ 1508857 h 1944515"/>
              <a:gd name="connsiteX12" fmla="*/ 838668 w 1210289"/>
              <a:gd name="connsiteY12" fmla="*/ 1785878 h 1944515"/>
              <a:gd name="connsiteX13" fmla="*/ 717370 w 1210289"/>
              <a:gd name="connsiteY13" fmla="*/ 1813870 h 1944515"/>
              <a:gd name="connsiteX14" fmla="*/ 708039 w 1210289"/>
              <a:gd name="connsiteY14" fmla="*/ 1645919 h 1944515"/>
              <a:gd name="connsiteX15" fmla="*/ 810676 w 1210289"/>
              <a:gd name="connsiteY15" fmla="*/ 1412653 h 1944515"/>
              <a:gd name="connsiteX16" fmla="*/ 782684 w 1210289"/>
              <a:gd name="connsiteY16" fmla="*/ 1198049 h 1944515"/>
              <a:gd name="connsiteX17" fmla="*/ 670717 w 1210289"/>
              <a:gd name="connsiteY17" fmla="*/ 787502 h 1944515"/>
              <a:gd name="connsiteX18" fmla="*/ 521427 w 1210289"/>
              <a:gd name="connsiteY18" fmla="*/ 1160727 h 1944515"/>
              <a:gd name="connsiteX19" fmla="*/ 512096 w 1210289"/>
              <a:gd name="connsiteY19" fmla="*/ 1496629 h 1944515"/>
              <a:gd name="connsiteX20" fmla="*/ 605402 w 1210289"/>
              <a:gd name="connsiteY20" fmla="*/ 1673911 h 1944515"/>
              <a:gd name="connsiteX21" fmla="*/ 624063 w 1210289"/>
              <a:gd name="connsiteY21" fmla="*/ 1804539 h 1944515"/>
              <a:gd name="connsiteX22" fmla="*/ 293641 w 1210289"/>
              <a:gd name="connsiteY22" fmla="*/ 1528423 h 1944515"/>
              <a:gd name="connsiteX23" fmla="*/ 217197 w 1210289"/>
              <a:gd name="connsiteY23" fmla="*/ 755862 h 1944515"/>
              <a:gd name="connsiteX24" fmla="*/ 371093 w 1210289"/>
              <a:gd name="connsiteY24" fmla="*/ 60818 h 1944515"/>
              <a:gd name="connsiteX0" fmla="*/ 373983 w 1213179"/>
              <a:gd name="connsiteY0" fmla="*/ 60818 h 1944515"/>
              <a:gd name="connsiteX1" fmla="*/ 3601 w 1213179"/>
              <a:gd name="connsiteY1" fmla="*/ 701647 h 1944515"/>
              <a:gd name="connsiteX2" fmla="*/ 52161 w 1213179"/>
              <a:gd name="connsiteY2" fmla="*/ 1343529 h 1944515"/>
              <a:gd name="connsiteX3" fmla="*/ 340108 w 1213179"/>
              <a:gd name="connsiteY3" fmla="*/ 1821693 h 1944515"/>
              <a:gd name="connsiteX4" fmla="*/ 636284 w 1213179"/>
              <a:gd name="connsiteY4" fmla="*/ 1935168 h 1944515"/>
              <a:gd name="connsiteX5" fmla="*/ 897541 w 1213179"/>
              <a:gd name="connsiteY5" fmla="*/ 1869853 h 1944515"/>
              <a:gd name="connsiteX6" fmla="*/ 1163017 w 1213179"/>
              <a:gd name="connsiteY6" fmla="*/ 1333716 h 1944515"/>
              <a:gd name="connsiteX7" fmla="*/ 1184742 w 1213179"/>
              <a:gd name="connsiteY7" fmla="*/ 724111 h 1944515"/>
              <a:gd name="connsiteX8" fmla="*/ 853627 w 1213179"/>
              <a:gd name="connsiteY8" fmla="*/ 803 h 1944515"/>
              <a:gd name="connsiteX9" fmla="*/ 1043383 w 1213179"/>
              <a:gd name="connsiteY9" fmla="*/ 650941 h 1944515"/>
              <a:gd name="connsiteX10" fmla="*/ 1092116 w 1213179"/>
              <a:gd name="connsiteY10" fmla="*/ 1031389 h 1944515"/>
              <a:gd name="connsiteX11" fmla="*/ 997247 w 1213179"/>
              <a:gd name="connsiteY11" fmla="*/ 1508857 h 1944515"/>
              <a:gd name="connsiteX12" fmla="*/ 841558 w 1213179"/>
              <a:gd name="connsiteY12" fmla="*/ 1785878 h 1944515"/>
              <a:gd name="connsiteX13" fmla="*/ 720260 w 1213179"/>
              <a:gd name="connsiteY13" fmla="*/ 1813870 h 1944515"/>
              <a:gd name="connsiteX14" fmla="*/ 710929 w 1213179"/>
              <a:gd name="connsiteY14" fmla="*/ 1645919 h 1944515"/>
              <a:gd name="connsiteX15" fmla="*/ 813566 w 1213179"/>
              <a:gd name="connsiteY15" fmla="*/ 1412653 h 1944515"/>
              <a:gd name="connsiteX16" fmla="*/ 785574 w 1213179"/>
              <a:gd name="connsiteY16" fmla="*/ 1198049 h 1944515"/>
              <a:gd name="connsiteX17" fmla="*/ 673607 w 1213179"/>
              <a:gd name="connsiteY17" fmla="*/ 787502 h 1944515"/>
              <a:gd name="connsiteX18" fmla="*/ 524317 w 1213179"/>
              <a:gd name="connsiteY18" fmla="*/ 1160727 h 1944515"/>
              <a:gd name="connsiteX19" fmla="*/ 514986 w 1213179"/>
              <a:gd name="connsiteY19" fmla="*/ 1496629 h 1944515"/>
              <a:gd name="connsiteX20" fmla="*/ 608292 w 1213179"/>
              <a:gd name="connsiteY20" fmla="*/ 1673911 h 1944515"/>
              <a:gd name="connsiteX21" fmla="*/ 626953 w 1213179"/>
              <a:gd name="connsiteY21" fmla="*/ 1804539 h 1944515"/>
              <a:gd name="connsiteX22" fmla="*/ 296531 w 1213179"/>
              <a:gd name="connsiteY22" fmla="*/ 1528423 h 1944515"/>
              <a:gd name="connsiteX23" fmla="*/ 220087 w 1213179"/>
              <a:gd name="connsiteY23" fmla="*/ 755862 h 1944515"/>
              <a:gd name="connsiteX24" fmla="*/ 373983 w 1213179"/>
              <a:gd name="connsiteY24" fmla="*/ 60818 h 1944515"/>
              <a:gd name="connsiteX0" fmla="*/ 373983 w 1213179"/>
              <a:gd name="connsiteY0" fmla="*/ 60818 h 1944515"/>
              <a:gd name="connsiteX1" fmla="*/ 3601 w 1213179"/>
              <a:gd name="connsiteY1" fmla="*/ 701647 h 1944515"/>
              <a:gd name="connsiteX2" fmla="*/ 52161 w 1213179"/>
              <a:gd name="connsiteY2" fmla="*/ 1343529 h 1944515"/>
              <a:gd name="connsiteX3" fmla="*/ 340108 w 1213179"/>
              <a:gd name="connsiteY3" fmla="*/ 1821693 h 1944515"/>
              <a:gd name="connsiteX4" fmla="*/ 636284 w 1213179"/>
              <a:gd name="connsiteY4" fmla="*/ 1935168 h 1944515"/>
              <a:gd name="connsiteX5" fmla="*/ 897541 w 1213179"/>
              <a:gd name="connsiteY5" fmla="*/ 1869853 h 1944515"/>
              <a:gd name="connsiteX6" fmla="*/ 1163017 w 1213179"/>
              <a:gd name="connsiteY6" fmla="*/ 1333716 h 1944515"/>
              <a:gd name="connsiteX7" fmla="*/ 1184742 w 1213179"/>
              <a:gd name="connsiteY7" fmla="*/ 724111 h 1944515"/>
              <a:gd name="connsiteX8" fmla="*/ 853627 w 1213179"/>
              <a:gd name="connsiteY8" fmla="*/ 803 h 1944515"/>
              <a:gd name="connsiteX9" fmla="*/ 1043383 w 1213179"/>
              <a:gd name="connsiteY9" fmla="*/ 650941 h 1944515"/>
              <a:gd name="connsiteX10" fmla="*/ 1092116 w 1213179"/>
              <a:gd name="connsiteY10" fmla="*/ 1031389 h 1944515"/>
              <a:gd name="connsiteX11" fmla="*/ 997247 w 1213179"/>
              <a:gd name="connsiteY11" fmla="*/ 1508857 h 1944515"/>
              <a:gd name="connsiteX12" fmla="*/ 841558 w 1213179"/>
              <a:gd name="connsiteY12" fmla="*/ 1785878 h 1944515"/>
              <a:gd name="connsiteX13" fmla="*/ 720260 w 1213179"/>
              <a:gd name="connsiteY13" fmla="*/ 1813870 h 1944515"/>
              <a:gd name="connsiteX14" fmla="*/ 710929 w 1213179"/>
              <a:gd name="connsiteY14" fmla="*/ 1645919 h 1944515"/>
              <a:gd name="connsiteX15" fmla="*/ 813566 w 1213179"/>
              <a:gd name="connsiteY15" fmla="*/ 1412653 h 1944515"/>
              <a:gd name="connsiteX16" fmla="*/ 785574 w 1213179"/>
              <a:gd name="connsiteY16" fmla="*/ 1198049 h 1944515"/>
              <a:gd name="connsiteX17" fmla="*/ 673607 w 1213179"/>
              <a:gd name="connsiteY17" fmla="*/ 787502 h 1944515"/>
              <a:gd name="connsiteX18" fmla="*/ 524317 w 1213179"/>
              <a:gd name="connsiteY18" fmla="*/ 1160727 h 1944515"/>
              <a:gd name="connsiteX19" fmla="*/ 514986 w 1213179"/>
              <a:gd name="connsiteY19" fmla="*/ 1496629 h 1944515"/>
              <a:gd name="connsiteX20" fmla="*/ 608292 w 1213179"/>
              <a:gd name="connsiteY20" fmla="*/ 1673911 h 1944515"/>
              <a:gd name="connsiteX21" fmla="*/ 626953 w 1213179"/>
              <a:gd name="connsiteY21" fmla="*/ 1804539 h 1944515"/>
              <a:gd name="connsiteX22" fmla="*/ 296531 w 1213179"/>
              <a:gd name="connsiteY22" fmla="*/ 1528423 h 1944515"/>
              <a:gd name="connsiteX23" fmla="*/ 102596 w 1213179"/>
              <a:gd name="connsiteY23" fmla="*/ 780008 h 1944515"/>
              <a:gd name="connsiteX24" fmla="*/ 373983 w 1213179"/>
              <a:gd name="connsiteY24" fmla="*/ 60818 h 1944515"/>
              <a:gd name="connsiteX0" fmla="*/ 373983 w 1292648"/>
              <a:gd name="connsiteY0" fmla="*/ 60138 h 1943835"/>
              <a:gd name="connsiteX1" fmla="*/ 3601 w 1292648"/>
              <a:gd name="connsiteY1" fmla="*/ 700967 h 1943835"/>
              <a:gd name="connsiteX2" fmla="*/ 52161 w 1292648"/>
              <a:gd name="connsiteY2" fmla="*/ 1342849 h 1943835"/>
              <a:gd name="connsiteX3" fmla="*/ 340108 w 1292648"/>
              <a:gd name="connsiteY3" fmla="*/ 1821013 h 1943835"/>
              <a:gd name="connsiteX4" fmla="*/ 636284 w 1292648"/>
              <a:gd name="connsiteY4" fmla="*/ 1934488 h 1943835"/>
              <a:gd name="connsiteX5" fmla="*/ 897541 w 1292648"/>
              <a:gd name="connsiteY5" fmla="*/ 1869173 h 1943835"/>
              <a:gd name="connsiteX6" fmla="*/ 1163017 w 1292648"/>
              <a:gd name="connsiteY6" fmla="*/ 1333036 h 1943835"/>
              <a:gd name="connsiteX7" fmla="*/ 1278735 w 1292648"/>
              <a:gd name="connsiteY7" fmla="*/ 704114 h 1943835"/>
              <a:gd name="connsiteX8" fmla="*/ 853627 w 1292648"/>
              <a:gd name="connsiteY8" fmla="*/ 123 h 1943835"/>
              <a:gd name="connsiteX9" fmla="*/ 1043383 w 1292648"/>
              <a:gd name="connsiteY9" fmla="*/ 650261 h 1943835"/>
              <a:gd name="connsiteX10" fmla="*/ 1092116 w 1292648"/>
              <a:gd name="connsiteY10" fmla="*/ 1030709 h 1943835"/>
              <a:gd name="connsiteX11" fmla="*/ 997247 w 1292648"/>
              <a:gd name="connsiteY11" fmla="*/ 1508177 h 1943835"/>
              <a:gd name="connsiteX12" fmla="*/ 841558 w 1292648"/>
              <a:gd name="connsiteY12" fmla="*/ 1785198 h 1943835"/>
              <a:gd name="connsiteX13" fmla="*/ 720260 w 1292648"/>
              <a:gd name="connsiteY13" fmla="*/ 1813190 h 1943835"/>
              <a:gd name="connsiteX14" fmla="*/ 710929 w 1292648"/>
              <a:gd name="connsiteY14" fmla="*/ 1645239 h 1943835"/>
              <a:gd name="connsiteX15" fmla="*/ 813566 w 1292648"/>
              <a:gd name="connsiteY15" fmla="*/ 1411973 h 1943835"/>
              <a:gd name="connsiteX16" fmla="*/ 785574 w 1292648"/>
              <a:gd name="connsiteY16" fmla="*/ 1197369 h 1943835"/>
              <a:gd name="connsiteX17" fmla="*/ 673607 w 1292648"/>
              <a:gd name="connsiteY17" fmla="*/ 786822 h 1943835"/>
              <a:gd name="connsiteX18" fmla="*/ 524317 w 1292648"/>
              <a:gd name="connsiteY18" fmla="*/ 1160047 h 1943835"/>
              <a:gd name="connsiteX19" fmla="*/ 514986 w 1292648"/>
              <a:gd name="connsiteY19" fmla="*/ 1495949 h 1943835"/>
              <a:gd name="connsiteX20" fmla="*/ 608292 w 1292648"/>
              <a:gd name="connsiteY20" fmla="*/ 1673231 h 1943835"/>
              <a:gd name="connsiteX21" fmla="*/ 626953 w 1292648"/>
              <a:gd name="connsiteY21" fmla="*/ 1803859 h 1943835"/>
              <a:gd name="connsiteX22" fmla="*/ 296531 w 1292648"/>
              <a:gd name="connsiteY22" fmla="*/ 1527743 h 1943835"/>
              <a:gd name="connsiteX23" fmla="*/ 102596 w 1292648"/>
              <a:gd name="connsiteY23" fmla="*/ 779328 h 1943835"/>
              <a:gd name="connsiteX24" fmla="*/ 373983 w 1292648"/>
              <a:gd name="connsiteY24" fmla="*/ 60138 h 1943835"/>
              <a:gd name="connsiteX0" fmla="*/ 373983 w 1292648"/>
              <a:gd name="connsiteY0" fmla="*/ 60160 h 1943857"/>
              <a:gd name="connsiteX1" fmla="*/ 3601 w 1292648"/>
              <a:gd name="connsiteY1" fmla="*/ 700989 h 1943857"/>
              <a:gd name="connsiteX2" fmla="*/ 52161 w 1292648"/>
              <a:gd name="connsiteY2" fmla="*/ 1342871 h 1943857"/>
              <a:gd name="connsiteX3" fmla="*/ 340108 w 1292648"/>
              <a:gd name="connsiteY3" fmla="*/ 1821035 h 1943857"/>
              <a:gd name="connsiteX4" fmla="*/ 636284 w 1292648"/>
              <a:gd name="connsiteY4" fmla="*/ 1934510 h 1943857"/>
              <a:gd name="connsiteX5" fmla="*/ 897541 w 1292648"/>
              <a:gd name="connsiteY5" fmla="*/ 1869195 h 1943857"/>
              <a:gd name="connsiteX6" fmla="*/ 1163017 w 1292648"/>
              <a:gd name="connsiteY6" fmla="*/ 1333058 h 1943857"/>
              <a:gd name="connsiteX7" fmla="*/ 1278735 w 1292648"/>
              <a:gd name="connsiteY7" fmla="*/ 704136 h 1943857"/>
              <a:gd name="connsiteX8" fmla="*/ 853627 w 1292648"/>
              <a:gd name="connsiteY8" fmla="*/ 145 h 1943857"/>
              <a:gd name="connsiteX9" fmla="*/ 1043383 w 1292648"/>
              <a:gd name="connsiteY9" fmla="*/ 650283 h 1943857"/>
              <a:gd name="connsiteX10" fmla="*/ 997247 w 1292648"/>
              <a:gd name="connsiteY10" fmla="*/ 1508199 h 1943857"/>
              <a:gd name="connsiteX11" fmla="*/ 841558 w 1292648"/>
              <a:gd name="connsiteY11" fmla="*/ 1785220 h 1943857"/>
              <a:gd name="connsiteX12" fmla="*/ 720260 w 1292648"/>
              <a:gd name="connsiteY12" fmla="*/ 1813212 h 1943857"/>
              <a:gd name="connsiteX13" fmla="*/ 710929 w 1292648"/>
              <a:gd name="connsiteY13" fmla="*/ 1645261 h 1943857"/>
              <a:gd name="connsiteX14" fmla="*/ 813566 w 1292648"/>
              <a:gd name="connsiteY14" fmla="*/ 1411995 h 1943857"/>
              <a:gd name="connsiteX15" fmla="*/ 785574 w 1292648"/>
              <a:gd name="connsiteY15" fmla="*/ 1197391 h 1943857"/>
              <a:gd name="connsiteX16" fmla="*/ 673607 w 1292648"/>
              <a:gd name="connsiteY16" fmla="*/ 786844 h 1943857"/>
              <a:gd name="connsiteX17" fmla="*/ 524317 w 1292648"/>
              <a:gd name="connsiteY17" fmla="*/ 1160069 h 1943857"/>
              <a:gd name="connsiteX18" fmla="*/ 514986 w 1292648"/>
              <a:gd name="connsiteY18" fmla="*/ 1495971 h 1943857"/>
              <a:gd name="connsiteX19" fmla="*/ 608292 w 1292648"/>
              <a:gd name="connsiteY19" fmla="*/ 1673253 h 1943857"/>
              <a:gd name="connsiteX20" fmla="*/ 626953 w 1292648"/>
              <a:gd name="connsiteY20" fmla="*/ 1803881 h 1943857"/>
              <a:gd name="connsiteX21" fmla="*/ 296531 w 1292648"/>
              <a:gd name="connsiteY21" fmla="*/ 1527765 h 1943857"/>
              <a:gd name="connsiteX22" fmla="*/ 102596 w 1292648"/>
              <a:gd name="connsiteY22" fmla="*/ 779350 h 1943857"/>
              <a:gd name="connsiteX23" fmla="*/ 373983 w 1292648"/>
              <a:gd name="connsiteY23" fmla="*/ 60160 h 1943857"/>
              <a:gd name="connsiteX0" fmla="*/ 373983 w 1292648"/>
              <a:gd name="connsiteY0" fmla="*/ 60160 h 1943857"/>
              <a:gd name="connsiteX1" fmla="*/ 3601 w 1292648"/>
              <a:gd name="connsiteY1" fmla="*/ 700989 h 1943857"/>
              <a:gd name="connsiteX2" fmla="*/ 52161 w 1292648"/>
              <a:gd name="connsiteY2" fmla="*/ 1342871 h 1943857"/>
              <a:gd name="connsiteX3" fmla="*/ 340108 w 1292648"/>
              <a:gd name="connsiteY3" fmla="*/ 1821035 h 1943857"/>
              <a:gd name="connsiteX4" fmla="*/ 636284 w 1292648"/>
              <a:gd name="connsiteY4" fmla="*/ 1934510 h 1943857"/>
              <a:gd name="connsiteX5" fmla="*/ 897541 w 1292648"/>
              <a:gd name="connsiteY5" fmla="*/ 1869195 h 1943857"/>
              <a:gd name="connsiteX6" fmla="*/ 1163017 w 1292648"/>
              <a:gd name="connsiteY6" fmla="*/ 1333058 h 1943857"/>
              <a:gd name="connsiteX7" fmla="*/ 1278735 w 1292648"/>
              <a:gd name="connsiteY7" fmla="*/ 704136 h 1943857"/>
              <a:gd name="connsiteX8" fmla="*/ 853627 w 1292648"/>
              <a:gd name="connsiteY8" fmla="*/ 145 h 1943857"/>
              <a:gd name="connsiteX9" fmla="*/ 1043383 w 1292648"/>
              <a:gd name="connsiteY9" fmla="*/ 650283 h 1943857"/>
              <a:gd name="connsiteX10" fmla="*/ 997247 w 1292648"/>
              <a:gd name="connsiteY10" fmla="*/ 1508199 h 1943857"/>
              <a:gd name="connsiteX11" fmla="*/ 841558 w 1292648"/>
              <a:gd name="connsiteY11" fmla="*/ 1785220 h 1943857"/>
              <a:gd name="connsiteX12" fmla="*/ 720260 w 1292648"/>
              <a:gd name="connsiteY12" fmla="*/ 1813212 h 1943857"/>
              <a:gd name="connsiteX13" fmla="*/ 710929 w 1292648"/>
              <a:gd name="connsiteY13" fmla="*/ 1645261 h 1943857"/>
              <a:gd name="connsiteX14" fmla="*/ 813566 w 1292648"/>
              <a:gd name="connsiteY14" fmla="*/ 1411995 h 1943857"/>
              <a:gd name="connsiteX15" fmla="*/ 785574 w 1292648"/>
              <a:gd name="connsiteY15" fmla="*/ 1197391 h 1943857"/>
              <a:gd name="connsiteX16" fmla="*/ 673607 w 1292648"/>
              <a:gd name="connsiteY16" fmla="*/ 786844 h 1943857"/>
              <a:gd name="connsiteX17" fmla="*/ 524317 w 1292648"/>
              <a:gd name="connsiteY17" fmla="*/ 1160069 h 1943857"/>
              <a:gd name="connsiteX18" fmla="*/ 514986 w 1292648"/>
              <a:gd name="connsiteY18" fmla="*/ 1495971 h 1943857"/>
              <a:gd name="connsiteX19" fmla="*/ 608292 w 1292648"/>
              <a:gd name="connsiteY19" fmla="*/ 1673253 h 1943857"/>
              <a:gd name="connsiteX20" fmla="*/ 626953 w 1292648"/>
              <a:gd name="connsiteY20" fmla="*/ 1803881 h 1943857"/>
              <a:gd name="connsiteX21" fmla="*/ 296531 w 1292648"/>
              <a:gd name="connsiteY21" fmla="*/ 1527765 h 1943857"/>
              <a:gd name="connsiteX22" fmla="*/ 102596 w 1292648"/>
              <a:gd name="connsiteY22" fmla="*/ 779350 h 1943857"/>
              <a:gd name="connsiteX23" fmla="*/ 373983 w 1292648"/>
              <a:gd name="connsiteY23" fmla="*/ 60160 h 1943857"/>
              <a:gd name="connsiteX0" fmla="*/ 373983 w 1292648"/>
              <a:gd name="connsiteY0" fmla="*/ 60062 h 1943759"/>
              <a:gd name="connsiteX1" fmla="*/ 3601 w 1292648"/>
              <a:gd name="connsiteY1" fmla="*/ 700891 h 1943759"/>
              <a:gd name="connsiteX2" fmla="*/ 52161 w 1292648"/>
              <a:gd name="connsiteY2" fmla="*/ 1342773 h 1943759"/>
              <a:gd name="connsiteX3" fmla="*/ 340108 w 1292648"/>
              <a:gd name="connsiteY3" fmla="*/ 1820937 h 1943759"/>
              <a:gd name="connsiteX4" fmla="*/ 636284 w 1292648"/>
              <a:gd name="connsiteY4" fmla="*/ 1934412 h 1943759"/>
              <a:gd name="connsiteX5" fmla="*/ 897541 w 1292648"/>
              <a:gd name="connsiteY5" fmla="*/ 1869097 h 1943759"/>
              <a:gd name="connsiteX6" fmla="*/ 1163017 w 1292648"/>
              <a:gd name="connsiteY6" fmla="*/ 1332960 h 1943759"/>
              <a:gd name="connsiteX7" fmla="*/ 1278735 w 1292648"/>
              <a:gd name="connsiteY7" fmla="*/ 704038 h 1943759"/>
              <a:gd name="connsiteX8" fmla="*/ 853627 w 1292648"/>
              <a:gd name="connsiteY8" fmla="*/ 47 h 1943759"/>
              <a:gd name="connsiteX9" fmla="*/ 1043383 w 1292648"/>
              <a:gd name="connsiteY9" fmla="*/ 650185 h 1943759"/>
              <a:gd name="connsiteX10" fmla="*/ 997247 w 1292648"/>
              <a:gd name="connsiteY10" fmla="*/ 1508101 h 1943759"/>
              <a:gd name="connsiteX11" fmla="*/ 841558 w 1292648"/>
              <a:gd name="connsiteY11" fmla="*/ 1785122 h 1943759"/>
              <a:gd name="connsiteX12" fmla="*/ 720260 w 1292648"/>
              <a:gd name="connsiteY12" fmla="*/ 1813114 h 1943759"/>
              <a:gd name="connsiteX13" fmla="*/ 710929 w 1292648"/>
              <a:gd name="connsiteY13" fmla="*/ 1645163 h 1943759"/>
              <a:gd name="connsiteX14" fmla="*/ 813566 w 1292648"/>
              <a:gd name="connsiteY14" fmla="*/ 1411897 h 1943759"/>
              <a:gd name="connsiteX15" fmla="*/ 785574 w 1292648"/>
              <a:gd name="connsiteY15" fmla="*/ 1197293 h 1943759"/>
              <a:gd name="connsiteX16" fmla="*/ 673607 w 1292648"/>
              <a:gd name="connsiteY16" fmla="*/ 786746 h 1943759"/>
              <a:gd name="connsiteX17" fmla="*/ 524317 w 1292648"/>
              <a:gd name="connsiteY17" fmla="*/ 1159971 h 1943759"/>
              <a:gd name="connsiteX18" fmla="*/ 514986 w 1292648"/>
              <a:gd name="connsiteY18" fmla="*/ 1495873 h 1943759"/>
              <a:gd name="connsiteX19" fmla="*/ 608292 w 1292648"/>
              <a:gd name="connsiteY19" fmla="*/ 1673155 h 1943759"/>
              <a:gd name="connsiteX20" fmla="*/ 626953 w 1292648"/>
              <a:gd name="connsiteY20" fmla="*/ 1803783 h 1943759"/>
              <a:gd name="connsiteX21" fmla="*/ 296531 w 1292648"/>
              <a:gd name="connsiteY21" fmla="*/ 1527667 h 1943759"/>
              <a:gd name="connsiteX22" fmla="*/ 102596 w 1292648"/>
              <a:gd name="connsiteY22" fmla="*/ 779252 h 1943759"/>
              <a:gd name="connsiteX23" fmla="*/ 373983 w 1292648"/>
              <a:gd name="connsiteY23" fmla="*/ 60062 h 1943759"/>
              <a:gd name="connsiteX0" fmla="*/ 373983 w 1292648"/>
              <a:gd name="connsiteY0" fmla="*/ 60273 h 1943970"/>
              <a:gd name="connsiteX1" fmla="*/ 3601 w 1292648"/>
              <a:gd name="connsiteY1" fmla="*/ 701102 h 1943970"/>
              <a:gd name="connsiteX2" fmla="*/ 52161 w 1292648"/>
              <a:gd name="connsiteY2" fmla="*/ 1342984 h 1943970"/>
              <a:gd name="connsiteX3" fmla="*/ 340108 w 1292648"/>
              <a:gd name="connsiteY3" fmla="*/ 1821148 h 1943970"/>
              <a:gd name="connsiteX4" fmla="*/ 636284 w 1292648"/>
              <a:gd name="connsiteY4" fmla="*/ 1934623 h 1943970"/>
              <a:gd name="connsiteX5" fmla="*/ 897541 w 1292648"/>
              <a:gd name="connsiteY5" fmla="*/ 1869308 h 1943970"/>
              <a:gd name="connsiteX6" fmla="*/ 1163017 w 1292648"/>
              <a:gd name="connsiteY6" fmla="*/ 1333171 h 1943970"/>
              <a:gd name="connsiteX7" fmla="*/ 1278735 w 1292648"/>
              <a:gd name="connsiteY7" fmla="*/ 704249 h 1943970"/>
              <a:gd name="connsiteX8" fmla="*/ 853627 w 1292648"/>
              <a:gd name="connsiteY8" fmla="*/ 258 h 1943970"/>
              <a:gd name="connsiteX9" fmla="*/ 1125626 w 1292648"/>
              <a:gd name="connsiteY9" fmla="*/ 633495 h 1943970"/>
              <a:gd name="connsiteX10" fmla="*/ 997247 w 1292648"/>
              <a:gd name="connsiteY10" fmla="*/ 1508312 h 1943970"/>
              <a:gd name="connsiteX11" fmla="*/ 841558 w 1292648"/>
              <a:gd name="connsiteY11" fmla="*/ 1785333 h 1943970"/>
              <a:gd name="connsiteX12" fmla="*/ 720260 w 1292648"/>
              <a:gd name="connsiteY12" fmla="*/ 1813325 h 1943970"/>
              <a:gd name="connsiteX13" fmla="*/ 710929 w 1292648"/>
              <a:gd name="connsiteY13" fmla="*/ 1645374 h 1943970"/>
              <a:gd name="connsiteX14" fmla="*/ 813566 w 1292648"/>
              <a:gd name="connsiteY14" fmla="*/ 1412108 h 1943970"/>
              <a:gd name="connsiteX15" fmla="*/ 785574 w 1292648"/>
              <a:gd name="connsiteY15" fmla="*/ 1197504 h 1943970"/>
              <a:gd name="connsiteX16" fmla="*/ 673607 w 1292648"/>
              <a:gd name="connsiteY16" fmla="*/ 786957 h 1943970"/>
              <a:gd name="connsiteX17" fmla="*/ 524317 w 1292648"/>
              <a:gd name="connsiteY17" fmla="*/ 1160182 h 1943970"/>
              <a:gd name="connsiteX18" fmla="*/ 514986 w 1292648"/>
              <a:gd name="connsiteY18" fmla="*/ 1496084 h 1943970"/>
              <a:gd name="connsiteX19" fmla="*/ 608292 w 1292648"/>
              <a:gd name="connsiteY19" fmla="*/ 1673366 h 1943970"/>
              <a:gd name="connsiteX20" fmla="*/ 626953 w 1292648"/>
              <a:gd name="connsiteY20" fmla="*/ 1803994 h 1943970"/>
              <a:gd name="connsiteX21" fmla="*/ 296531 w 1292648"/>
              <a:gd name="connsiteY21" fmla="*/ 1527878 h 1943970"/>
              <a:gd name="connsiteX22" fmla="*/ 102596 w 1292648"/>
              <a:gd name="connsiteY22" fmla="*/ 779463 h 1943970"/>
              <a:gd name="connsiteX23" fmla="*/ 373983 w 1292648"/>
              <a:gd name="connsiteY23" fmla="*/ 60273 h 1943970"/>
              <a:gd name="connsiteX0" fmla="*/ 373983 w 1292648"/>
              <a:gd name="connsiteY0" fmla="*/ 60258 h 1943955"/>
              <a:gd name="connsiteX1" fmla="*/ 3601 w 1292648"/>
              <a:gd name="connsiteY1" fmla="*/ 701087 h 1943955"/>
              <a:gd name="connsiteX2" fmla="*/ 52161 w 1292648"/>
              <a:gd name="connsiteY2" fmla="*/ 1342969 h 1943955"/>
              <a:gd name="connsiteX3" fmla="*/ 340108 w 1292648"/>
              <a:gd name="connsiteY3" fmla="*/ 1821133 h 1943955"/>
              <a:gd name="connsiteX4" fmla="*/ 636284 w 1292648"/>
              <a:gd name="connsiteY4" fmla="*/ 1934608 h 1943955"/>
              <a:gd name="connsiteX5" fmla="*/ 897541 w 1292648"/>
              <a:gd name="connsiteY5" fmla="*/ 1869293 h 1943955"/>
              <a:gd name="connsiteX6" fmla="*/ 1163017 w 1292648"/>
              <a:gd name="connsiteY6" fmla="*/ 1333156 h 1943955"/>
              <a:gd name="connsiteX7" fmla="*/ 1278735 w 1292648"/>
              <a:gd name="connsiteY7" fmla="*/ 704234 h 1943955"/>
              <a:gd name="connsiteX8" fmla="*/ 853627 w 1292648"/>
              <a:gd name="connsiteY8" fmla="*/ 243 h 1943955"/>
              <a:gd name="connsiteX9" fmla="*/ 1125626 w 1292648"/>
              <a:gd name="connsiteY9" fmla="*/ 633480 h 1943955"/>
              <a:gd name="connsiteX10" fmla="*/ 1029224 w 1292648"/>
              <a:gd name="connsiteY10" fmla="*/ 1345635 h 1943955"/>
              <a:gd name="connsiteX11" fmla="*/ 841558 w 1292648"/>
              <a:gd name="connsiteY11" fmla="*/ 1785318 h 1943955"/>
              <a:gd name="connsiteX12" fmla="*/ 720260 w 1292648"/>
              <a:gd name="connsiteY12" fmla="*/ 1813310 h 1943955"/>
              <a:gd name="connsiteX13" fmla="*/ 710929 w 1292648"/>
              <a:gd name="connsiteY13" fmla="*/ 1645359 h 1943955"/>
              <a:gd name="connsiteX14" fmla="*/ 813566 w 1292648"/>
              <a:gd name="connsiteY14" fmla="*/ 1412093 h 1943955"/>
              <a:gd name="connsiteX15" fmla="*/ 785574 w 1292648"/>
              <a:gd name="connsiteY15" fmla="*/ 1197489 h 1943955"/>
              <a:gd name="connsiteX16" fmla="*/ 673607 w 1292648"/>
              <a:gd name="connsiteY16" fmla="*/ 786942 h 1943955"/>
              <a:gd name="connsiteX17" fmla="*/ 524317 w 1292648"/>
              <a:gd name="connsiteY17" fmla="*/ 1160167 h 1943955"/>
              <a:gd name="connsiteX18" fmla="*/ 514986 w 1292648"/>
              <a:gd name="connsiteY18" fmla="*/ 1496069 h 1943955"/>
              <a:gd name="connsiteX19" fmla="*/ 608292 w 1292648"/>
              <a:gd name="connsiteY19" fmla="*/ 1673351 h 1943955"/>
              <a:gd name="connsiteX20" fmla="*/ 626953 w 1292648"/>
              <a:gd name="connsiteY20" fmla="*/ 1803979 h 1943955"/>
              <a:gd name="connsiteX21" fmla="*/ 296531 w 1292648"/>
              <a:gd name="connsiteY21" fmla="*/ 1527863 h 1943955"/>
              <a:gd name="connsiteX22" fmla="*/ 102596 w 1292648"/>
              <a:gd name="connsiteY22" fmla="*/ 779448 h 1943955"/>
              <a:gd name="connsiteX23" fmla="*/ 373983 w 1292648"/>
              <a:gd name="connsiteY23" fmla="*/ 60258 h 1943955"/>
              <a:gd name="connsiteX0" fmla="*/ 373983 w 1277343"/>
              <a:gd name="connsiteY0" fmla="*/ 60040 h 1943737"/>
              <a:gd name="connsiteX1" fmla="*/ 3601 w 1277343"/>
              <a:gd name="connsiteY1" fmla="*/ 700869 h 1943737"/>
              <a:gd name="connsiteX2" fmla="*/ 52161 w 1277343"/>
              <a:gd name="connsiteY2" fmla="*/ 1342751 h 1943737"/>
              <a:gd name="connsiteX3" fmla="*/ 340108 w 1277343"/>
              <a:gd name="connsiteY3" fmla="*/ 1820915 h 1943737"/>
              <a:gd name="connsiteX4" fmla="*/ 636284 w 1277343"/>
              <a:gd name="connsiteY4" fmla="*/ 1934390 h 1943737"/>
              <a:gd name="connsiteX5" fmla="*/ 897541 w 1277343"/>
              <a:gd name="connsiteY5" fmla="*/ 1869075 h 1943737"/>
              <a:gd name="connsiteX6" fmla="*/ 1163017 w 1277343"/>
              <a:gd name="connsiteY6" fmla="*/ 1332938 h 1943737"/>
              <a:gd name="connsiteX7" fmla="*/ 1261980 w 1277343"/>
              <a:gd name="connsiteY7" fmla="*/ 655430 h 1943737"/>
              <a:gd name="connsiteX8" fmla="*/ 853627 w 1277343"/>
              <a:gd name="connsiteY8" fmla="*/ 25 h 1943737"/>
              <a:gd name="connsiteX9" fmla="*/ 1125626 w 1277343"/>
              <a:gd name="connsiteY9" fmla="*/ 633262 h 1943737"/>
              <a:gd name="connsiteX10" fmla="*/ 1029224 w 1277343"/>
              <a:gd name="connsiteY10" fmla="*/ 1345417 h 1943737"/>
              <a:gd name="connsiteX11" fmla="*/ 841558 w 1277343"/>
              <a:gd name="connsiteY11" fmla="*/ 1785100 h 1943737"/>
              <a:gd name="connsiteX12" fmla="*/ 720260 w 1277343"/>
              <a:gd name="connsiteY12" fmla="*/ 1813092 h 1943737"/>
              <a:gd name="connsiteX13" fmla="*/ 710929 w 1277343"/>
              <a:gd name="connsiteY13" fmla="*/ 1645141 h 1943737"/>
              <a:gd name="connsiteX14" fmla="*/ 813566 w 1277343"/>
              <a:gd name="connsiteY14" fmla="*/ 1411875 h 1943737"/>
              <a:gd name="connsiteX15" fmla="*/ 785574 w 1277343"/>
              <a:gd name="connsiteY15" fmla="*/ 1197271 h 1943737"/>
              <a:gd name="connsiteX16" fmla="*/ 673607 w 1277343"/>
              <a:gd name="connsiteY16" fmla="*/ 786724 h 1943737"/>
              <a:gd name="connsiteX17" fmla="*/ 524317 w 1277343"/>
              <a:gd name="connsiteY17" fmla="*/ 1159949 h 1943737"/>
              <a:gd name="connsiteX18" fmla="*/ 514986 w 1277343"/>
              <a:gd name="connsiteY18" fmla="*/ 1495851 h 1943737"/>
              <a:gd name="connsiteX19" fmla="*/ 608292 w 1277343"/>
              <a:gd name="connsiteY19" fmla="*/ 1673133 h 1943737"/>
              <a:gd name="connsiteX20" fmla="*/ 626953 w 1277343"/>
              <a:gd name="connsiteY20" fmla="*/ 1803761 h 1943737"/>
              <a:gd name="connsiteX21" fmla="*/ 296531 w 1277343"/>
              <a:gd name="connsiteY21" fmla="*/ 1527645 h 1943737"/>
              <a:gd name="connsiteX22" fmla="*/ 102596 w 1277343"/>
              <a:gd name="connsiteY22" fmla="*/ 779230 h 1943737"/>
              <a:gd name="connsiteX23" fmla="*/ 373983 w 1277343"/>
              <a:gd name="connsiteY23" fmla="*/ 60040 h 1943737"/>
              <a:gd name="connsiteX0" fmla="*/ 373983 w 1277343"/>
              <a:gd name="connsiteY0" fmla="*/ 60843 h 1944540"/>
              <a:gd name="connsiteX1" fmla="*/ 3601 w 1277343"/>
              <a:gd name="connsiteY1" fmla="*/ 701672 h 1944540"/>
              <a:gd name="connsiteX2" fmla="*/ 52161 w 1277343"/>
              <a:gd name="connsiteY2" fmla="*/ 1343554 h 1944540"/>
              <a:gd name="connsiteX3" fmla="*/ 340108 w 1277343"/>
              <a:gd name="connsiteY3" fmla="*/ 1821718 h 1944540"/>
              <a:gd name="connsiteX4" fmla="*/ 636284 w 1277343"/>
              <a:gd name="connsiteY4" fmla="*/ 1935193 h 1944540"/>
              <a:gd name="connsiteX5" fmla="*/ 897541 w 1277343"/>
              <a:gd name="connsiteY5" fmla="*/ 1869878 h 1944540"/>
              <a:gd name="connsiteX6" fmla="*/ 1163017 w 1277343"/>
              <a:gd name="connsiteY6" fmla="*/ 1333741 h 1944540"/>
              <a:gd name="connsiteX7" fmla="*/ 1261980 w 1277343"/>
              <a:gd name="connsiteY7" fmla="*/ 656233 h 1944540"/>
              <a:gd name="connsiteX8" fmla="*/ 853627 w 1277343"/>
              <a:gd name="connsiteY8" fmla="*/ 828 h 1944540"/>
              <a:gd name="connsiteX9" fmla="*/ 1125626 w 1277343"/>
              <a:gd name="connsiteY9" fmla="*/ 634065 h 1944540"/>
              <a:gd name="connsiteX10" fmla="*/ 1029224 w 1277343"/>
              <a:gd name="connsiteY10" fmla="*/ 1346220 h 1944540"/>
              <a:gd name="connsiteX11" fmla="*/ 841558 w 1277343"/>
              <a:gd name="connsiteY11" fmla="*/ 1785903 h 1944540"/>
              <a:gd name="connsiteX12" fmla="*/ 720260 w 1277343"/>
              <a:gd name="connsiteY12" fmla="*/ 1813895 h 1944540"/>
              <a:gd name="connsiteX13" fmla="*/ 710929 w 1277343"/>
              <a:gd name="connsiteY13" fmla="*/ 1645944 h 1944540"/>
              <a:gd name="connsiteX14" fmla="*/ 813566 w 1277343"/>
              <a:gd name="connsiteY14" fmla="*/ 1412678 h 1944540"/>
              <a:gd name="connsiteX15" fmla="*/ 785574 w 1277343"/>
              <a:gd name="connsiteY15" fmla="*/ 1198074 h 1944540"/>
              <a:gd name="connsiteX16" fmla="*/ 673607 w 1277343"/>
              <a:gd name="connsiteY16" fmla="*/ 787527 h 1944540"/>
              <a:gd name="connsiteX17" fmla="*/ 524317 w 1277343"/>
              <a:gd name="connsiteY17" fmla="*/ 1160752 h 1944540"/>
              <a:gd name="connsiteX18" fmla="*/ 514986 w 1277343"/>
              <a:gd name="connsiteY18" fmla="*/ 1496654 h 1944540"/>
              <a:gd name="connsiteX19" fmla="*/ 608292 w 1277343"/>
              <a:gd name="connsiteY19" fmla="*/ 1673936 h 1944540"/>
              <a:gd name="connsiteX20" fmla="*/ 626953 w 1277343"/>
              <a:gd name="connsiteY20" fmla="*/ 1804564 h 1944540"/>
              <a:gd name="connsiteX21" fmla="*/ 296531 w 1277343"/>
              <a:gd name="connsiteY21" fmla="*/ 1528448 h 1944540"/>
              <a:gd name="connsiteX22" fmla="*/ 102596 w 1277343"/>
              <a:gd name="connsiteY22" fmla="*/ 780033 h 1944540"/>
              <a:gd name="connsiteX23" fmla="*/ 373983 w 1277343"/>
              <a:gd name="connsiteY23" fmla="*/ 60843 h 1944540"/>
              <a:gd name="connsiteX0" fmla="*/ 373983 w 1277343"/>
              <a:gd name="connsiteY0" fmla="*/ 60843 h 1944540"/>
              <a:gd name="connsiteX1" fmla="*/ 3601 w 1277343"/>
              <a:gd name="connsiteY1" fmla="*/ 701672 h 1944540"/>
              <a:gd name="connsiteX2" fmla="*/ 52161 w 1277343"/>
              <a:gd name="connsiteY2" fmla="*/ 1343554 h 1944540"/>
              <a:gd name="connsiteX3" fmla="*/ 340108 w 1277343"/>
              <a:gd name="connsiteY3" fmla="*/ 1821718 h 1944540"/>
              <a:gd name="connsiteX4" fmla="*/ 636284 w 1277343"/>
              <a:gd name="connsiteY4" fmla="*/ 1935193 h 1944540"/>
              <a:gd name="connsiteX5" fmla="*/ 897541 w 1277343"/>
              <a:gd name="connsiteY5" fmla="*/ 1869878 h 1944540"/>
              <a:gd name="connsiteX6" fmla="*/ 1163017 w 1277343"/>
              <a:gd name="connsiteY6" fmla="*/ 1333741 h 1944540"/>
              <a:gd name="connsiteX7" fmla="*/ 1261980 w 1277343"/>
              <a:gd name="connsiteY7" fmla="*/ 656233 h 1944540"/>
              <a:gd name="connsiteX8" fmla="*/ 853627 w 1277343"/>
              <a:gd name="connsiteY8" fmla="*/ 828 h 1944540"/>
              <a:gd name="connsiteX9" fmla="*/ 1125626 w 1277343"/>
              <a:gd name="connsiteY9" fmla="*/ 634065 h 1944540"/>
              <a:gd name="connsiteX10" fmla="*/ 1029224 w 1277343"/>
              <a:gd name="connsiteY10" fmla="*/ 1346220 h 1944540"/>
              <a:gd name="connsiteX11" fmla="*/ 886953 w 1277343"/>
              <a:gd name="connsiteY11" fmla="*/ 1637828 h 1944540"/>
              <a:gd name="connsiteX12" fmla="*/ 720260 w 1277343"/>
              <a:gd name="connsiteY12" fmla="*/ 1813895 h 1944540"/>
              <a:gd name="connsiteX13" fmla="*/ 710929 w 1277343"/>
              <a:gd name="connsiteY13" fmla="*/ 1645944 h 1944540"/>
              <a:gd name="connsiteX14" fmla="*/ 813566 w 1277343"/>
              <a:gd name="connsiteY14" fmla="*/ 1412678 h 1944540"/>
              <a:gd name="connsiteX15" fmla="*/ 785574 w 1277343"/>
              <a:gd name="connsiteY15" fmla="*/ 1198074 h 1944540"/>
              <a:gd name="connsiteX16" fmla="*/ 673607 w 1277343"/>
              <a:gd name="connsiteY16" fmla="*/ 787527 h 1944540"/>
              <a:gd name="connsiteX17" fmla="*/ 524317 w 1277343"/>
              <a:gd name="connsiteY17" fmla="*/ 1160752 h 1944540"/>
              <a:gd name="connsiteX18" fmla="*/ 514986 w 1277343"/>
              <a:gd name="connsiteY18" fmla="*/ 1496654 h 1944540"/>
              <a:gd name="connsiteX19" fmla="*/ 608292 w 1277343"/>
              <a:gd name="connsiteY19" fmla="*/ 1673936 h 1944540"/>
              <a:gd name="connsiteX20" fmla="*/ 626953 w 1277343"/>
              <a:gd name="connsiteY20" fmla="*/ 1804564 h 1944540"/>
              <a:gd name="connsiteX21" fmla="*/ 296531 w 1277343"/>
              <a:gd name="connsiteY21" fmla="*/ 1528448 h 1944540"/>
              <a:gd name="connsiteX22" fmla="*/ 102596 w 1277343"/>
              <a:gd name="connsiteY22" fmla="*/ 780033 h 1944540"/>
              <a:gd name="connsiteX23" fmla="*/ 373983 w 1277343"/>
              <a:gd name="connsiteY23" fmla="*/ 60843 h 1944540"/>
              <a:gd name="connsiteX0" fmla="*/ 373983 w 1284631"/>
              <a:gd name="connsiteY0" fmla="*/ 60872 h 1940560"/>
              <a:gd name="connsiteX1" fmla="*/ 3601 w 1284631"/>
              <a:gd name="connsiteY1" fmla="*/ 701701 h 1940560"/>
              <a:gd name="connsiteX2" fmla="*/ 52161 w 1284631"/>
              <a:gd name="connsiteY2" fmla="*/ 1343583 h 1940560"/>
              <a:gd name="connsiteX3" fmla="*/ 340108 w 1284631"/>
              <a:gd name="connsiteY3" fmla="*/ 1821747 h 1940560"/>
              <a:gd name="connsiteX4" fmla="*/ 636284 w 1284631"/>
              <a:gd name="connsiteY4" fmla="*/ 1935222 h 1940560"/>
              <a:gd name="connsiteX5" fmla="*/ 897541 w 1284631"/>
              <a:gd name="connsiteY5" fmla="*/ 1869907 h 1940560"/>
              <a:gd name="connsiteX6" fmla="*/ 1196527 w 1284631"/>
              <a:gd name="connsiteY6" fmla="*/ 1430944 h 1940560"/>
              <a:gd name="connsiteX7" fmla="*/ 1261980 w 1284631"/>
              <a:gd name="connsiteY7" fmla="*/ 656262 h 1940560"/>
              <a:gd name="connsiteX8" fmla="*/ 853627 w 1284631"/>
              <a:gd name="connsiteY8" fmla="*/ 857 h 1940560"/>
              <a:gd name="connsiteX9" fmla="*/ 1125626 w 1284631"/>
              <a:gd name="connsiteY9" fmla="*/ 634094 h 1940560"/>
              <a:gd name="connsiteX10" fmla="*/ 1029224 w 1284631"/>
              <a:gd name="connsiteY10" fmla="*/ 1346249 h 1940560"/>
              <a:gd name="connsiteX11" fmla="*/ 886953 w 1284631"/>
              <a:gd name="connsiteY11" fmla="*/ 1637857 h 1940560"/>
              <a:gd name="connsiteX12" fmla="*/ 720260 w 1284631"/>
              <a:gd name="connsiteY12" fmla="*/ 1813924 h 1940560"/>
              <a:gd name="connsiteX13" fmla="*/ 710929 w 1284631"/>
              <a:gd name="connsiteY13" fmla="*/ 1645973 h 1940560"/>
              <a:gd name="connsiteX14" fmla="*/ 813566 w 1284631"/>
              <a:gd name="connsiteY14" fmla="*/ 1412707 h 1940560"/>
              <a:gd name="connsiteX15" fmla="*/ 785574 w 1284631"/>
              <a:gd name="connsiteY15" fmla="*/ 1198103 h 1940560"/>
              <a:gd name="connsiteX16" fmla="*/ 673607 w 1284631"/>
              <a:gd name="connsiteY16" fmla="*/ 787556 h 1940560"/>
              <a:gd name="connsiteX17" fmla="*/ 524317 w 1284631"/>
              <a:gd name="connsiteY17" fmla="*/ 1160781 h 1940560"/>
              <a:gd name="connsiteX18" fmla="*/ 514986 w 1284631"/>
              <a:gd name="connsiteY18" fmla="*/ 1496683 h 1940560"/>
              <a:gd name="connsiteX19" fmla="*/ 608292 w 1284631"/>
              <a:gd name="connsiteY19" fmla="*/ 1673965 h 1940560"/>
              <a:gd name="connsiteX20" fmla="*/ 626953 w 1284631"/>
              <a:gd name="connsiteY20" fmla="*/ 1804593 h 1940560"/>
              <a:gd name="connsiteX21" fmla="*/ 296531 w 1284631"/>
              <a:gd name="connsiteY21" fmla="*/ 1528477 h 1940560"/>
              <a:gd name="connsiteX22" fmla="*/ 102596 w 1284631"/>
              <a:gd name="connsiteY22" fmla="*/ 780062 h 1940560"/>
              <a:gd name="connsiteX23" fmla="*/ 373983 w 1284631"/>
              <a:gd name="connsiteY23" fmla="*/ 60872 h 1940560"/>
              <a:gd name="connsiteX0" fmla="*/ 373983 w 1279705"/>
              <a:gd name="connsiteY0" fmla="*/ 60872 h 1940559"/>
              <a:gd name="connsiteX1" fmla="*/ 3601 w 1279705"/>
              <a:gd name="connsiteY1" fmla="*/ 701701 h 1940559"/>
              <a:gd name="connsiteX2" fmla="*/ 52161 w 1279705"/>
              <a:gd name="connsiteY2" fmla="*/ 1343583 h 1940559"/>
              <a:gd name="connsiteX3" fmla="*/ 340108 w 1279705"/>
              <a:gd name="connsiteY3" fmla="*/ 1821747 h 1940559"/>
              <a:gd name="connsiteX4" fmla="*/ 636284 w 1279705"/>
              <a:gd name="connsiteY4" fmla="*/ 1935222 h 1940559"/>
              <a:gd name="connsiteX5" fmla="*/ 897541 w 1279705"/>
              <a:gd name="connsiteY5" fmla="*/ 1869907 h 1940559"/>
              <a:gd name="connsiteX6" fmla="*/ 1196527 w 1279705"/>
              <a:gd name="connsiteY6" fmla="*/ 1430944 h 1940559"/>
              <a:gd name="connsiteX7" fmla="*/ 1261980 w 1279705"/>
              <a:gd name="connsiteY7" fmla="*/ 656262 h 1940559"/>
              <a:gd name="connsiteX8" fmla="*/ 853627 w 1279705"/>
              <a:gd name="connsiteY8" fmla="*/ 857 h 1940559"/>
              <a:gd name="connsiteX9" fmla="*/ 1125626 w 1279705"/>
              <a:gd name="connsiteY9" fmla="*/ 634094 h 1940559"/>
              <a:gd name="connsiteX10" fmla="*/ 1029224 w 1279705"/>
              <a:gd name="connsiteY10" fmla="*/ 1346249 h 1940559"/>
              <a:gd name="connsiteX11" fmla="*/ 886953 w 1279705"/>
              <a:gd name="connsiteY11" fmla="*/ 1637857 h 1940559"/>
              <a:gd name="connsiteX12" fmla="*/ 720260 w 1279705"/>
              <a:gd name="connsiteY12" fmla="*/ 1813924 h 1940559"/>
              <a:gd name="connsiteX13" fmla="*/ 710929 w 1279705"/>
              <a:gd name="connsiteY13" fmla="*/ 1645973 h 1940559"/>
              <a:gd name="connsiteX14" fmla="*/ 813566 w 1279705"/>
              <a:gd name="connsiteY14" fmla="*/ 1412707 h 1940559"/>
              <a:gd name="connsiteX15" fmla="*/ 785574 w 1279705"/>
              <a:gd name="connsiteY15" fmla="*/ 1198103 h 1940559"/>
              <a:gd name="connsiteX16" fmla="*/ 673607 w 1279705"/>
              <a:gd name="connsiteY16" fmla="*/ 787556 h 1940559"/>
              <a:gd name="connsiteX17" fmla="*/ 524317 w 1279705"/>
              <a:gd name="connsiteY17" fmla="*/ 1160781 h 1940559"/>
              <a:gd name="connsiteX18" fmla="*/ 514986 w 1279705"/>
              <a:gd name="connsiteY18" fmla="*/ 1496683 h 1940559"/>
              <a:gd name="connsiteX19" fmla="*/ 608292 w 1279705"/>
              <a:gd name="connsiteY19" fmla="*/ 1673965 h 1940559"/>
              <a:gd name="connsiteX20" fmla="*/ 626953 w 1279705"/>
              <a:gd name="connsiteY20" fmla="*/ 1804593 h 1940559"/>
              <a:gd name="connsiteX21" fmla="*/ 296531 w 1279705"/>
              <a:gd name="connsiteY21" fmla="*/ 1528477 h 1940559"/>
              <a:gd name="connsiteX22" fmla="*/ 102596 w 1279705"/>
              <a:gd name="connsiteY22" fmla="*/ 780062 h 1940559"/>
              <a:gd name="connsiteX23" fmla="*/ 373983 w 1279705"/>
              <a:gd name="connsiteY23" fmla="*/ 60872 h 1940559"/>
              <a:gd name="connsiteX0" fmla="*/ 373983 w 1279705"/>
              <a:gd name="connsiteY0" fmla="*/ 60071 h 1939758"/>
              <a:gd name="connsiteX1" fmla="*/ 3601 w 1279705"/>
              <a:gd name="connsiteY1" fmla="*/ 700900 h 1939758"/>
              <a:gd name="connsiteX2" fmla="*/ 52161 w 1279705"/>
              <a:gd name="connsiteY2" fmla="*/ 1342782 h 1939758"/>
              <a:gd name="connsiteX3" fmla="*/ 340108 w 1279705"/>
              <a:gd name="connsiteY3" fmla="*/ 1820946 h 1939758"/>
              <a:gd name="connsiteX4" fmla="*/ 636284 w 1279705"/>
              <a:gd name="connsiteY4" fmla="*/ 1934421 h 1939758"/>
              <a:gd name="connsiteX5" fmla="*/ 897541 w 1279705"/>
              <a:gd name="connsiteY5" fmla="*/ 1869106 h 1939758"/>
              <a:gd name="connsiteX6" fmla="*/ 1196527 w 1279705"/>
              <a:gd name="connsiteY6" fmla="*/ 1430143 h 1939758"/>
              <a:gd name="connsiteX7" fmla="*/ 1261980 w 1279705"/>
              <a:gd name="connsiteY7" fmla="*/ 655461 h 1939758"/>
              <a:gd name="connsiteX8" fmla="*/ 853627 w 1279705"/>
              <a:gd name="connsiteY8" fmla="*/ 56 h 1939758"/>
              <a:gd name="connsiteX9" fmla="*/ 1107135 w 1279705"/>
              <a:gd name="connsiteY9" fmla="*/ 689124 h 1939758"/>
              <a:gd name="connsiteX10" fmla="*/ 1029224 w 1279705"/>
              <a:gd name="connsiteY10" fmla="*/ 1345448 h 1939758"/>
              <a:gd name="connsiteX11" fmla="*/ 886953 w 1279705"/>
              <a:gd name="connsiteY11" fmla="*/ 1637056 h 1939758"/>
              <a:gd name="connsiteX12" fmla="*/ 720260 w 1279705"/>
              <a:gd name="connsiteY12" fmla="*/ 1813123 h 1939758"/>
              <a:gd name="connsiteX13" fmla="*/ 710929 w 1279705"/>
              <a:gd name="connsiteY13" fmla="*/ 1645172 h 1939758"/>
              <a:gd name="connsiteX14" fmla="*/ 813566 w 1279705"/>
              <a:gd name="connsiteY14" fmla="*/ 1411906 h 1939758"/>
              <a:gd name="connsiteX15" fmla="*/ 785574 w 1279705"/>
              <a:gd name="connsiteY15" fmla="*/ 1197302 h 1939758"/>
              <a:gd name="connsiteX16" fmla="*/ 673607 w 1279705"/>
              <a:gd name="connsiteY16" fmla="*/ 786755 h 1939758"/>
              <a:gd name="connsiteX17" fmla="*/ 524317 w 1279705"/>
              <a:gd name="connsiteY17" fmla="*/ 1159980 h 1939758"/>
              <a:gd name="connsiteX18" fmla="*/ 514986 w 1279705"/>
              <a:gd name="connsiteY18" fmla="*/ 1495882 h 1939758"/>
              <a:gd name="connsiteX19" fmla="*/ 608292 w 1279705"/>
              <a:gd name="connsiteY19" fmla="*/ 1673164 h 1939758"/>
              <a:gd name="connsiteX20" fmla="*/ 626953 w 1279705"/>
              <a:gd name="connsiteY20" fmla="*/ 1803792 h 1939758"/>
              <a:gd name="connsiteX21" fmla="*/ 296531 w 1279705"/>
              <a:gd name="connsiteY21" fmla="*/ 1527676 h 1939758"/>
              <a:gd name="connsiteX22" fmla="*/ 102596 w 1279705"/>
              <a:gd name="connsiteY22" fmla="*/ 779261 h 1939758"/>
              <a:gd name="connsiteX23" fmla="*/ 373983 w 1279705"/>
              <a:gd name="connsiteY23" fmla="*/ 60071 h 1939758"/>
              <a:gd name="connsiteX0" fmla="*/ 382609 w 1279705"/>
              <a:gd name="connsiteY0" fmla="*/ 13862 h 1939758"/>
              <a:gd name="connsiteX1" fmla="*/ 3601 w 1279705"/>
              <a:gd name="connsiteY1" fmla="*/ 700900 h 1939758"/>
              <a:gd name="connsiteX2" fmla="*/ 52161 w 1279705"/>
              <a:gd name="connsiteY2" fmla="*/ 1342782 h 1939758"/>
              <a:gd name="connsiteX3" fmla="*/ 340108 w 1279705"/>
              <a:gd name="connsiteY3" fmla="*/ 1820946 h 1939758"/>
              <a:gd name="connsiteX4" fmla="*/ 636284 w 1279705"/>
              <a:gd name="connsiteY4" fmla="*/ 1934421 h 1939758"/>
              <a:gd name="connsiteX5" fmla="*/ 897541 w 1279705"/>
              <a:gd name="connsiteY5" fmla="*/ 1869106 h 1939758"/>
              <a:gd name="connsiteX6" fmla="*/ 1196527 w 1279705"/>
              <a:gd name="connsiteY6" fmla="*/ 1430143 h 1939758"/>
              <a:gd name="connsiteX7" fmla="*/ 1261980 w 1279705"/>
              <a:gd name="connsiteY7" fmla="*/ 655461 h 1939758"/>
              <a:gd name="connsiteX8" fmla="*/ 853627 w 1279705"/>
              <a:gd name="connsiteY8" fmla="*/ 56 h 1939758"/>
              <a:gd name="connsiteX9" fmla="*/ 1107135 w 1279705"/>
              <a:gd name="connsiteY9" fmla="*/ 689124 h 1939758"/>
              <a:gd name="connsiteX10" fmla="*/ 1029224 w 1279705"/>
              <a:gd name="connsiteY10" fmla="*/ 1345448 h 1939758"/>
              <a:gd name="connsiteX11" fmla="*/ 886953 w 1279705"/>
              <a:gd name="connsiteY11" fmla="*/ 1637056 h 1939758"/>
              <a:gd name="connsiteX12" fmla="*/ 720260 w 1279705"/>
              <a:gd name="connsiteY12" fmla="*/ 1813123 h 1939758"/>
              <a:gd name="connsiteX13" fmla="*/ 710929 w 1279705"/>
              <a:gd name="connsiteY13" fmla="*/ 1645172 h 1939758"/>
              <a:gd name="connsiteX14" fmla="*/ 813566 w 1279705"/>
              <a:gd name="connsiteY14" fmla="*/ 1411906 h 1939758"/>
              <a:gd name="connsiteX15" fmla="*/ 785574 w 1279705"/>
              <a:gd name="connsiteY15" fmla="*/ 1197302 h 1939758"/>
              <a:gd name="connsiteX16" fmla="*/ 673607 w 1279705"/>
              <a:gd name="connsiteY16" fmla="*/ 786755 h 1939758"/>
              <a:gd name="connsiteX17" fmla="*/ 524317 w 1279705"/>
              <a:gd name="connsiteY17" fmla="*/ 1159980 h 1939758"/>
              <a:gd name="connsiteX18" fmla="*/ 514986 w 1279705"/>
              <a:gd name="connsiteY18" fmla="*/ 1495882 h 1939758"/>
              <a:gd name="connsiteX19" fmla="*/ 608292 w 1279705"/>
              <a:gd name="connsiteY19" fmla="*/ 1673164 h 1939758"/>
              <a:gd name="connsiteX20" fmla="*/ 626953 w 1279705"/>
              <a:gd name="connsiteY20" fmla="*/ 1803792 h 1939758"/>
              <a:gd name="connsiteX21" fmla="*/ 296531 w 1279705"/>
              <a:gd name="connsiteY21" fmla="*/ 1527676 h 1939758"/>
              <a:gd name="connsiteX22" fmla="*/ 102596 w 1279705"/>
              <a:gd name="connsiteY22" fmla="*/ 779261 h 1939758"/>
              <a:gd name="connsiteX23" fmla="*/ 382609 w 1279705"/>
              <a:gd name="connsiteY23" fmla="*/ 13862 h 1939758"/>
              <a:gd name="connsiteX0" fmla="*/ 382609 w 1279705"/>
              <a:gd name="connsiteY0" fmla="*/ 13862 h 1939758"/>
              <a:gd name="connsiteX1" fmla="*/ 3601 w 1279705"/>
              <a:gd name="connsiteY1" fmla="*/ 700900 h 1939758"/>
              <a:gd name="connsiteX2" fmla="*/ 52161 w 1279705"/>
              <a:gd name="connsiteY2" fmla="*/ 1342782 h 1939758"/>
              <a:gd name="connsiteX3" fmla="*/ 340108 w 1279705"/>
              <a:gd name="connsiteY3" fmla="*/ 1820946 h 1939758"/>
              <a:gd name="connsiteX4" fmla="*/ 636284 w 1279705"/>
              <a:gd name="connsiteY4" fmla="*/ 1934421 h 1939758"/>
              <a:gd name="connsiteX5" fmla="*/ 897541 w 1279705"/>
              <a:gd name="connsiteY5" fmla="*/ 1869106 h 1939758"/>
              <a:gd name="connsiteX6" fmla="*/ 1196527 w 1279705"/>
              <a:gd name="connsiteY6" fmla="*/ 1430143 h 1939758"/>
              <a:gd name="connsiteX7" fmla="*/ 1261980 w 1279705"/>
              <a:gd name="connsiteY7" fmla="*/ 655461 h 1939758"/>
              <a:gd name="connsiteX8" fmla="*/ 853627 w 1279705"/>
              <a:gd name="connsiteY8" fmla="*/ 56 h 1939758"/>
              <a:gd name="connsiteX9" fmla="*/ 1107135 w 1279705"/>
              <a:gd name="connsiteY9" fmla="*/ 689124 h 1939758"/>
              <a:gd name="connsiteX10" fmla="*/ 1029224 w 1279705"/>
              <a:gd name="connsiteY10" fmla="*/ 1345448 h 1939758"/>
              <a:gd name="connsiteX11" fmla="*/ 886953 w 1279705"/>
              <a:gd name="connsiteY11" fmla="*/ 1637056 h 1939758"/>
              <a:gd name="connsiteX12" fmla="*/ 720260 w 1279705"/>
              <a:gd name="connsiteY12" fmla="*/ 1813123 h 1939758"/>
              <a:gd name="connsiteX13" fmla="*/ 710929 w 1279705"/>
              <a:gd name="connsiteY13" fmla="*/ 1645172 h 1939758"/>
              <a:gd name="connsiteX14" fmla="*/ 813566 w 1279705"/>
              <a:gd name="connsiteY14" fmla="*/ 1411906 h 1939758"/>
              <a:gd name="connsiteX15" fmla="*/ 785574 w 1279705"/>
              <a:gd name="connsiteY15" fmla="*/ 1197302 h 1939758"/>
              <a:gd name="connsiteX16" fmla="*/ 673607 w 1279705"/>
              <a:gd name="connsiteY16" fmla="*/ 786755 h 1939758"/>
              <a:gd name="connsiteX17" fmla="*/ 524317 w 1279705"/>
              <a:gd name="connsiteY17" fmla="*/ 1159980 h 1939758"/>
              <a:gd name="connsiteX18" fmla="*/ 514986 w 1279705"/>
              <a:gd name="connsiteY18" fmla="*/ 1495882 h 1939758"/>
              <a:gd name="connsiteX19" fmla="*/ 608292 w 1279705"/>
              <a:gd name="connsiteY19" fmla="*/ 1673164 h 1939758"/>
              <a:gd name="connsiteX20" fmla="*/ 626953 w 1279705"/>
              <a:gd name="connsiteY20" fmla="*/ 1803792 h 1939758"/>
              <a:gd name="connsiteX21" fmla="*/ 296531 w 1279705"/>
              <a:gd name="connsiteY21" fmla="*/ 1527676 h 1939758"/>
              <a:gd name="connsiteX22" fmla="*/ 102596 w 1279705"/>
              <a:gd name="connsiteY22" fmla="*/ 779261 h 1939758"/>
              <a:gd name="connsiteX23" fmla="*/ 382609 w 1279705"/>
              <a:gd name="connsiteY23" fmla="*/ 13862 h 1939758"/>
              <a:gd name="connsiteX0" fmla="*/ 382609 w 1279705"/>
              <a:gd name="connsiteY0" fmla="*/ 13862 h 1939758"/>
              <a:gd name="connsiteX1" fmla="*/ 3601 w 1279705"/>
              <a:gd name="connsiteY1" fmla="*/ 700900 h 1939758"/>
              <a:gd name="connsiteX2" fmla="*/ 52161 w 1279705"/>
              <a:gd name="connsiteY2" fmla="*/ 1342782 h 1939758"/>
              <a:gd name="connsiteX3" fmla="*/ 340108 w 1279705"/>
              <a:gd name="connsiteY3" fmla="*/ 1820946 h 1939758"/>
              <a:gd name="connsiteX4" fmla="*/ 636284 w 1279705"/>
              <a:gd name="connsiteY4" fmla="*/ 1934421 h 1939758"/>
              <a:gd name="connsiteX5" fmla="*/ 897541 w 1279705"/>
              <a:gd name="connsiteY5" fmla="*/ 1869106 h 1939758"/>
              <a:gd name="connsiteX6" fmla="*/ 1196527 w 1279705"/>
              <a:gd name="connsiteY6" fmla="*/ 1430143 h 1939758"/>
              <a:gd name="connsiteX7" fmla="*/ 1261980 w 1279705"/>
              <a:gd name="connsiteY7" fmla="*/ 655461 h 1939758"/>
              <a:gd name="connsiteX8" fmla="*/ 853627 w 1279705"/>
              <a:gd name="connsiteY8" fmla="*/ 56 h 1939758"/>
              <a:gd name="connsiteX9" fmla="*/ 1107135 w 1279705"/>
              <a:gd name="connsiteY9" fmla="*/ 689124 h 1939758"/>
              <a:gd name="connsiteX10" fmla="*/ 1029224 w 1279705"/>
              <a:gd name="connsiteY10" fmla="*/ 1345448 h 1939758"/>
              <a:gd name="connsiteX11" fmla="*/ 886953 w 1279705"/>
              <a:gd name="connsiteY11" fmla="*/ 1637056 h 1939758"/>
              <a:gd name="connsiteX12" fmla="*/ 720260 w 1279705"/>
              <a:gd name="connsiteY12" fmla="*/ 1813123 h 1939758"/>
              <a:gd name="connsiteX13" fmla="*/ 710929 w 1279705"/>
              <a:gd name="connsiteY13" fmla="*/ 1645172 h 1939758"/>
              <a:gd name="connsiteX14" fmla="*/ 813566 w 1279705"/>
              <a:gd name="connsiteY14" fmla="*/ 1411906 h 1939758"/>
              <a:gd name="connsiteX15" fmla="*/ 785574 w 1279705"/>
              <a:gd name="connsiteY15" fmla="*/ 1197302 h 1939758"/>
              <a:gd name="connsiteX16" fmla="*/ 673607 w 1279705"/>
              <a:gd name="connsiteY16" fmla="*/ 786755 h 1939758"/>
              <a:gd name="connsiteX17" fmla="*/ 524317 w 1279705"/>
              <a:gd name="connsiteY17" fmla="*/ 1159980 h 1939758"/>
              <a:gd name="connsiteX18" fmla="*/ 514986 w 1279705"/>
              <a:gd name="connsiteY18" fmla="*/ 1495882 h 1939758"/>
              <a:gd name="connsiteX19" fmla="*/ 608292 w 1279705"/>
              <a:gd name="connsiteY19" fmla="*/ 1673164 h 1939758"/>
              <a:gd name="connsiteX20" fmla="*/ 626953 w 1279705"/>
              <a:gd name="connsiteY20" fmla="*/ 1803792 h 1939758"/>
              <a:gd name="connsiteX21" fmla="*/ 296531 w 1279705"/>
              <a:gd name="connsiteY21" fmla="*/ 1527676 h 1939758"/>
              <a:gd name="connsiteX22" fmla="*/ 102596 w 1279705"/>
              <a:gd name="connsiteY22" fmla="*/ 779261 h 1939758"/>
              <a:gd name="connsiteX23" fmla="*/ 382609 w 1279705"/>
              <a:gd name="connsiteY23" fmla="*/ 13862 h 1939758"/>
              <a:gd name="connsiteX0" fmla="*/ 364516 w 1261612"/>
              <a:gd name="connsiteY0" fmla="*/ 13862 h 1939758"/>
              <a:gd name="connsiteX1" fmla="*/ 10700 w 1261612"/>
              <a:gd name="connsiteY1" fmla="*/ 689374 h 1939758"/>
              <a:gd name="connsiteX2" fmla="*/ 34068 w 1261612"/>
              <a:gd name="connsiteY2" fmla="*/ 1342782 h 1939758"/>
              <a:gd name="connsiteX3" fmla="*/ 322015 w 1261612"/>
              <a:gd name="connsiteY3" fmla="*/ 1820946 h 1939758"/>
              <a:gd name="connsiteX4" fmla="*/ 618191 w 1261612"/>
              <a:gd name="connsiteY4" fmla="*/ 1934421 h 1939758"/>
              <a:gd name="connsiteX5" fmla="*/ 879448 w 1261612"/>
              <a:gd name="connsiteY5" fmla="*/ 1869106 h 1939758"/>
              <a:gd name="connsiteX6" fmla="*/ 1178434 w 1261612"/>
              <a:gd name="connsiteY6" fmla="*/ 1430143 h 1939758"/>
              <a:gd name="connsiteX7" fmla="*/ 1243887 w 1261612"/>
              <a:gd name="connsiteY7" fmla="*/ 655461 h 1939758"/>
              <a:gd name="connsiteX8" fmla="*/ 835534 w 1261612"/>
              <a:gd name="connsiteY8" fmla="*/ 56 h 1939758"/>
              <a:gd name="connsiteX9" fmla="*/ 1089042 w 1261612"/>
              <a:gd name="connsiteY9" fmla="*/ 689124 h 1939758"/>
              <a:gd name="connsiteX10" fmla="*/ 1011131 w 1261612"/>
              <a:gd name="connsiteY10" fmla="*/ 1345448 h 1939758"/>
              <a:gd name="connsiteX11" fmla="*/ 868860 w 1261612"/>
              <a:gd name="connsiteY11" fmla="*/ 1637056 h 1939758"/>
              <a:gd name="connsiteX12" fmla="*/ 702167 w 1261612"/>
              <a:gd name="connsiteY12" fmla="*/ 1813123 h 1939758"/>
              <a:gd name="connsiteX13" fmla="*/ 692836 w 1261612"/>
              <a:gd name="connsiteY13" fmla="*/ 1645172 h 1939758"/>
              <a:gd name="connsiteX14" fmla="*/ 795473 w 1261612"/>
              <a:gd name="connsiteY14" fmla="*/ 1411906 h 1939758"/>
              <a:gd name="connsiteX15" fmla="*/ 767481 w 1261612"/>
              <a:gd name="connsiteY15" fmla="*/ 1197302 h 1939758"/>
              <a:gd name="connsiteX16" fmla="*/ 655514 w 1261612"/>
              <a:gd name="connsiteY16" fmla="*/ 786755 h 1939758"/>
              <a:gd name="connsiteX17" fmla="*/ 506224 w 1261612"/>
              <a:gd name="connsiteY17" fmla="*/ 1159980 h 1939758"/>
              <a:gd name="connsiteX18" fmla="*/ 496893 w 1261612"/>
              <a:gd name="connsiteY18" fmla="*/ 1495882 h 1939758"/>
              <a:gd name="connsiteX19" fmla="*/ 590199 w 1261612"/>
              <a:gd name="connsiteY19" fmla="*/ 1673164 h 1939758"/>
              <a:gd name="connsiteX20" fmla="*/ 608860 w 1261612"/>
              <a:gd name="connsiteY20" fmla="*/ 1803792 h 1939758"/>
              <a:gd name="connsiteX21" fmla="*/ 278438 w 1261612"/>
              <a:gd name="connsiteY21" fmla="*/ 1527676 h 1939758"/>
              <a:gd name="connsiteX22" fmla="*/ 84503 w 1261612"/>
              <a:gd name="connsiteY22" fmla="*/ 779261 h 1939758"/>
              <a:gd name="connsiteX23" fmla="*/ 364516 w 1261612"/>
              <a:gd name="connsiteY23" fmla="*/ 13862 h 1939758"/>
              <a:gd name="connsiteX0" fmla="*/ 371688 w 1268784"/>
              <a:gd name="connsiteY0" fmla="*/ 13862 h 1939758"/>
              <a:gd name="connsiteX1" fmla="*/ 17872 w 1268784"/>
              <a:gd name="connsiteY1" fmla="*/ 689374 h 1939758"/>
              <a:gd name="connsiteX2" fmla="*/ 41240 w 1268784"/>
              <a:gd name="connsiteY2" fmla="*/ 1342782 h 1939758"/>
              <a:gd name="connsiteX3" fmla="*/ 329187 w 1268784"/>
              <a:gd name="connsiteY3" fmla="*/ 1820946 h 1939758"/>
              <a:gd name="connsiteX4" fmla="*/ 625363 w 1268784"/>
              <a:gd name="connsiteY4" fmla="*/ 1934421 h 1939758"/>
              <a:gd name="connsiteX5" fmla="*/ 886620 w 1268784"/>
              <a:gd name="connsiteY5" fmla="*/ 1869106 h 1939758"/>
              <a:gd name="connsiteX6" fmla="*/ 1185606 w 1268784"/>
              <a:gd name="connsiteY6" fmla="*/ 1430143 h 1939758"/>
              <a:gd name="connsiteX7" fmla="*/ 1251059 w 1268784"/>
              <a:gd name="connsiteY7" fmla="*/ 655461 h 1939758"/>
              <a:gd name="connsiteX8" fmla="*/ 842706 w 1268784"/>
              <a:gd name="connsiteY8" fmla="*/ 56 h 1939758"/>
              <a:gd name="connsiteX9" fmla="*/ 1096214 w 1268784"/>
              <a:gd name="connsiteY9" fmla="*/ 689124 h 1939758"/>
              <a:gd name="connsiteX10" fmla="*/ 1018303 w 1268784"/>
              <a:gd name="connsiteY10" fmla="*/ 1345448 h 1939758"/>
              <a:gd name="connsiteX11" fmla="*/ 876032 w 1268784"/>
              <a:gd name="connsiteY11" fmla="*/ 1637056 h 1939758"/>
              <a:gd name="connsiteX12" fmla="*/ 709339 w 1268784"/>
              <a:gd name="connsiteY12" fmla="*/ 1813123 h 1939758"/>
              <a:gd name="connsiteX13" fmla="*/ 700008 w 1268784"/>
              <a:gd name="connsiteY13" fmla="*/ 1645172 h 1939758"/>
              <a:gd name="connsiteX14" fmla="*/ 802645 w 1268784"/>
              <a:gd name="connsiteY14" fmla="*/ 1411906 h 1939758"/>
              <a:gd name="connsiteX15" fmla="*/ 774653 w 1268784"/>
              <a:gd name="connsiteY15" fmla="*/ 1197302 h 1939758"/>
              <a:gd name="connsiteX16" fmla="*/ 662686 w 1268784"/>
              <a:gd name="connsiteY16" fmla="*/ 786755 h 1939758"/>
              <a:gd name="connsiteX17" fmla="*/ 513396 w 1268784"/>
              <a:gd name="connsiteY17" fmla="*/ 1159980 h 1939758"/>
              <a:gd name="connsiteX18" fmla="*/ 504065 w 1268784"/>
              <a:gd name="connsiteY18" fmla="*/ 1495882 h 1939758"/>
              <a:gd name="connsiteX19" fmla="*/ 597371 w 1268784"/>
              <a:gd name="connsiteY19" fmla="*/ 1673164 h 1939758"/>
              <a:gd name="connsiteX20" fmla="*/ 616032 w 1268784"/>
              <a:gd name="connsiteY20" fmla="*/ 1803792 h 1939758"/>
              <a:gd name="connsiteX21" fmla="*/ 285610 w 1268784"/>
              <a:gd name="connsiteY21" fmla="*/ 1527676 h 1939758"/>
              <a:gd name="connsiteX22" fmla="*/ 91675 w 1268784"/>
              <a:gd name="connsiteY22" fmla="*/ 779261 h 1939758"/>
              <a:gd name="connsiteX23" fmla="*/ 371688 w 1268784"/>
              <a:gd name="connsiteY23"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291605 w 1274779"/>
              <a:gd name="connsiteY21" fmla="*/ 1527676 h 1939758"/>
              <a:gd name="connsiteX22" fmla="*/ 97670 w 1274779"/>
              <a:gd name="connsiteY22" fmla="*/ 779261 h 1939758"/>
              <a:gd name="connsiteX23" fmla="*/ 377683 w 1274779"/>
              <a:gd name="connsiteY23"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291605 w 1274779"/>
              <a:gd name="connsiteY21" fmla="*/ 1527676 h 1939758"/>
              <a:gd name="connsiteX22" fmla="*/ 97670 w 1274779"/>
              <a:gd name="connsiteY22" fmla="*/ 779261 h 1939758"/>
              <a:gd name="connsiteX23" fmla="*/ 377683 w 1274779"/>
              <a:gd name="connsiteY23"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291605 w 1274779"/>
              <a:gd name="connsiteY21" fmla="*/ 1527676 h 1939758"/>
              <a:gd name="connsiteX22" fmla="*/ 97670 w 1274779"/>
              <a:gd name="connsiteY22" fmla="*/ 779261 h 1939758"/>
              <a:gd name="connsiteX23" fmla="*/ 377683 w 1274779"/>
              <a:gd name="connsiteY23"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291605 w 1274779"/>
              <a:gd name="connsiteY21" fmla="*/ 1527676 h 1939758"/>
              <a:gd name="connsiteX22" fmla="*/ 97670 w 1274779"/>
              <a:gd name="connsiteY22" fmla="*/ 779261 h 1939758"/>
              <a:gd name="connsiteX23" fmla="*/ 377683 w 1274779"/>
              <a:gd name="connsiteY23"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291605 w 1274779"/>
              <a:gd name="connsiteY21" fmla="*/ 1527676 h 1939758"/>
              <a:gd name="connsiteX22" fmla="*/ 97670 w 1274779"/>
              <a:gd name="connsiteY22" fmla="*/ 779261 h 1939758"/>
              <a:gd name="connsiteX23" fmla="*/ 285109 w 1274779"/>
              <a:gd name="connsiteY23" fmla="*/ 334719 h 1939758"/>
              <a:gd name="connsiteX24" fmla="*/ 377683 w 1274779"/>
              <a:gd name="connsiteY24"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291605 w 1274779"/>
              <a:gd name="connsiteY21" fmla="*/ 1527676 h 1939758"/>
              <a:gd name="connsiteX22" fmla="*/ 97670 w 1274779"/>
              <a:gd name="connsiteY22" fmla="*/ 779261 h 1939758"/>
              <a:gd name="connsiteX23" fmla="*/ 235973 w 1274779"/>
              <a:gd name="connsiteY23" fmla="*/ 325774 h 1939758"/>
              <a:gd name="connsiteX24" fmla="*/ 377683 w 1274779"/>
              <a:gd name="connsiteY24"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291605 w 1274779"/>
              <a:gd name="connsiteY21" fmla="*/ 1527676 h 1939758"/>
              <a:gd name="connsiteX22" fmla="*/ 97670 w 1274779"/>
              <a:gd name="connsiteY22" fmla="*/ 779261 h 1939758"/>
              <a:gd name="connsiteX23" fmla="*/ 235973 w 1274779"/>
              <a:gd name="connsiteY23" fmla="*/ 325774 h 1939758"/>
              <a:gd name="connsiteX24" fmla="*/ 377683 w 1274779"/>
              <a:gd name="connsiteY24"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291605 w 1274779"/>
              <a:gd name="connsiteY21" fmla="*/ 1527676 h 1939758"/>
              <a:gd name="connsiteX22" fmla="*/ 167307 w 1274779"/>
              <a:gd name="connsiteY22" fmla="*/ 1190506 h 1939758"/>
              <a:gd name="connsiteX23" fmla="*/ 97670 w 1274779"/>
              <a:gd name="connsiteY23" fmla="*/ 779261 h 1939758"/>
              <a:gd name="connsiteX24" fmla="*/ 235973 w 1274779"/>
              <a:gd name="connsiteY24" fmla="*/ 325774 h 1939758"/>
              <a:gd name="connsiteX25" fmla="*/ 377683 w 1274779"/>
              <a:gd name="connsiteY25"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291605 w 1274779"/>
              <a:gd name="connsiteY21" fmla="*/ 1527676 h 1939758"/>
              <a:gd name="connsiteX22" fmla="*/ 131022 w 1274779"/>
              <a:gd name="connsiteY22" fmla="*/ 1267790 h 1939758"/>
              <a:gd name="connsiteX23" fmla="*/ 97670 w 1274779"/>
              <a:gd name="connsiteY23" fmla="*/ 779261 h 1939758"/>
              <a:gd name="connsiteX24" fmla="*/ 235973 w 1274779"/>
              <a:gd name="connsiteY24" fmla="*/ 325774 h 1939758"/>
              <a:gd name="connsiteX25" fmla="*/ 377683 w 1274779"/>
              <a:gd name="connsiteY25"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284200 w 1274779"/>
              <a:gd name="connsiteY21" fmla="*/ 1586329 h 1939758"/>
              <a:gd name="connsiteX22" fmla="*/ 131022 w 1274779"/>
              <a:gd name="connsiteY22" fmla="*/ 1267790 h 1939758"/>
              <a:gd name="connsiteX23" fmla="*/ 97670 w 1274779"/>
              <a:gd name="connsiteY23" fmla="*/ 779261 h 1939758"/>
              <a:gd name="connsiteX24" fmla="*/ 235973 w 1274779"/>
              <a:gd name="connsiteY24" fmla="*/ 325774 h 1939758"/>
              <a:gd name="connsiteX25" fmla="*/ 377683 w 1274779"/>
              <a:gd name="connsiteY25"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303844 w 1274779"/>
              <a:gd name="connsiteY21" fmla="*/ 1607683 h 1939758"/>
              <a:gd name="connsiteX22" fmla="*/ 131022 w 1274779"/>
              <a:gd name="connsiteY22" fmla="*/ 1267790 h 1939758"/>
              <a:gd name="connsiteX23" fmla="*/ 97670 w 1274779"/>
              <a:gd name="connsiteY23" fmla="*/ 779261 h 1939758"/>
              <a:gd name="connsiteX24" fmla="*/ 235973 w 1274779"/>
              <a:gd name="connsiteY24" fmla="*/ 325774 h 1939758"/>
              <a:gd name="connsiteX25" fmla="*/ 377683 w 1274779"/>
              <a:gd name="connsiteY25"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303844 w 1274779"/>
              <a:gd name="connsiteY21" fmla="*/ 1607683 h 1939758"/>
              <a:gd name="connsiteX22" fmla="*/ 131022 w 1274779"/>
              <a:gd name="connsiteY22" fmla="*/ 1267790 h 1939758"/>
              <a:gd name="connsiteX23" fmla="*/ 97670 w 1274779"/>
              <a:gd name="connsiteY23" fmla="*/ 779261 h 1939758"/>
              <a:gd name="connsiteX24" fmla="*/ 235973 w 1274779"/>
              <a:gd name="connsiteY24" fmla="*/ 325774 h 1939758"/>
              <a:gd name="connsiteX25" fmla="*/ 377683 w 1274779"/>
              <a:gd name="connsiteY25" fmla="*/ 13862 h 1939758"/>
              <a:gd name="connsiteX0" fmla="*/ 377683 w 1274779"/>
              <a:gd name="connsiteY0" fmla="*/ 13862 h 1959048"/>
              <a:gd name="connsiteX1" fmla="*/ 23867 w 1274779"/>
              <a:gd name="connsiteY1" fmla="*/ 689374 h 1959048"/>
              <a:gd name="connsiteX2" fmla="*/ 47235 w 1274779"/>
              <a:gd name="connsiteY2" fmla="*/ 1342782 h 1959048"/>
              <a:gd name="connsiteX3" fmla="*/ 335182 w 1274779"/>
              <a:gd name="connsiteY3" fmla="*/ 1820946 h 1959048"/>
              <a:gd name="connsiteX4" fmla="*/ 615989 w 1274779"/>
              <a:gd name="connsiteY4" fmla="*/ 1956625 h 1959048"/>
              <a:gd name="connsiteX5" fmla="*/ 892615 w 1274779"/>
              <a:gd name="connsiteY5" fmla="*/ 1869106 h 1959048"/>
              <a:gd name="connsiteX6" fmla="*/ 1191601 w 1274779"/>
              <a:gd name="connsiteY6" fmla="*/ 1430143 h 1959048"/>
              <a:gd name="connsiteX7" fmla="*/ 1257054 w 1274779"/>
              <a:gd name="connsiteY7" fmla="*/ 655461 h 1959048"/>
              <a:gd name="connsiteX8" fmla="*/ 848701 w 1274779"/>
              <a:gd name="connsiteY8" fmla="*/ 56 h 1959048"/>
              <a:gd name="connsiteX9" fmla="*/ 1102209 w 1274779"/>
              <a:gd name="connsiteY9" fmla="*/ 689124 h 1959048"/>
              <a:gd name="connsiteX10" fmla="*/ 1024298 w 1274779"/>
              <a:gd name="connsiteY10" fmla="*/ 1345448 h 1959048"/>
              <a:gd name="connsiteX11" fmla="*/ 882027 w 1274779"/>
              <a:gd name="connsiteY11" fmla="*/ 1637056 h 1959048"/>
              <a:gd name="connsiteX12" fmla="*/ 715334 w 1274779"/>
              <a:gd name="connsiteY12" fmla="*/ 1813123 h 1959048"/>
              <a:gd name="connsiteX13" fmla="*/ 706003 w 1274779"/>
              <a:gd name="connsiteY13" fmla="*/ 1645172 h 1959048"/>
              <a:gd name="connsiteX14" fmla="*/ 808640 w 1274779"/>
              <a:gd name="connsiteY14" fmla="*/ 1411906 h 1959048"/>
              <a:gd name="connsiteX15" fmla="*/ 780648 w 1274779"/>
              <a:gd name="connsiteY15" fmla="*/ 1197302 h 1959048"/>
              <a:gd name="connsiteX16" fmla="*/ 668681 w 1274779"/>
              <a:gd name="connsiteY16" fmla="*/ 786755 h 1959048"/>
              <a:gd name="connsiteX17" fmla="*/ 519391 w 1274779"/>
              <a:gd name="connsiteY17" fmla="*/ 1159980 h 1959048"/>
              <a:gd name="connsiteX18" fmla="*/ 510060 w 1274779"/>
              <a:gd name="connsiteY18" fmla="*/ 1495882 h 1959048"/>
              <a:gd name="connsiteX19" fmla="*/ 603366 w 1274779"/>
              <a:gd name="connsiteY19" fmla="*/ 1673164 h 1959048"/>
              <a:gd name="connsiteX20" fmla="*/ 622027 w 1274779"/>
              <a:gd name="connsiteY20" fmla="*/ 1803792 h 1959048"/>
              <a:gd name="connsiteX21" fmla="*/ 303844 w 1274779"/>
              <a:gd name="connsiteY21" fmla="*/ 1607683 h 1959048"/>
              <a:gd name="connsiteX22" fmla="*/ 131022 w 1274779"/>
              <a:gd name="connsiteY22" fmla="*/ 1267790 h 1959048"/>
              <a:gd name="connsiteX23" fmla="*/ 97670 w 1274779"/>
              <a:gd name="connsiteY23" fmla="*/ 779261 h 1959048"/>
              <a:gd name="connsiteX24" fmla="*/ 235973 w 1274779"/>
              <a:gd name="connsiteY24" fmla="*/ 325774 h 1959048"/>
              <a:gd name="connsiteX25" fmla="*/ 377683 w 1274779"/>
              <a:gd name="connsiteY25" fmla="*/ 13862 h 1959048"/>
              <a:gd name="connsiteX0" fmla="*/ 377683 w 1278622"/>
              <a:gd name="connsiteY0" fmla="*/ 13862 h 1976333"/>
              <a:gd name="connsiteX1" fmla="*/ 23867 w 1278622"/>
              <a:gd name="connsiteY1" fmla="*/ 689374 h 1976333"/>
              <a:gd name="connsiteX2" fmla="*/ 47235 w 1278622"/>
              <a:gd name="connsiteY2" fmla="*/ 1342782 h 1976333"/>
              <a:gd name="connsiteX3" fmla="*/ 335182 w 1278622"/>
              <a:gd name="connsiteY3" fmla="*/ 1820946 h 1976333"/>
              <a:gd name="connsiteX4" fmla="*/ 615989 w 1278622"/>
              <a:gd name="connsiteY4" fmla="*/ 1956625 h 1976333"/>
              <a:gd name="connsiteX5" fmla="*/ 932515 w 1278622"/>
              <a:gd name="connsiteY5" fmla="*/ 1918037 h 1976333"/>
              <a:gd name="connsiteX6" fmla="*/ 1191601 w 1278622"/>
              <a:gd name="connsiteY6" fmla="*/ 1430143 h 1976333"/>
              <a:gd name="connsiteX7" fmla="*/ 1257054 w 1278622"/>
              <a:gd name="connsiteY7" fmla="*/ 655461 h 1976333"/>
              <a:gd name="connsiteX8" fmla="*/ 848701 w 1278622"/>
              <a:gd name="connsiteY8" fmla="*/ 56 h 1976333"/>
              <a:gd name="connsiteX9" fmla="*/ 1102209 w 1278622"/>
              <a:gd name="connsiteY9" fmla="*/ 689124 h 1976333"/>
              <a:gd name="connsiteX10" fmla="*/ 1024298 w 1278622"/>
              <a:gd name="connsiteY10" fmla="*/ 1345448 h 1976333"/>
              <a:gd name="connsiteX11" fmla="*/ 882027 w 1278622"/>
              <a:gd name="connsiteY11" fmla="*/ 1637056 h 1976333"/>
              <a:gd name="connsiteX12" fmla="*/ 715334 w 1278622"/>
              <a:gd name="connsiteY12" fmla="*/ 1813123 h 1976333"/>
              <a:gd name="connsiteX13" fmla="*/ 706003 w 1278622"/>
              <a:gd name="connsiteY13" fmla="*/ 1645172 h 1976333"/>
              <a:gd name="connsiteX14" fmla="*/ 808640 w 1278622"/>
              <a:gd name="connsiteY14" fmla="*/ 1411906 h 1976333"/>
              <a:gd name="connsiteX15" fmla="*/ 780648 w 1278622"/>
              <a:gd name="connsiteY15" fmla="*/ 1197302 h 1976333"/>
              <a:gd name="connsiteX16" fmla="*/ 668681 w 1278622"/>
              <a:gd name="connsiteY16" fmla="*/ 786755 h 1976333"/>
              <a:gd name="connsiteX17" fmla="*/ 519391 w 1278622"/>
              <a:gd name="connsiteY17" fmla="*/ 1159980 h 1976333"/>
              <a:gd name="connsiteX18" fmla="*/ 510060 w 1278622"/>
              <a:gd name="connsiteY18" fmla="*/ 1495882 h 1976333"/>
              <a:gd name="connsiteX19" fmla="*/ 603366 w 1278622"/>
              <a:gd name="connsiteY19" fmla="*/ 1673164 h 1976333"/>
              <a:gd name="connsiteX20" fmla="*/ 622027 w 1278622"/>
              <a:gd name="connsiteY20" fmla="*/ 1803792 h 1976333"/>
              <a:gd name="connsiteX21" fmla="*/ 303844 w 1278622"/>
              <a:gd name="connsiteY21" fmla="*/ 1607683 h 1976333"/>
              <a:gd name="connsiteX22" fmla="*/ 131022 w 1278622"/>
              <a:gd name="connsiteY22" fmla="*/ 1267790 h 1976333"/>
              <a:gd name="connsiteX23" fmla="*/ 97670 w 1278622"/>
              <a:gd name="connsiteY23" fmla="*/ 779261 h 1976333"/>
              <a:gd name="connsiteX24" fmla="*/ 235973 w 1278622"/>
              <a:gd name="connsiteY24" fmla="*/ 325774 h 1976333"/>
              <a:gd name="connsiteX25" fmla="*/ 377683 w 1278622"/>
              <a:gd name="connsiteY25" fmla="*/ 13862 h 1976333"/>
              <a:gd name="connsiteX0" fmla="*/ 377683 w 1278622"/>
              <a:gd name="connsiteY0" fmla="*/ 13862 h 1966245"/>
              <a:gd name="connsiteX1" fmla="*/ 23867 w 1278622"/>
              <a:gd name="connsiteY1" fmla="*/ 689374 h 1966245"/>
              <a:gd name="connsiteX2" fmla="*/ 47235 w 1278622"/>
              <a:gd name="connsiteY2" fmla="*/ 1342782 h 1966245"/>
              <a:gd name="connsiteX3" fmla="*/ 335182 w 1278622"/>
              <a:gd name="connsiteY3" fmla="*/ 1820946 h 1966245"/>
              <a:gd name="connsiteX4" fmla="*/ 615989 w 1278622"/>
              <a:gd name="connsiteY4" fmla="*/ 1956625 h 1966245"/>
              <a:gd name="connsiteX5" fmla="*/ 932515 w 1278622"/>
              <a:gd name="connsiteY5" fmla="*/ 1918037 h 1966245"/>
              <a:gd name="connsiteX6" fmla="*/ 1191601 w 1278622"/>
              <a:gd name="connsiteY6" fmla="*/ 1430143 h 1966245"/>
              <a:gd name="connsiteX7" fmla="*/ 1257054 w 1278622"/>
              <a:gd name="connsiteY7" fmla="*/ 655461 h 1966245"/>
              <a:gd name="connsiteX8" fmla="*/ 848701 w 1278622"/>
              <a:gd name="connsiteY8" fmla="*/ 56 h 1966245"/>
              <a:gd name="connsiteX9" fmla="*/ 1102209 w 1278622"/>
              <a:gd name="connsiteY9" fmla="*/ 689124 h 1966245"/>
              <a:gd name="connsiteX10" fmla="*/ 1024298 w 1278622"/>
              <a:gd name="connsiteY10" fmla="*/ 1345448 h 1966245"/>
              <a:gd name="connsiteX11" fmla="*/ 882027 w 1278622"/>
              <a:gd name="connsiteY11" fmla="*/ 1637056 h 1966245"/>
              <a:gd name="connsiteX12" fmla="*/ 715334 w 1278622"/>
              <a:gd name="connsiteY12" fmla="*/ 1813123 h 1966245"/>
              <a:gd name="connsiteX13" fmla="*/ 706003 w 1278622"/>
              <a:gd name="connsiteY13" fmla="*/ 1645172 h 1966245"/>
              <a:gd name="connsiteX14" fmla="*/ 808640 w 1278622"/>
              <a:gd name="connsiteY14" fmla="*/ 1411906 h 1966245"/>
              <a:gd name="connsiteX15" fmla="*/ 780648 w 1278622"/>
              <a:gd name="connsiteY15" fmla="*/ 1197302 h 1966245"/>
              <a:gd name="connsiteX16" fmla="*/ 668681 w 1278622"/>
              <a:gd name="connsiteY16" fmla="*/ 786755 h 1966245"/>
              <a:gd name="connsiteX17" fmla="*/ 519391 w 1278622"/>
              <a:gd name="connsiteY17" fmla="*/ 1159980 h 1966245"/>
              <a:gd name="connsiteX18" fmla="*/ 510060 w 1278622"/>
              <a:gd name="connsiteY18" fmla="*/ 1495882 h 1966245"/>
              <a:gd name="connsiteX19" fmla="*/ 603366 w 1278622"/>
              <a:gd name="connsiteY19" fmla="*/ 1673164 h 1966245"/>
              <a:gd name="connsiteX20" fmla="*/ 622027 w 1278622"/>
              <a:gd name="connsiteY20" fmla="*/ 1803792 h 1966245"/>
              <a:gd name="connsiteX21" fmla="*/ 303844 w 1278622"/>
              <a:gd name="connsiteY21" fmla="*/ 1607683 h 1966245"/>
              <a:gd name="connsiteX22" fmla="*/ 131022 w 1278622"/>
              <a:gd name="connsiteY22" fmla="*/ 1267790 h 1966245"/>
              <a:gd name="connsiteX23" fmla="*/ 97670 w 1278622"/>
              <a:gd name="connsiteY23" fmla="*/ 779261 h 1966245"/>
              <a:gd name="connsiteX24" fmla="*/ 235973 w 1278622"/>
              <a:gd name="connsiteY24" fmla="*/ 325774 h 1966245"/>
              <a:gd name="connsiteX25" fmla="*/ 377683 w 1278622"/>
              <a:gd name="connsiteY25" fmla="*/ 13862 h 1966245"/>
              <a:gd name="connsiteX0" fmla="*/ 377683 w 1317946"/>
              <a:gd name="connsiteY0" fmla="*/ 13862 h 1971881"/>
              <a:gd name="connsiteX1" fmla="*/ 23867 w 1317946"/>
              <a:gd name="connsiteY1" fmla="*/ 689374 h 1971881"/>
              <a:gd name="connsiteX2" fmla="*/ 47235 w 1317946"/>
              <a:gd name="connsiteY2" fmla="*/ 1342782 h 1971881"/>
              <a:gd name="connsiteX3" fmla="*/ 335182 w 1317946"/>
              <a:gd name="connsiteY3" fmla="*/ 1820946 h 1971881"/>
              <a:gd name="connsiteX4" fmla="*/ 615989 w 1317946"/>
              <a:gd name="connsiteY4" fmla="*/ 1956625 h 1971881"/>
              <a:gd name="connsiteX5" fmla="*/ 932515 w 1317946"/>
              <a:gd name="connsiteY5" fmla="*/ 1918037 h 1971881"/>
              <a:gd name="connsiteX6" fmla="*/ 1282469 w 1317946"/>
              <a:gd name="connsiteY6" fmla="*/ 1506687 h 1971881"/>
              <a:gd name="connsiteX7" fmla="*/ 1257054 w 1317946"/>
              <a:gd name="connsiteY7" fmla="*/ 655461 h 1971881"/>
              <a:gd name="connsiteX8" fmla="*/ 848701 w 1317946"/>
              <a:gd name="connsiteY8" fmla="*/ 56 h 1971881"/>
              <a:gd name="connsiteX9" fmla="*/ 1102209 w 1317946"/>
              <a:gd name="connsiteY9" fmla="*/ 689124 h 1971881"/>
              <a:gd name="connsiteX10" fmla="*/ 1024298 w 1317946"/>
              <a:gd name="connsiteY10" fmla="*/ 1345448 h 1971881"/>
              <a:gd name="connsiteX11" fmla="*/ 882027 w 1317946"/>
              <a:gd name="connsiteY11" fmla="*/ 1637056 h 1971881"/>
              <a:gd name="connsiteX12" fmla="*/ 715334 w 1317946"/>
              <a:gd name="connsiteY12" fmla="*/ 1813123 h 1971881"/>
              <a:gd name="connsiteX13" fmla="*/ 706003 w 1317946"/>
              <a:gd name="connsiteY13" fmla="*/ 1645172 h 1971881"/>
              <a:gd name="connsiteX14" fmla="*/ 808640 w 1317946"/>
              <a:gd name="connsiteY14" fmla="*/ 1411906 h 1971881"/>
              <a:gd name="connsiteX15" fmla="*/ 780648 w 1317946"/>
              <a:gd name="connsiteY15" fmla="*/ 1197302 h 1971881"/>
              <a:gd name="connsiteX16" fmla="*/ 668681 w 1317946"/>
              <a:gd name="connsiteY16" fmla="*/ 786755 h 1971881"/>
              <a:gd name="connsiteX17" fmla="*/ 519391 w 1317946"/>
              <a:gd name="connsiteY17" fmla="*/ 1159980 h 1971881"/>
              <a:gd name="connsiteX18" fmla="*/ 510060 w 1317946"/>
              <a:gd name="connsiteY18" fmla="*/ 1495882 h 1971881"/>
              <a:gd name="connsiteX19" fmla="*/ 603366 w 1317946"/>
              <a:gd name="connsiteY19" fmla="*/ 1673164 h 1971881"/>
              <a:gd name="connsiteX20" fmla="*/ 622027 w 1317946"/>
              <a:gd name="connsiteY20" fmla="*/ 1803792 h 1971881"/>
              <a:gd name="connsiteX21" fmla="*/ 303844 w 1317946"/>
              <a:gd name="connsiteY21" fmla="*/ 1607683 h 1971881"/>
              <a:gd name="connsiteX22" fmla="*/ 131022 w 1317946"/>
              <a:gd name="connsiteY22" fmla="*/ 1267790 h 1971881"/>
              <a:gd name="connsiteX23" fmla="*/ 97670 w 1317946"/>
              <a:gd name="connsiteY23" fmla="*/ 779261 h 1971881"/>
              <a:gd name="connsiteX24" fmla="*/ 235973 w 1317946"/>
              <a:gd name="connsiteY24" fmla="*/ 325774 h 1971881"/>
              <a:gd name="connsiteX25" fmla="*/ 377683 w 1317946"/>
              <a:gd name="connsiteY25" fmla="*/ 13862 h 1971881"/>
              <a:gd name="connsiteX0" fmla="*/ 377683 w 1317946"/>
              <a:gd name="connsiteY0" fmla="*/ 13862 h 1971881"/>
              <a:gd name="connsiteX1" fmla="*/ 23867 w 1317946"/>
              <a:gd name="connsiteY1" fmla="*/ 689374 h 1971881"/>
              <a:gd name="connsiteX2" fmla="*/ 47235 w 1317946"/>
              <a:gd name="connsiteY2" fmla="*/ 1342782 h 1971881"/>
              <a:gd name="connsiteX3" fmla="*/ 335182 w 1317946"/>
              <a:gd name="connsiteY3" fmla="*/ 1820946 h 1971881"/>
              <a:gd name="connsiteX4" fmla="*/ 615989 w 1317946"/>
              <a:gd name="connsiteY4" fmla="*/ 1956625 h 1971881"/>
              <a:gd name="connsiteX5" fmla="*/ 932515 w 1317946"/>
              <a:gd name="connsiteY5" fmla="*/ 1918037 h 1971881"/>
              <a:gd name="connsiteX6" fmla="*/ 1282469 w 1317946"/>
              <a:gd name="connsiteY6" fmla="*/ 1506687 h 1971881"/>
              <a:gd name="connsiteX7" fmla="*/ 1257054 w 1317946"/>
              <a:gd name="connsiteY7" fmla="*/ 655461 h 1971881"/>
              <a:gd name="connsiteX8" fmla="*/ 848701 w 1317946"/>
              <a:gd name="connsiteY8" fmla="*/ 56 h 1971881"/>
              <a:gd name="connsiteX9" fmla="*/ 1102209 w 1317946"/>
              <a:gd name="connsiteY9" fmla="*/ 689124 h 1971881"/>
              <a:gd name="connsiteX10" fmla="*/ 1182749 w 1317946"/>
              <a:gd name="connsiteY10" fmla="*/ 1395407 h 1971881"/>
              <a:gd name="connsiteX11" fmla="*/ 882027 w 1317946"/>
              <a:gd name="connsiteY11" fmla="*/ 1637056 h 1971881"/>
              <a:gd name="connsiteX12" fmla="*/ 715334 w 1317946"/>
              <a:gd name="connsiteY12" fmla="*/ 1813123 h 1971881"/>
              <a:gd name="connsiteX13" fmla="*/ 706003 w 1317946"/>
              <a:gd name="connsiteY13" fmla="*/ 1645172 h 1971881"/>
              <a:gd name="connsiteX14" fmla="*/ 808640 w 1317946"/>
              <a:gd name="connsiteY14" fmla="*/ 1411906 h 1971881"/>
              <a:gd name="connsiteX15" fmla="*/ 780648 w 1317946"/>
              <a:gd name="connsiteY15" fmla="*/ 1197302 h 1971881"/>
              <a:gd name="connsiteX16" fmla="*/ 668681 w 1317946"/>
              <a:gd name="connsiteY16" fmla="*/ 786755 h 1971881"/>
              <a:gd name="connsiteX17" fmla="*/ 519391 w 1317946"/>
              <a:gd name="connsiteY17" fmla="*/ 1159980 h 1971881"/>
              <a:gd name="connsiteX18" fmla="*/ 510060 w 1317946"/>
              <a:gd name="connsiteY18" fmla="*/ 1495882 h 1971881"/>
              <a:gd name="connsiteX19" fmla="*/ 603366 w 1317946"/>
              <a:gd name="connsiteY19" fmla="*/ 1673164 h 1971881"/>
              <a:gd name="connsiteX20" fmla="*/ 622027 w 1317946"/>
              <a:gd name="connsiteY20" fmla="*/ 1803792 h 1971881"/>
              <a:gd name="connsiteX21" fmla="*/ 303844 w 1317946"/>
              <a:gd name="connsiteY21" fmla="*/ 1607683 h 1971881"/>
              <a:gd name="connsiteX22" fmla="*/ 131022 w 1317946"/>
              <a:gd name="connsiteY22" fmla="*/ 1267790 h 1971881"/>
              <a:gd name="connsiteX23" fmla="*/ 97670 w 1317946"/>
              <a:gd name="connsiteY23" fmla="*/ 779261 h 1971881"/>
              <a:gd name="connsiteX24" fmla="*/ 235973 w 1317946"/>
              <a:gd name="connsiteY24" fmla="*/ 325774 h 1971881"/>
              <a:gd name="connsiteX25" fmla="*/ 377683 w 1317946"/>
              <a:gd name="connsiteY25" fmla="*/ 13862 h 1971881"/>
              <a:gd name="connsiteX0" fmla="*/ 377683 w 1317946"/>
              <a:gd name="connsiteY0" fmla="*/ 13862 h 1971881"/>
              <a:gd name="connsiteX1" fmla="*/ 23867 w 1317946"/>
              <a:gd name="connsiteY1" fmla="*/ 689374 h 1971881"/>
              <a:gd name="connsiteX2" fmla="*/ 47235 w 1317946"/>
              <a:gd name="connsiteY2" fmla="*/ 1342782 h 1971881"/>
              <a:gd name="connsiteX3" fmla="*/ 335182 w 1317946"/>
              <a:gd name="connsiteY3" fmla="*/ 1820946 h 1971881"/>
              <a:gd name="connsiteX4" fmla="*/ 615989 w 1317946"/>
              <a:gd name="connsiteY4" fmla="*/ 1956625 h 1971881"/>
              <a:gd name="connsiteX5" fmla="*/ 932515 w 1317946"/>
              <a:gd name="connsiteY5" fmla="*/ 1918037 h 1971881"/>
              <a:gd name="connsiteX6" fmla="*/ 1282469 w 1317946"/>
              <a:gd name="connsiteY6" fmla="*/ 1506687 h 1971881"/>
              <a:gd name="connsiteX7" fmla="*/ 1257054 w 1317946"/>
              <a:gd name="connsiteY7" fmla="*/ 655461 h 1971881"/>
              <a:gd name="connsiteX8" fmla="*/ 848701 w 1317946"/>
              <a:gd name="connsiteY8" fmla="*/ 56 h 1971881"/>
              <a:gd name="connsiteX9" fmla="*/ 1102209 w 1317946"/>
              <a:gd name="connsiteY9" fmla="*/ 689124 h 1971881"/>
              <a:gd name="connsiteX10" fmla="*/ 1182749 w 1317946"/>
              <a:gd name="connsiteY10" fmla="*/ 1395407 h 1971881"/>
              <a:gd name="connsiteX11" fmla="*/ 973530 w 1317946"/>
              <a:gd name="connsiteY11" fmla="*/ 1675381 h 1971881"/>
              <a:gd name="connsiteX12" fmla="*/ 715334 w 1317946"/>
              <a:gd name="connsiteY12" fmla="*/ 1813123 h 1971881"/>
              <a:gd name="connsiteX13" fmla="*/ 706003 w 1317946"/>
              <a:gd name="connsiteY13" fmla="*/ 1645172 h 1971881"/>
              <a:gd name="connsiteX14" fmla="*/ 808640 w 1317946"/>
              <a:gd name="connsiteY14" fmla="*/ 1411906 h 1971881"/>
              <a:gd name="connsiteX15" fmla="*/ 780648 w 1317946"/>
              <a:gd name="connsiteY15" fmla="*/ 1197302 h 1971881"/>
              <a:gd name="connsiteX16" fmla="*/ 668681 w 1317946"/>
              <a:gd name="connsiteY16" fmla="*/ 786755 h 1971881"/>
              <a:gd name="connsiteX17" fmla="*/ 519391 w 1317946"/>
              <a:gd name="connsiteY17" fmla="*/ 1159980 h 1971881"/>
              <a:gd name="connsiteX18" fmla="*/ 510060 w 1317946"/>
              <a:gd name="connsiteY18" fmla="*/ 1495882 h 1971881"/>
              <a:gd name="connsiteX19" fmla="*/ 603366 w 1317946"/>
              <a:gd name="connsiteY19" fmla="*/ 1673164 h 1971881"/>
              <a:gd name="connsiteX20" fmla="*/ 622027 w 1317946"/>
              <a:gd name="connsiteY20" fmla="*/ 1803792 h 1971881"/>
              <a:gd name="connsiteX21" fmla="*/ 303844 w 1317946"/>
              <a:gd name="connsiteY21" fmla="*/ 1607683 h 1971881"/>
              <a:gd name="connsiteX22" fmla="*/ 131022 w 1317946"/>
              <a:gd name="connsiteY22" fmla="*/ 1267790 h 1971881"/>
              <a:gd name="connsiteX23" fmla="*/ 97670 w 1317946"/>
              <a:gd name="connsiteY23" fmla="*/ 779261 h 1971881"/>
              <a:gd name="connsiteX24" fmla="*/ 235973 w 1317946"/>
              <a:gd name="connsiteY24" fmla="*/ 325774 h 1971881"/>
              <a:gd name="connsiteX25" fmla="*/ 377683 w 1317946"/>
              <a:gd name="connsiteY25" fmla="*/ 13862 h 1971881"/>
              <a:gd name="connsiteX0" fmla="*/ 377683 w 1317946"/>
              <a:gd name="connsiteY0" fmla="*/ 13862 h 1971881"/>
              <a:gd name="connsiteX1" fmla="*/ 23867 w 1317946"/>
              <a:gd name="connsiteY1" fmla="*/ 689374 h 1971881"/>
              <a:gd name="connsiteX2" fmla="*/ 47235 w 1317946"/>
              <a:gd name="connsiteY2" fmla="*/ 1342782 h 1971881"/>
              <a:gd name="connsiteX3" fmla="*/ 335182 w 1317946"/>
              <a:gd name="connsiteY3" fmla="*/ 1820946 h 1971881"/>
              <a:gd name="connsiteX4" fmla="*/ 615989 w 1317946"/>
              <a:gd name="connsiteY4" fmla="*/ 1956625 h 1971881"/>
              <a:gd name="connsiteX5" fmla="*/ 932515 w 1317946"/>
              <a:gd name="connsiteY5" fmla="*/ 1918037 h 1971881"/>
              <a:gd name="connsiteX6" fmla="*/ 1282469 w 1317946"/>
              <a:gd name="connsiteY6" fmla="*/ 1506687 h 1971881"/>
              <a:gd name="connsiteX7" fmla="*/ 1257054 w 1317946"/>
              <a:gd name="connsiteY7" fmla="*/ 655461 h 1971881"/>
              <a:gd name="connsiteX8" fmla="*/ 848701 w 1317946"/>
              <a:gd name="connsiteY8" fmla="*/ 56 h 1971881"/>
              <a:gd name="connsiteX9" fmla="*/ 1102209 w 1317946"/>
              <a:gd name="connsiteY9" fmla="*/ 689124 h 1971881"/>
              <a:gd name="connsiteX10" fmla="*/ 1199390 w 1317946"/>
              <a:gd name="connsiteY10" fmla="*/ 1296769 h 1971881"/>
              <a:gd name="connsiteX11" fmla="*/ 973530 w 1317946"/>
              <a:gd name="connsiteY11" fmla="*/ 1675381 h 1971881"/>
              <a:gd name="connsiteX12" fmla="*/ 715334 w 1317946"/>
              <a:gd name="connsiteY12" fmla="*/ 1813123 h 1971881"/>
              <a:gd name="connsiteX13" fmla="*/ 706003 w 1317946"/>
              <a:gd name="connsiteY13" fmla="*/ 1645172 h 1971881"/>
              <a:gd name="connsiteX14" fmla="*/ 808640 w 1317946"/>
              <a:gd name="connsiteY14" fmla="*/ 1411906 h 1971881"/>
              <a:gd name="connsiteX15" fmla="*/ 780648 w 1317946"/>
              <a:gd name="connsiteY15" fmla="*/ 1197302 h 1971881"/>
              <a:gd name="connsiteX16" fmla="*/ 668681 w 1317946"/>
              <a:gd name="connsiteY16" fmla="*/ 786755 h 1971881"/>
              <a:gd name="connsiteX17" fmla="*/ 519391 w 1317946"/>
              <a:gd name="connsiteY17" fmla="*/ 1159980 h 1971881"/>
              <a:gd name="connsiteX18" fmla="*/ 510060 w 1317946"/>
              <a:gd name="connsiteY18" fmla="*/ 1495882 h 1971881"/>
              <a:gd name="connsiteX19" fmla="*/ 603366 w 1317946"/>
              <a:gd name="connsiteY19" fmla="*/ 1673164 h 1971881"/>
              <a:gd name="connsiteX20" fmla="*/ 622027 w 1317946"/>
              <a:gd name="connsiteY20" fmla="*/ 1803792 h 1971881"/>
              <a:gd name="connsiteX21" fmla="*/ 303844 w 1317946"/>
              <a:gd name="connsiteY21" fmla="*/ 1607683 h 1971881"/>
              <a:gd name="connsiteX22" fmla="*/ 131022 w 1317946"/>
              <a:gd name="connsiteY22" fmla="*/ 1267790 h 1971881"/>
              <a:gd name="connsiteX23" fmla="*/ 97670 w 1317946"/>
              <a:gd name="connsiteY23" fmla="*/ 779261 h 1971881"/>
              <a:gd name="connsiteX24" fmla="*/ 235973 w 1317946"/>
              <a:gd name="connsiteY24" fmla="*/ 325774 h 1971881"/>
              <a:gd name="connsiteX25" fmla="*/ 377683 w 1317946"/>
              <a:gd name="connsiteY25" fmla="*/ 13862 h 1971881"/>
              <a:gd name="connsiteX0" fmla="*/ 377683 w 1317946"/>
              <a:gd name="connsiteY0" fmla="*/ 13812 h 1971831"/>
              <a:gd name="connsiteX1" fmla="*/ 23867 w 1317946"/>
              <a:gd name="connsiteY1" fmla="*/ 689324 h 1971831"/>
              <a:gd name="connsiteX2" fmla="*/ 47235 w 1317946"/>
              <a:gd name="connsiteY2" fmla="*/ 1342732 h 1971831"/>
              <a:gd name="connsiteX3" fmla="*/ 335182 w 1317946"/>
              <a:gd name="connsiteY3" fmla="*/ 1820896 h 1971831"/>
              <a:gd name="connsiteX4" fmla="*/ 615989 w 1317946"/>
              <a:gd name="connsiteY4" fmla="*/ 1956575 h 1971831"/>
              <a:gd name="connsiteX5" fmla="*/ 932515 w 1317946"/>
              <a:gd name="connsiteY5" fmla="*/ 1917987 h 1971831"/>
              <a:gd name="connsiteX6" fmla="*/ 1282469 w 1317946"/>
              <a:gd name="connsiteY6" fmla="*/ 1506637 h 1971831"/>
              <a:gd name="connsiteX7" fmla="*/ 1257054 w 1317946"/>
              <a:gd name="connsiteY7" fmla="*/ 655411 h 1971831"/>
              <a:gd name="connsiteX8" fmla="*/ 848701 w 1317946"/>
              <a:gd name="connsiteY8" fmla="*/ 6 h 1971831"/>
              <a:gd name="connsiteX9" fmla="*/ 1121879 w 1317946"/>
              <a:gd name="connsiteY9" fmla="*/ 665987 h 1971831"/>
              <a:gd name="connsiteX10" fmla="*/ 1199390 w 1317946"/>
              <a:gd name="connsiteY10" fmla="*/ 1296719 h 1971831"/>
              <a:gd name="connsiteX11" fmla="*/ 973530 w 1317946"/>
              <a:gd name="connsiteY11" fmla="*/ 1675331 h 1971831"/>
              <a:gd name="connsiteX12" fmla="*/ 715334 w 1317946"/>
              <a:gd name="connsiteY12" fmla="*/ 1813073 h 1971831"/>
              <a:gd name="connsiteX13" fmla="*/ 706003 w 1317946"/>
              <a:gd name="connsiteY13" fmla="*/ 1645122 h 1971831"/>
              <a:gd name="connsiteX14" fmla="*/ 808640 w 1317946"/>
              <a:gd name="connsiteY14" fmla="*/ 1411856 h 1971831"/>
              <a:gd name="connsiteX15" fmla="*/ 780648 w 1317946"/>
              <a:gd name="connsiteY15" fmla="*/ 1197252 h 1971831"/>
              <a:gd name="connsiteX16" fmla="*/ 668681 w 1317946"/>
              <a:gd name="connsiteY16" fmla="*/ 786705 h 1971831"/>
              <a:gd name="connsiteX17" fmla="*/ 519391 w 1317946"/>
              <a:gd name="connsiteY17" fmla="*/ 1159930 h 1971831"/>
              <a:gd name="connsiteX18" fmla="*/ 510060 w 1317946"/>
              <a:gd name="connsiteY18" fmla="*/ 1495832 h 1971831"/>
              <a:gd name="connsiteX19" fmla="*/ 603366 w 1317946"/>
              <a:gd name="connsiteY19" fmla="*/ 1673114 h 1971831"/>
              <a:gd name="connsiteX20" fmla="*/ 622027 w 1317946"/>
              <a:gd name="connsiteY20" fmla="*/ 1803742 h 1971831"/>
              <a:gd name="connsiteX21" fmla="*/ 303844 w 1317946"/>
              <a:gd name="connsiteY21" fmla="*/ 1607633 h 1971831"/>
              <a:gd name="connsiteX22" fmla="*/ 131022 w 1317946"/>
              <a:gd name="connsiteY22" fmla="*/ 1267740 h 1971831"/>
              <a:gd name="connsiteX23" fmla="*/ 97670 w 1317946"/>
              <a:gd name="connsiteY23" fmla="*/ 779211 h 1971831"/>
              <a:gd name="connsiteX24" fmla="*/ 235973 w 1317946"/>
              <a:gd name="connsiteY24" fmla="*/ 325724 h 1971831"/>
              <a:gd name="connsiteX25" fmla="*/ 377683 w 1317946"/>
              <a:gd name="connsiteY25" fmla="*/ 13812 h 1971831"/>
              <a:gd name="connsiteX0" fmla="*/ 377683 w 1312971"/>
              <a:gd name="connsiteY0" fmla="*/ 34138 h 1992157"/>
              <a:gd name="connsiteX1" fmla="*/ 23867 w 1312971"/>
              <a:gd name="connsiteY1" fmla="*/ 709650 h 1992157"/>
              <a:gd name="connsiteX2" fmla="*/ 47235 w 1312971"/>
              <a:gd name="connsiteY2" fmla="*/ 1363058 h 1992157"/>
              <a:gd name="connsiteX3" fmla="*/ 335182 w 1312971"/>
              <a:gd name="connsiteY3" fmla="*/ 1841222 h 1992157"/>
              <a:gd name="connsiteX4" fmla="*/ 615989 w 1312971"/>
              <a:gd name="connsiteY4" fmla="*/ 1976901 h 1992157"/>
              <a:gd name="connsiteX5" fmla="*/ 932515 w 1312971"/>
              <a:gd name="connsiteY5" fmla="*/ 1938313 h 1992157"/>
              <a:gd name="connsiteX6" fmla="*/ 1282469 w 1312971"/>
              <a:gd name="connsiteY6" fmla="*/ 1526963 h 1992157"/>
              <a:gd name="connsiteX7" fmla="*/ 1257054 w 1312971"/>
              <a:gd name="connsiteY7" fmla="*/ 675737 h 1992157"/>
              <a:gd name="connsiteX8" fmla="*/ 947608 w 1312971"/>
              <a:gd name="connsiteY8" fmla="*/ 5 h 1992157"/>
              <a:gd name="connsiteX9" fmla="*/ 1121879 w 1312971"/>
              <a:gd name="connsiteY9" fmla="*/ 686313 h 1992157"/>
              <a:gd name="connsiteX10" fmla="*/ 1199390 w 1312971"/>
              <a:gd name="connsiteY10" fmla="*/ 1317045 h 1992157"/>
              <a:gd name="connsiteX11" fmla="*/ 973530 w 1312971"/>
              <a:gd name="connsiteY11" fmla="*/ 1695657 h 1992157"/>
              <a:gd name="connsiteX12" fmla="*/ 715334 w 1312971"/>
              <a:gd name="connsiteY12" fmla="*/ 1833399 h 1992157"/>
              <a:gd name="connsiteX13" fmla="*/ 706003 w 1312971"/>
              <a:gd name="connsiteY13" fmla="*/ 1665448 h 1992157"/>
              <a:gd name="connsiteX14" fmla="*/ 808640 w 1312971"/>
              <a:gd name="connsiteY14" fmla="*/ 1432182 h 1992157"/>
              <a:gd name="connsiteX15" fmla="*/ 780648 w 1312971"/>
              <a:gd name="connsiteY15" fmla="*/ 1217578 h 1992157"/>
              <a:gd name="connsiteX16" fmla="*/ 668681 w 1312971"/>
              <a:gd name="connsiteY16" fmla="*/ 807031 h 1992157"/>
              <a:gd name="connsiteX17" fmla="*/ 519391 w 1312971"/>
              <a:gd name="connsiteY17" fmla="*/ 1180256 h 1992157"/>
              <a:gd name="connsiteX18" fmla="*/ 510060 w 1312971"/>
              <a:gd name="connsiteY18" fmla="*/ 1516158 h 1992157"/>
              <a:gd name="connsiteX19" fmla="*/ 603366 w 1312971"/>
              <a:gd name="connsiteY19" fmla="*/ 1693440 h 1992157"/>
              <a:gd name="connsiteX20" fmla="*/ 622027 w 1312971"/>
              <a:gd name="connsiteY20" fmla="*/ 1824068 h 1992157"/>
              <a:gd name="connsiteX21" fmla="*/ 303844 w 1312971"/>
              <a:gd name="connsiteY21" fmla="*/ 1627959 h 1992157"/>
              <a:gd name="connsiteX22" fmla="*/ 131022 w 1312971"/>
              <a:gd name="connsiteY22" fmla="*/ 1288066 h 1992157"/>
              <a:gd name="connsiteX23" fmla="*/ 97670 w 1312971"/>
              <a:gd name="connsiteY23" fmla="*/ 799537 h 1992157"/>
              <a:gd name="connsiteX24" fmla="*/ 235973 w 1312971"/>
              <a:gd name="connsiteY24" fmla="*/ 346050 h 1992157"/>
              <a:gd name="connsiteX25" fmla="*/ 377683 w 1312971"/>
              <a:gd name="connsiteY25" fmla="*/ 34138 h 1992157"/>
              <a:gd name="connsiteX0" fmla="*/ 377683 w 1400946"/>
              <a:gd name="connsiteY0" fmla="*/ 34178 h 1992197"/>
              <a:gd name="connsiteX1" fmla="*/ 23867 w 1400946"/>
              <a:gd name="connsiteY1" fmla="*/ 709690 h 1992197"/>
              <a:gd name="connsiteX2" fmla="*/ 47235 w 1400946"/>
              <a:gd name="connsiteY2" fmla="*/ 1363098 h 1992197"/>
              <a:gd name="connsiteX3" fmla="*/ 335182 w 1400946"/>
              <a:gd name="connsiteY3" fmla="*/ 1841262 h 1992197"/>
              <a:gd name="connsiteX4" fmla="*/ 615989 w 1400946"/>
              <a:gd name="connsiteY4" fmla="*/ 1976941 h 1992197"/>
              <a:gd name="connsiteX5" fmla="*/ 932515 w 1400946"/>
              <a:gd name="connsiteY5" fmla="*/ 1938353 h 1992197"/>
              <a:gd name="connsiteX6" fmla="*/ 1282469 w 1400946"/>
              <a:gd name="connsiteY6" fmla="*/ 1527003 h 1992197"/>
              <a:gd name="connsiteX7" fmla="*/ 1382374 w 1400946"/>
              <a:gd name="connsiteY7" fmla="*/ 656369 h 1992197"/>
              <a:gd name="connsiteX8" fmla="*/ 947608 w 1400946"/>
              <a:gd name="connsiteY8" fmla="*/ 45 h 1992197"/>
              <a:gd name="connsiteX9" fmla="*/ 1121879 w 1400946"/>
              <a:gd name="connsiteY9" fmla="*/ 686353 h 1992197"/>
              <a:gd name="connsiteX10" fmla="*/ 1199390 w 1400946"/>
              <a:gd name="connsiteY10" fmla="*/ 1317085 h 1992197"/>
              <a:gd name="connsiteX11" fmla="*/ 973530 w 1400946"/>
              <a:gd name="connsiteY11" fmla="*/ 1695697 h 1992197"/>
              <a:gd name="connsiteX12" fmla="*/ 715334 w 1400946"/>
              <a:gd name="connsiteY12" fmla="*/ 1833439 h 1992197"/>
              <a:gd name="connsiteX13" fmla="*/ 706003 w 1400946"/>
              <a:gd name="connsiteY13" fmla="*/ 1665488 h 1992197"/>
              <a:gd name="connsiteX14" fmla="*/ 808640 w 1400946"/>
              <a:gd name="connsiteY14" fmla="*/ 1432222 h 1992197"/>
              <a:gd name="connsiteX15" fmla="*/ 780648 w 1400946"/>
              <a:gd name="connsiteY15" fmla="*/ 1217618 h 1992197"/>
              <a:gd name="connsiteX16" fmla="*/ 668681 w 1400946"/>
              <a:gd name="connsiteY16" fmla="*/ 807071 h 1992197"/>
              <a:gd name="connsiteX17" fmla="*/ 519391 w 1400946"/>
              <a:gd name="connsiteY17" fmla="*/ 1180296 h 1992197"/>
              <a:gd name="connsiteX18" fmla="*/ 510060 w 1400946"/>
              <a:gd name="connsiteY18" fmla="*/ 1516198 h 1992197"/>
              <a:gd name="connsiteX19" fmla="*/ 603366 w 1400946"/>
              <a:gd name="connsiteY19" fmla="*/ 1693480 h 1992197"/>
              <a:gd name="connsiteX20" fmla="*/ 622027 w 1400946"/>
              <a:gd name="connsiteY20" fmla="*/ 1824108 h 1992197"/>
              <a:gd name="connsiteX21" fmla="*/ 303844 w 1400946"/>
              <a:gd name="connsiteY21" fmla="*/ 1627999 h 1992197"/>
              <a:gd name="connsiteX22" fmla="*/ 131022 w 1400946"/>
              <a:gd name="connsiteY22" fmla="*/ 1288106 h 1992197"/>
              <a:gd name="connsiteX23" fmla="*/ 97670 w 1400946"/>
              <a:gd name="connsiteY23" fmla="*/ 799577 h 1992197"/>
              <a:gd name="connsiteX24" fmla="*/ 235973 w 1400946"/>
              <a:gd name="connsiteY24" fmla="*/ 346090 h 1992197"/>
              <a:gd name="connsiteX25" fmla="*/ 377683 w 1400946"/>
              <a:gd name="connsiteY25" fmla="*/ 34178 h 1992197"/>
              <a:gd name="connsiteX0" fmla="*/ 377683 w 1400946"/>
              <a:gd name="connsiteY0" fmla="*/ 34145 h 1992164"/>
              <a:gd name="connsiteX1" fmla="*/ 23867 w 1400946"/>
              <a:gd name="connsiteY1" fmla="*/ 709657 h 1992164"/>
              <a:gd name="connsiteX2" fmla="*/ 47235 w 1400946"/>
              <a:gd name="connsiteY2" fmla="*/ 1363065 h 1992164"/>
              <a:gd name="connsiteX3" fmla="*/ 335182 w 1400946"/>
              <a:gd name="connsiteY3" fmla="*/ 1841229 h 1992164"/>
              <a:gd name="connsiteX4" fmla="*/ 615989 w 1400946"/>
              <a:gd name="connsiteY4" fmla="*/ 1976908 h 1992164"/>
              <a:gd name="connsiteX5" fmla="*/ 932515 w 1400946"/>
              <a:gd name="connsiteY5" fmla="*/ 1938320 h 1992164"/>
              <a:gd name="connsiteX6" fmla="*/ 1282469 w 1400946"/>
              <a:gd name="connsiteY6" fmla="*/ 1526970 h 1992164"/>
              <a:gd name="connsiteX7" fmla="*/ 1382374 w 1400946"/>
              <a:gd name="connsiteY7" fmla="*/ 656336 h 1992164"/>
              <a:gd name="connsiteX8" fmla="*/ 947608 w 1400946"/>
              <a:gd name="connsiteY8" fmla="*/ 12 h 1992164"/>
              <a:gd name="connsiteX9" fmla="*/ 1287122 w 1400946"/>
              <a:gd name="connsiteY9" fmla="*/ 671404 h 1992164"/>
              <a:gd name="connsiteX10" fmla="*/ 1199390 w 1400946"/>
              <a:gd name="connsiteY10" fmla="*/ 1317052 h 1992164"/>
              <a:gd name="connsiteX11" fmla="*/ 973530 w 1400946"/>
              <a:gd name="connsiteY11" fmla="*/ 1695664 h 1992164"/>
              <a:gd name="connsiteX12" fmla="*/ 715334 w 1400946"/>
              <a:gd name="connsiteY12" fmla="*/ 1833406 h 1992164"/>
              <a:gd name="connsiteX13" fmla="*/ 706003 w 1400946"/>
              <a:gd name="connsiteY13" fmla="*/ 1665455 h 1992164"/>
              <a:gd name="connsiteX14" fmla="*/ 808640 w 1400946"/>
              <a:gd name="connsiteY14" fmla="*/ 1432189 h 1992164"/>
              <a:gd name="connsiteX15" fmla="*/ 780648 w 1400946"/>
              <a:gd name="connsiteY15" fmla="*/ 1217585 h 1992164"/>
              <a:gd name="connsiteX16" fmla="*/ 668681 w 1400946"/>
              <a:gd name="connsiteY16" fmla="*/ 807038 h 1992164"/>
              <a:gd name="connsiteX17" fmla="*/ 519391 w 1400946"/>
              <a:gd name="connsiteY17" fmla="*/ 1180263 h 1992164"/>
              <a:gd name="connsiteX18" fmla="*/ 510060 w 1400946"/>
              <a:gd name="connsiteY18" fmla="*/ 1516165 h 1992164"/>
              <a:gd name="connsiteX19" fmla="*/ 603366 w 1400946"/>
              <a:gd name="connsiteY19" fmla="*/ 1693447 h 1992164"/>
              <a:gd name="connsiteX20" fmla="*/ 622027 w 1400946"/>
              <a:gd name="connsiteY20" fmla="*/ 1824075 h 1992164"/>
              <a:gd name="connsiteX21" fmla="*/ 303844 w 1400946"/>
              <a:gd name="connsiteY21" fmla="*/ 1627966 h 1992164"/>
              <a:gd name="connsiteX22" fmla="*/ 131022 w 1400946"/>
              <a:gd name="connsiteY22" fmla="*/ 1288073 h 1992164"/>
              <a:gd name="connsiteX23" fmla="*/ 97670 w 1400946"/>
              <a:gd name="connsiteY23" fmla="*/ 799544 h 1992164"/>
              <a:gd name="connsiteX24" fmla="*/ 235973 w 1400946"/>
              <a:gd name="connsiteY24" fmla="*/ 346057 h 1992164"/>
              <a:gd name="connsiteX25" fmla="*/ 377683 w 1400946"/>
              <a:gd name="connsiteY25" fmla="*/ 34145 h 1992164"/>
              <a:gd name="connsiteX0" fmla="*/ 377683 w 1400946"/>
              <a:gd name="connsiteY0" fmla="*/ 42824 h 2000843"/>
              <a:gd name="connsiteX1" fmla="*/ 23867 w 1400946"/>
              <a:gd name="connsiteY1" fmla="*/ 718336 h 2000843"/>
              <a:gd name="connsiteX2" fmla="*/ 47235 w 1400946"/>
              <a:gd name="connsiteY2" fmla="*/ 1371744 h 2000843"/>
              <a:gd name="connsiteX3" fmla="*/ 335182 w 1400946"/>
              <a:gd name="connsiteY3" fmla="*/ 1849908 h 2000843"/>
              <a:gd name="connsiteX4" fmla="*/ 615989 w 1400946"/>
              <a:gd name="connsiteY4" fmla="*/ 1985587 h 2000843"/>
              <a:gd name="connsiteX5" fmla="*/ 932515 w 1400946"/>
              <a:gd name="connsiteY5" fmla="*/ 1946999 h 2000843"/>
              <a:gd name="connsiteX6" fmla="*/ 1282469 w 1400946"/>
              <a:gd name="connsiteY6" fmla="*/ 1535649 h 2000843"/>
              <a:gd name="connsiteX7" fmla="*/ 1382374 w 1400946"/>
              <a:gd name="connsiteY7" fmla="*/ 665015 h 2000843"/>
              <a:gd name="connsiteX8" fmla="*/ 947608 w 1400946"/>
              <a:gd name="connsiteY8" fmla="*/ 8691 h 2000843"/>
              <a:gd name="connsiteX9" fmla="*/ 1113773 w 1400946"/>
              <a:gd name="connsiteY9" fmla="*/ 313989 h 2000843"/>
              <a:gd name="connsiteX10" fmla="*/ 1287122 w 1400946"/>
              <a:gd name="connsiteY10" fmla="*/ 680083 h 2000843"/>
              <a:gd name="connsiteX11" fmla="*/ 1199390 w 1400946"/>
              <a:gd name="connsiteY11" fmla="*/ 1325731 h 2000843"/>
              <a:gd name="connsiteX12" fmla="*/ 973530 w 1400946"/>
              <a:gd name="connsiteY12" fmla="*/ 1704343 h 2000843"/>
              <a:gd name="connsiteX13" fmla="*/ 715334 w 1400946"/>
              <a:gd name="connsiteY13" fmla="*/ 1842085 h 2000843"/>
              <a:gd name="connsiteX14" fmla="*/ 706003 w 1400946"/>
              <a:gd name="connsiteY14" fmla="*/ 1674134 h 2000843"/>
              <a:gd name="connsiteX15" fmla="*/ 808640 w 1400946"/>
              <a:gd name="connsiteY15" fmla="*/ 1440868 h 2000843"/>
              <a:gd name="connsiteX16" fmla="*/ 780648 w 1400946"/>
              <a:gd name="connsiteY16" fmla="*/ 1226264 h 2000843"/>
              <a:gd name="connsiteX17" fmla="*/ 668681 w 1400946"/>
              <a:gd name="connsiteY17" fmla="*/ 815717 h 2000843"/>
              <a:gd name="connsiteX18" fmla="*/ 519391 w 1400946"/>
              <a:gd name="connsiteY18" fmla="*/ 1188942 h 2000843"/>
              <a:gd name="connsiteX19" fmla="*/ 510060 w 1400946"/>
              <a:gd name="connsiteY19" fmla="*/ 1524844 h 2000843"/>
              <a:gd name="connsiteX20" fmla="*/ 603366 w 1400946"/>
              <a:gd name="connsiteY20" fmla="*/ 1702126 h 2000843"/>
              <a:gd name="connsiteX21" fmla="*/ 622027 w 1400946"/>
              <a:gd name="connsiteY21" fmla="*/ 1832754 h 2000843"/>
              <a:gd name="connsiteX22" fmla="*/ 303844 w 1400946"/>
              <a:gd name="connsiteY22" fmla="*/ 1636645 h 2000843"/>
              <a:gd name="connsiteX23" fmla="*/ 131022 w 1400946"/>
              <a:gd name="connsiteY23" fmla="*/ 1296752 h 2000843"/>
              <a:gd name="connsiteX24" fmla="*/ 97670 w 1400946"/>
              <a:gd name="connsiteY24" fmla="*/ 808223 h 2000843"/>
              <a:gd name="connsiteX25" fmla="*/ 235973 w 1400946"/>
              <a:gd name="connsiteY25" fmla="*/ 354736 h 2000843"/>
              <a:gd name="connsiteX26" fmla="*/ 377683 w 1400946"/>
              <a:gd name="connsiteY26" fmla="*/ 42824 h 2000843"/>
              <a:gd name="connsiteX0" fmla="*/ 377683 w 1400946"/>
              <a:gd name="connsiteY0" fmla="*/ 35486 h 1993505"/>
              <a:gd name="connsiteX1" fmla="*/ 23867 w 1400946"/>
              <a:gd name="connsiteY1" fmla="*/ 710998 h 1993505"/>
              <a:gd name="connsiteX2" fmla="*/ 47235 w 1400946"/>
              <a:gd name="connsiteY2" fmla="*/ 1364406 h 1993505"/>
              <a:gd name="connsiteX3" fmla="*/ 335182 w 1400946"/>
              <a:gd name="connsiteY3" fmla="*/ 1842570 h 1993505"/>
              <a:gd name="connsiteX4" fmla="*/ 615989 w 1400946"/>
              <a:gd name="connsiteY4" fmla="*/ 1978249 h 1993505"/>
              <a:gd name="connsiteX5" fmla="*/ 932515 w 1400946"/>
              <a:gd name="connsiteY5" fmla="*/ 1939661 h 1993505"/>
              <a:gd name="connsiteX6" fmla="*/ 1282469 w 1400946"/>
              <a:gd name="connsiteY6" fmla="*/ 1528311 h 1993505"/>
              <a:gd name="connsiteX7" fmla="*/ 1382374 w 1400946"/>
              <a:gd name="connsiteY7" fmla="*/ 657677 h 1993505"/>
              <a:gd name="connsiteX8" fmla="*/ 947608 w 1400946"/>
              <a:gd name="connsiteY8" fmla="*/ 1353 h 1993505"/>
              <a:gd name="connsiteX9" fmla="*/ 1113773 w 1400946"/>
              <a:gd name="connsiteY9" fmla="*/ 306651 h 1993505"/>
              <a:gd name="connsiteX10" fmla="*/ 1287122 w 1400946"/>
              <a:gd name="connsiteY10" fmla="*/ 672745 h 1993505"/>
              <a:gd name="connsiteX11" fmla="*/ 1199390 w 1400946"/>
              <a:gd name="connsiteY11" fmla="*/ 1318393 h 1993505"/>
              <a:gd name="connsiteX12" fmla="*/ 973530 w 1400946"/>
              <a:gd name="connsiteY12" fmla="*/ 1697005 h 1993505"/>
              <a:gd name="connsiteX13" fmla="*/ 715334 w 1400946"/>
              <a:gd name="connsiteY13" fmla="*/ 1834747 h 1993505"/>
              <a:gd name="connsiteX14" fmla="*/ 706003 w 1400946"/>
              <a:gd name="connsiteY14" fmla="*/ 1666796 h 1993505"/>
              <a:gd name="connsiteX15" fmla="*/ 808640 w 1400946"/>
              <a:gd name="connsiteY15" fmla="*/ 1433530 h 1993505"/>
              <a:gd name="connsiteX16" fmla="*/ 780648 w 1400946"/>
              <a:gd name="connsiteY16" fmla="*/ 1218926 h 1993505"/>
              <a:gd name="connsiteX17" fmla="*/ 668681 w 1400946"/>
              <a:gd name="connsiteY17" fmla="*/ 808379 h 1993505"/>
              <a:gd name="connsiteX18" fmla="*/ 519391 w 1400946"/>
              <a:gd name="connsiteY18" fmla="*/ 1181604 h 1993505"/>
              <a:gd name="connsiteX19" fmla="*/ 510060 w 1400946"/>
              <a:gd name="connsiteY19" fmla="*/ 1517506 h 1993505"/>
              <a:gd name="connsiteX20" fmla="*/ 603366 w 1400946"/>
              <a:gd name="connsiteY20" fmla="*/ 1694788 h 1993505"/>
              <a:gd name="connsiteX21" fmla="*/ 622027 w 1400946"/>
              <a:gd name="connsiteY21" fmla="*/ 1825416 h 1993505"/>
              <a:gd name="connsiteX22" fmla="*/ 303844 w 1400946"/>
              <a:gd name="connsiteY22" fmla="*/ 1629307 h 1993505"/>
              <a:gd name="connsiteX23" fmla="*/ 131022 w 1400946"/>
              <a:gd name="connsiteY23" fmla="*/ 1289414 h 1993505"/>
              <a:gd name="connsiteX24" fmla="*/ 97670 w 1400946"/>
              <a:gd name="connsiteY24" fmla="*/ 800885 h 1993505"/>
              <a:gd name="connsiteX25" fmla="*/ 235973 w 1400946"/>
              <a:gd name="connsiteY25" fmla="*/ 347398 h 1993505"/>
              <a:gd name="connsiteX26" fmla="*/ 377683 w 1400946"/>
              <a:gd name="connsiteY26" fmla="*/ 35486 h 1993505"/>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7122 w 1400946"/>
              <a:gd name="connsiteY10" fmla="*/ 674614 h 1995374"/>
              <a:gd name="connsiteX11" fmla="*/ 1199390 w 1400946"/>
              <a:gd name="connsiteY11" fmla="*/ 1320262 h 1995374"/>
              <a:gd name="connsiteX12" fmla="*/ 973530 w 1400946"/>
              <a:gd name="connsiteY12" fmla="*/ 1698874 h 1995374"/>
              <a:gd name="connsiteX13" fmla="*/ 715334 w 1400946"/>
              <a:gd name="connsiteY13" fmla="*/ 1836616 h 1995374"/>
              <a:gd name="connsiteX14" fmla="*/ 706003 w 1400946"/>
              <a:gd name="connsiteY14" fmla="*/ 1668665 h 1995374"/>
              <a:gd name="connsiteX15" fmla="*/ 808640 w 1400946"/>
              <a:gd name="connsiteY15" fmla="*/ 1435399 h 1995374"/>
              <a:gd name="connsiteX16" fmla="*/ 780648 w 1400946"/>
              <a:gd name="connsiteY16" fmla="*/ 1220795 h 1995374"/>
              <a:gd name="connsiteX17" fmla="*/ 668681 w 1400946"/>
              <a:gd name="connsiteY17" fmla="*/ 810248 h 1995374"/>
              <a:gd name="connsiteX18" fmla="*/ 519391 w 1400946"/>
              <a:gd name="connsiteY18" fmla="*/ 1183473 h 1995374"/>
              <a:gd name="connsiteX19" fmla="*/ 510060 w 1400946"/>
              <a:gd name="connsiteY19" fmla="*/ 1519375 h 1995374"/>
              <a:gd name="connsiteX20" fmla="*/ 603366 w 1400946"/>
              <a:gd name="connsiteY20" fmla="*/ 169665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715334 w 1400946"/>
              <a:gd name="connsiteY13" fmla="*/ 1836616 h 1995374"/>
              <a:gd name="connsiteX14" fmla="*/ 706003 w 1400946"/>
              <a:gd name="connsiteY14" fmla="*/ 1668665 h 1995374"/>
              <a:gd name="connsiteX15" fmla="*/ 808640 w 1400946"/>
              <a:gd name="connsiteY15" fmla="*/ 1435399 h 1995374"/>
              <a:gd name="connsiteX16" fmla="*/ 780648 w 1400946"/>
              <a:gd name="connsiteY16" fmla="*/ 1220795 h 1995374"/>
              <a:gd name="connsiteX17" fmla="*/ 668681 w 1400946"/>
              <a:gd name="connsiteY17" fmla="*/ 810248 h 1995374"/>
              <a:gd name="connsiteX18" fmla="*/ 519391 w 1400946"/>
              <a:gd name="connsiteY18" fmla="*/ 1183473 h 1995374"/>
              <a:gd name="connsiteX19" fmla="*/ 510060 w 1400946"/>
              <a:gd name="connsiteY19" fmla="*/ 1519375 h 1995374"/>
              <a:gd name="connsiteX20" fmla="*/ 603366 w 1400946"/>
              <a:gd name="connsiteY20" fmla="*/ 169665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06003 w 1400946"/>
              <a:gd name="connsiteY14" fmla="*/ 1668665 h 1995374"/>
              <a:gd name="connsiteX15" fmla="*/ 808640 w 1400946"/>
              <a:gd name="connsiteY15" fmla="*/ 1435399 h 1995374"/>
              <a:gd name="connsiteX16" fmla="*/ 780648 w 1400946"/>
              <a:gd name="connsiteY16" fmla="*/ 1220795 h 1995374"/>
              <a:gd name="connsiteX17" fmla="*/ 668681 w 1400946"/>
              <a:gd name="connsiteY17" fmla="*/ 810248 h 1995374"/>
              <a:gd name="connsiteX18" fmla="*/ 519391 w 1400946"/>
              <a:gd name="connsiteY18" fmla="*/ 1183473 h 1995374"/>
              <a:gd name="connsiteX19" fmla="*/ 510060 w 1400946"/>
              <a:gd name="connsiteY19" fmla="*/ 1519375 h 1995374"/>
              <a:gd name="connsiteX20" fmla="*/ 603366 w 1400946"/>
              <a:gd name="connsiteY20" fmla="*/ 169665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808640 w 1400946"/>
              <a:gd name="connsiteY15" fmla="*/ 1435399 h 1995374"/>
              <a:gd name="connsiteX16" fmla="*/ 780648 w 1400946"/>
              <a:gd name="connsiteY16" fmla="*/ 1220795 h 1995374"/>
              <a:gd name="connsiteX17" fmla="*/ 668681 w 1400946"/>
              <a:gd name="connsiteY17" fmla="*/ 810248 h 1995374"/>
              <a:gd name="connsiteX18" fmla="*/ 519391 w 1400946"/>
              <a:gd name="connsiteY18" fmla="*/ 1183473 h 1995374"/>
              <a:gd name="connsiteX19" fmla="*/ 510060 w 1400946"/>
              <a:gd name="connsiteY19" fmla="*/ 1519375 h 1995374"/>
              <a:gd name="connsiteX20" fmla="*/ 603366 w 1400946"/>
              <a:gd name="connsiteY20" fmla="*/ 169665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808640 w 1400946"/>
              <a:gd name="connsiteY15" fmla="*/ 1435399 h 1995374"/>
              <a:gd name="connsiteX16" fmla="*/ 780648 w 1400946"/>
              <a:gd name="connsiteY16" fmla="*/ 1220795 h 1995374"/>
              <a:gd name="connsiteX17" fmla="*/ 680047 w 1400946"/>
              <a:gd name="connsiteY17" fmla="*/ 255644 h 1995374"/>
              <a:gd name="connsiteX18" fmla="*/ 519391 w 1400946"/>
              <a:gd name="connsiteY18" fmla="*/ 1183473 h 1995374"/>
              <a:gd name="connsiteX19" fmla="*/ 510060 w 1400946"/>
              <a:gd name="connsiteY19" fmla="*/ 1519375 h 1995374"/>
              <a:gd name="connsiteX20" fmla="*/ 603366 w 1400946"/>
              <a:gd name="connsiteY20" fmla="*/ 169665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808640 w 1400946"/>
              <a:gd name="connsiteY15" fmla="*/ 1435399 h 1995374"/>
              <a:gd name="connsiteX16" fmla="*/ 887109 w 1400946"/>
              <a:gd name="connsiteY16" fmla="*/ 875173 h 1995374"/>
              <a:gd name="connsiteX17" fmla="*/ 680047 w 1400946"/>
              <a:gd name="connsiteY17" fmla="*/ 255644 h 1995374"/>
              <a:gd name="connsiteX18" fmla="*/ 519391 w 1400946"/>
              <a:gd name="connsiteY18" fmla="*/ 1183473 h 1995374"/>
              <a:gd name="connsiteX19" fmla="*/ 510060 w 1400946"/>
              <a:gd name="connsiteY19" fmla="*/ 1519375 h 1995374"/>
              <a:gd name="connsiteX20" fmla="*/ 603366 w 1400946"/>
              <a:gd name="connsiteY20" fmla="*/ 169665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519391 w 1400946"/>
              <a:gd name="connsiteY18" fmla="*/ 1183473 h 1995374"/>
              <a:gd name="connsiteX19" fmla="*/ 510060 w 1400946"/>
              <a:gd name="connsiteY19" fmla="*/ 1519375 h 1995374"/>
              <a:gd name="connsiteX20" fmla="*/ 603366 w 1400946"/>
              <a:gd name="connsiteY20" fmla="*/ 169665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510060 w 1400946"/>
              <a:gd name="connsiteY19" fmla="*/ 1519375 h 1995374"/>
              <a:gd name="connsiteX20" fmla="*/ 603366 w 1400946"/>
              <a:gd name="connsiteY20" fmla="*/ 169665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75196 w 1400946"/>
              <a:gd name="connsiteY19" fmla="*/ 1253581 h 1995374"/>
              <a:gd name="connsiteX20" fmla="*/ 603366 w 1400946"/>
              <a:gd name="connsiteY20" fmla="*/ 169665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75196 w 1400946"/>
              <a:gd name="connsiteY19" fmla="*/ 1253581 h 1995374"/>
              <a:gd name="connsiteX20" fmla="*/ 624917 w 1400946"/>
              <a:gd name="connsiteY20" fmla="*/ 160335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75196 w 1400946"/>
              <a:gd name="connsiteY19" fmla="*/ 1253581 h 1995374"/>
              <a:gd name="connsiteX20" fmla="*/ 624917 w 1400946"/>
              <a:gd name="connsiteY20" fmla="*/ 160335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75196 w 1400946"/>
              <a:gd name="connsiteY19" fmla="*/ 1253581 h 1995374"/>
              <a:gd name="connsiteX20" fmla="*/ 606494 w 1400946"/>
              <a:gd name="connsiteY20" fmla="*/ 159444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75197 w 1400946"/>
              <a:gd name="connsiteY19" fmla="*/ 1253580 h 1995374"/>
              <a:gd name="connsiteX20" fmla="*/ 606494 w 1400946"/>
              <a:gd name="connsiteY20" fmla="*/ 159444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75197 w 1400946"/>
              <a:gd name="connsiteY19" fmla="*/ 1253580 h 1995374"/>
              <a:gd name="connsiteX20" fmla="*/ 606494 w 1400946"/>
              <a:gd name="connsiteY20" fmla="*/ 159444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75197 w 1400946"/>
              <a:gd name="connsiteY19" fmla="*/ 1253580 h 1995374"/>
              <a:gd name="connsiteX20" fmla="*/ 606494 w 1400946"/>
              <a:gd name="connsiteY20" fmla="*/ 159444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75197 w 1400946"/>
              <a:gd name="connsiteY19" fmla="*/ 1253580 h 1995374"/>
              <a:gd name="connsiteX20" fmla="*/ 606494 w 1400946"/>
              <a:gd name="connsiteY20" fmla="*/ 159444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59829 w 1400946"/>
              <a:gd name="connsiteY19" fmla="*/ 1275782 h 1995374"/>
              <a:gd name="connsiteX20" fmla="*/ 606494 w 1400946"/>
              <a:gd name="connsiteY20" fmla="*/ 159444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59829 w 1400946"/>
              <a:gd name="connsiteY19" fmla="*/ 1275782 h 1995374"/>
              <a:gd name="connsiteX20" fmla="*/ 606494 w 1400946"/>
              <a:gd name="connsiteY20" fmla="*/ 159444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223947 w 1400946"/>
              <a:gd name="connsiteY11" fmla="*/ 1346954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59829 w 1400946"/>
              <a:gd name="connsiteY19" fmla="*/ 1275782 h 1995374"/>
              <a:gd name="connsiteX20" fmla="*/ 606494 w 1400946"/>
              <a:gd name="connsiteY20" fmla="*/ 159444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223947 w 1400946"/>
              <a:gd name="connsiteY11" fmla="*/ 1346954 h 1995374"/>
              <a:gd name="connsiteX12" fmla="*/ 997474 w 1400946"/>
              <a:gd name="connsiteY12" fmla="*/ 1719346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59829 w 1400946"/>
              <a:gd name="connsiteY19" fmla="*/ 1275782 h 1995374"/>
              <a:gd name="connsiteX20" fmla="*/ 606494 w 1400946"/>
              <a:gd name="connsiteY20" fmla="*/ 159444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43220 h 2001239"/>
              <a:gd name="connsiteX1" fmla="*/ 23867 w 1400946"/>
              <a:gd name="connsiteY1" fmla="*/ 718732 h 2001239"/>
              <a:gd name="connsiteX2" fmla="*/ 47235 w 1400946"/>
              <a:gd name="connsiteY2" fmla="*/ 1372140 h 2001239"/>
              <a:gd name="connsiteX3" fmla="*/ 335182 w 1400946"/>
              <a:gd name="connsiteY3" fmla="*/ 1850304 h 2001239"/>
              <a:gd name="connsiteX4" fmla="*/ 615989 w 1400946"/>
              <a:gd name="connsiteY4" fmla="*/ 1985983 h 2001239"/>
              <a:gd name="connsiteX5" fmla="*/ 932515 w 1400946"/>
              <a:gd name="connsiteY5" fmla="*/ 1947395 h 2001239"/>
              <a:gd name="connsiteX6" fmla="*/ 1282469 w 1400946"/>
              <a:gd name="connsiteY6" fmla="*/ 1536045 h 2001239"/>
              <a:gd name="connsiteX7" fmla="*/ 1382374 w 1400946"/>
              <a:gd name="connsiteY7" fmla="*/ 665411 h 2001239"/>
              <a:gd name="connsiteX8" fmla="*/ 947608 w 1400946"/>
              <a:gd name="connsiteY8" fmla="*/ 9087 h 2001239"/>
              <a:gd name="connsiteX9" fmla="*/ 1140186 w 1400946"/>
              <a:gd name="connsiteY9" fmla="*/ 308840 h 2001239"/>
              <a:gd name="connsiteX10" fmla="*/ 1288929 w 1400946"/>
              <a:gd name="connsiteY10" fmla="*/ 743586 h 2001239"/>
              <a:gd name="connsiteX11" fmla="*/ 1223947 w 1400946"/>
              <a:gd name="connsiteY11" fmla="*/ 1352819 h 2001239"/>
              <a:gd name="connsiteX12" fmla="*/ 997474 w 1400946"/>
              <a:gd name="connsiteY12" fmla="*/ 1725211 h 2001239"/>
              <a:gd name="connsiteX13" fmla="*/ 809330 w 1400946"/>
              <a:gd name="connsiteY13" fmla="*/ 1816815 h 2001239"/>
              <a:gd name="connsiteX14" fmla="*/ 785265 w 1400946"/>
              <a:gd name="connsiteY14" fmla="*/ 1632849 h 2001239"/>
              <a:gd name="connsiteX15" fmla="*/ 931541 w 1400946"/>
              <a:gd name="connsiteY15" fmla="*/ 1352527 h 2001239"/>
              <a:gd name="connsiteX16" fmla="*/ 887109 w 1400946"/>
              <a:gd name="connsiteY16" fmla="*/ 881038 h 2001239"/>
              <a:gd name="connsiteX17" fmla="*/ 680047 w 1400946"/>
              <a:gd name="connsiteY17" fmla="*/ 261509 h 2001239"/>
              <a:gd name="connsiteX18" fmla="*/ 499920 w 1400946"/>
              <a:gd name="connsiteY18" fmla="*/ 856900 h 2001239"/>
              <a:gd name="connsiteX19" fmla="*/ 459829 w 1400946"/>
              <a:gd name="connsiteY19" fmla="*/ 1281647 h 2001239"/>
              <a:gd name="connsiteX20" fmla="*/ 606494 w 1400946"/>
              <a:gd name="connsiteY20" fmla="*/ 1600312 h 2001239"/>
              <a:gd name="connsiteX21" fmla="*/ 622027 w 1400946"/>
              <a:gd name="connsiteY21" fmla="*/ 1833150 h 2001239"/>
              <a:gd name="connsiteX22" fmla="*/ 303844 w 1400946"/>
              <a:gd name="connsiteY22" fmla="*/ 1637041 h 2001239"/>
              <a:gd name="connsiteX23" fmla="*/ 131022 w 1400946"/>
              <a:gd name="connsiteY23" fmla="*/ 1297148 h 2001239"/>
              <a:gd name="connsiteX24" fmla="*/ 97670 w 1400946"/>
              <a:gd name="connsiteY24" fmla="*/ 808619 h 2001239"/>
              <a:gd name="connsiteX25" fmla="*/ 235973 w 1400946"/>
              <a:gd name="connsiteY25" fmla="*/ 355132 h 2001239"/>
              <a:gd name="connsiteX26" fmla="*/ 377683 w 1400946"/>
              <a:gd name="connsiteY26" fmla="*/ 43220 h 2001239"/>
              <a:gd name="connsiteX0" fmla="*/ 377683 w 1390214"/>
              <a:gd name="connsiteY0" fmla="*/ 43751 h 2001770"/>
              <a:gd name="connsiteX1" fmla="*/ 23867 w 1390214"/>
              <a:gd name="connsiteY1" fmla="*/ 719263 h 2001770"/>
              <a:gd name="connsiteX2" fmla="*/ 47235 w 1390214"/>
              <a:gd name="connsiteY2" fmla="*/ 1372671 h 2001770"/>
              <a:gd name="connsiteX3" fmla="*/ 335182 w 1390214"/>
              <a:gd name="connsiteY3" fmla="*/ 1850835 h 2001770"/>
              <a:gd name="connsiteX4" fmla="*/ 615989 w 1390214"/>
              <a:gd name="connsiteY4" fmla="*/ 1986514 h 2001770"/>
              <a:gd name="connsiteX5" fmla="*/ 932515 w 1390214"/>
              <a:gd name="connsiteY5" fmla="*/ 1947926 h 2001770"/>
              <a:gd name="connsiteX6" fmla="*/ 1282469 w 1390214"/>
              <a:gd name="connsiteY6" fmla="*/ 1536576 h 2001770"/>
              <a:gd name="connsiteX7" fmla="*/ 1370106 w 1390214"/>
              <a:gd name="connsiteY7" fmla="*/ 678474 h 2001770"/>
              <a:gd name="connsiteX8" fmla="*/ 947608 w 1390214"/>
              <a:gd name="connsiteY8" fmla="*/ 9618 h 2001770"/>
              <a:gd name="connsiteX9" fmla="*/ 1140186 w 1390214"/>
              <a:gd name="connsiteY9" fmla="*/ 309371 h 2001770"/>
              <a:gd name="connsiteX10" fmla="*/ 1288929 w 1390214"/>
              <a:gd name="connsiteY10" fmla="*/ 744117 h 2001770"/>
              <a:gd name="connsiteX11" fmla="*/ 1223947 w 1390214"/>
              <a:gd name="connsiteY11" fmla="*/ 1353350 h 2001770"/>
              <a:gd name="connsiteX12" fmla="*/ 997474 w 1390214"/>
              <a:gd name="connsiteY12" fmla="*/ 1725742 h 2001770"/>
              <a:gd name="connsiteX13" fmla="*/ 809330 w 1390214"/>
              <a:gd name="connsiteY13" fmla="*/ 1817346 h 2001770"/>
              <a:gd name="connsiteX14" fmla="*/ 785265 w 1390214"/>
              <a:gd name="connsiteY14" fmla="*/ 1633380 h 2001770"/>
              <a:gd name="connsiteX15" fmla="*/ 931541 w 1390214"/>
              <a:gd name="connsiteY15" fmla="*/ 1353058 h 2001770"/>
              <a:gd name="connsiteX16" fmla="*/ 887109 w 1390214"/>
              <a:gd name="connsiteY16" fmla="*/ 881569 h 2001770"/>
              <a:gd name="connsiteX17" fmla="*/ 680047 w 1390214"/>
              <a:gd name="connsiteY17" fmla="*/ 262040 h 2001770"/>
              <a:gd name="connsiteX18" fmla="*/ 499920 w 1390214"/>
              <a:gd name="connsiteY18" fmla="*/ 857431 h 2001770"/>
              <a:gd name="connsiteX19" fmla="*/ 459829 w 1390214"/>
              <a:gd name="connsiteY19" fmla="*/ 1282178 h 2001770"/>
              <a:gd name="connsiteX20" fmla="*/ 606494 w 1390214"/>
              <a:gd name="connsiteY20" fmla="*/ 1600843 h 2001770"/>
              <a:gd name="connsiteX21" fmla="*/ 622027 w 1390214"/>
              <a:gd name="connsiteY21" fmla="*/ 1833681 h 2001770"/>
              <a:gd name="connsiteX22" fmla="*/ 303844 w 1390214"/>
              <a:gd name="connsiteY22" fmla="*/ 1637572 h 2001770"/>
              <a:gd name="connsiteX23" fmla="*/ 131022 w 1390214"/>
              <a:gd name="connsiteY23" fmla="*/ 1297679 h 2001770"/>
              <a:gd name="connsiteX24" fmla="*/ 97670 w 1390214"/>
              <a:gd name="connsiteY24" fmla="*/ 809150 h 2001770"/>
              <a:gd name="connsiteX25" fmla="*/ 235973 w 1390214"/>
              <a:gd name="connsiteY25" fmla="*/ 355663 h 2001770"/>
              <a:gd name="connsiteX26" fmla="*/ 377683 w 1390214"/>
              <a:gd name="connsiteY26" fmla="*/ 43751 h 2001770"/>
              <a:gd name="connsiteX0" fmla="*/ 377683 w 1387827"/>
              <a:gd name="connsiteY0" fmla="*/ 43751 h 2001770"/>
              <a:gd name="connsiteX1" fmla="*/ 23867 w 1387827"/>
              <a:gd name="connsiteY1" fmla="*/ 719263 h 2001770"/>
              <a:gd name="connsiteX2" fmla="*/ 47235 w 1387827"/>
              <a:gd name="connsiteY2" fmla="*/ 1372671 h 2001770"/>
              <a:gd name="connsiteX3" fmla="*/ 335182 w 1387827"/>
              <a:gd name="connsiteY3" fmla="*/ 1850835 h 2001770"/>
              <a:gd name="connsiteX4" fmla="*/ 615989 w 1387827"/>
              <a:gd name="connsiteY4" fmla="*/ 1986514 h 2001770"/>
              <a:gd name="connsiteX5" fmla="*/ 932515 w 1387827"/>
              <a:gd name="connsiteY5" fmla="*/ 1947926 h 2001770"/>
              <a:gd name="connsiteX6" fmla="*/ 1282469 w 1387827"/>
              <a:gd name="connsiteY6" fmla="*/ 1536576 h 2001770"/>
              <a:gd name="connsiteX7" fmla="*/ 1370106 w 1387827"/>
              <a:gd name="connsiteY7" fmla="*/ 678474 h 2001770"/>
              <a:gd name="connsiteX8" fmla="*/ 947608 w 1387827"/>
              <a:gd name="connsiteY8" fmla="*/ 9618 h 2001770"/>
              <a:gd name="connsiteX9" fmla="*/ 1140186 w 1387827"/>
              <a:gd name="connsiteY9" fmla="*/ 309371 h 2001770"/>
              <a:gd name="connsiteX10" fmla="*/ 1288929 w 1387827"/>
              <a:gd name="connsiteY10" fmla="*/ 744117 h 2001770"/>
              <a:gd name="connsiteX11" fmla="*/ 1223947 w 1387827"/>
              <a:gd name="connsiteY11" fmla="*/ 1353350 h 2001770"/>
              <a:gd name="connsiteX12" fmla="*/ 997474 w 1387827"/>
              <a:gd name="connsiteY12" fmla="*/ 1725742 h 2001770"/>
              <a:gd name="connsiteX13" fmla="*/ 809330 w 1387827"/>
              <a:gd name="connsiteY13" fmla="*/ 1817346 h 2001770"/>
              <a:gd name="connsiteX14" fmla="*/ 785265 w 1387827"/>
              <a:gd name="connsiteY14" fmla="*/ 1633380 h 2001770"/>
              <a:gd name="connsiteX15" fmla="*/ 931541 w 1387827"/>
              <a:gd name="connsiteY15" fmla="*/ 1353058 h 2001770"/>
              <a:gd name="connsiteX16" fmla="*/ 887109 w 1387827"/>
              <a:gd name="connsiteY16" fmla="*/ 881569 h 2001770"/>
              <a:gd name="connsiteX17" fmla="*/ 680047 w 1387827"/>
              <a:gd name="connsiteY17" fmla="*/ 262040 h 2001770"/>
              <a:gd name="connsiteX18" fmla="*/ 499920 w 1387827"/>
              <a:gd name="connsiteY18" fmla="*/ 857431 h 2001770"/>
              <a:gd name="connsiteX19" fmla="*/ 459829 w 1387827"/>
              <a:gd name="connsiteY19" fmla="*/ 1282178 h 2001770"/>
              <a:gd name="connsiteX20" fmla="*/ 606494 w 1387827"/>
              <a:gd name="connsiteY20" fmla="*/ 1600843 h 2001770"/>
              <a:gd name="connsiteX21" fmla="*/ 622027 w 1387827"/>
              <a:gd name="connsiteY21" fmla="*/ 1833681 h 2001770"/>
              <a:gd name="connsiteX22" fmla="*/ 303844 w 1387827"/>
              <a:gd name="connsiteY22" fmla="*/ 1637572 h 2001770"/>
              <a:gd name="connsiteX23" fmla="*/ 131022 w 1387827"/>
              <a:gd name="connsiteY23" fmla="*/ 1297679 h 2001770"/>
              <a:gd name="connsiteX24" fmla="*/ 97670 w 1387827"/>
              <a:gd name="connsiteY24" fmla="*/ 809150 h 2001770"/>
              <a:gd name="connsiteX25" fmla="*/ 235973 w 1387827"/>
              <a:gd name="connsiteY25" fmla="*/ 355663 h 2001770"/>
              <a:gd name="connsiteX26" fmla="*/ 377683 w 1387827"/>
              <a:gd name="connsiteY26" fmla="*/ 43751 h 2001770"/>
              <a:gd name="connsiteX0" fmla="*/ 377683 w 1395021"/>
              <a:gd name="connsiteY0" fmla="*/ 43751 h 2001770"/>
              <a:gd name="connsiteX1" fmla="*/ 23867 w 1395021"/>
              <a:gd name="connsiteY1" fmla="*/ 719263 h 2001770"/>
              <a:gd name="connsiteX2" fmla="*/ 47235 w 1395021"/>
              <a:gd name="connsiteY2" fmla="*/ 1372671 h 2001770"/>
              <a:gd name="connsiteX3" fmla="*/ 335182 w 1395021"/>
              <a:gd name="connsiteY3" fmla="*/ 1850835 h 2001770"/>
              <a:gd name="connsiteX4" fmla="*/ 615989 w 1395021"/>
              <a:gd name="connsiteY4" fmla="*/ 1986514 h 2001770"/>
              <a:gd name="connsiteX5" fmla="*/ 932515 w 1395021"/>
              <a:gd name="connsiteY5" fmla="*/ 1947926 h 2001770"/>
              <a:gd name="connsiteX6" fmla="*/ 1282469 w 1395021"/>
              <a:gd name="connsiteY6" fmla="*/ 1536576 h 2001770"/>
              <a:gd name="connsiteX7" fmla="*/ 1370106 w 1395021"/>
              <a:gd name="connsiteY7" fmla="*/ 678474 h 2001770"/>
              <a:gd name="connsiteX8" fmla="*/ 947608 w 1395021"/>
              <a:gd name="connsiteY8" fmla="*/ 9618 h 2001770"/>
              <a:gd name="connsiteX9" fmla="*/ 1140186 w 1395021"/>
              <a:gd name="connsiteY9" fmla="*/ 309371 h 2001770"/>
              <a:gd name="connsiteX10" fmla="*/ 1288929 w 1395021"/>
              <a:gd name="connsiteY10" fmla="*/ 744117 h 2001770"/>
              <a:gd name="connsiteX11" fmla="*/ 1223947 w 1395021"/>
              <a:gd name="connsiteY11" fmla="*/ 1353350 h 2001770"/>
              <a:gd name="connsiteX12" fmla="*/ 997474 w 1395021"/>
              <a:gd name="connsiteY12" fmla="*/ 1725742 h 2001770"/>
              <a:gd name="connsiteX13" fmla="*/ 809330 w 1395021"/>
              <a:gd name="connsiteY13" fmla="*/ 1817346 h 2001770"/>
              <a:gd name="connsiteX14" fmla="*/ 785265 w 1395021"/>
              <a:gd name="connsiteY14" fmla="*/ 1633380 h 2001770"/>
              <a:gd name="connsiteX15" fmla="*/ 931541 w 1395021"/>
              <a:gd name="connsiteY15" fmla="*/ 1353058 h 2001770"/>
              <a:gd name="connsiteX16" fmla="*/ 887109 w 1395021"/>
              <a:gd name="connsiteY16" fmla="*/ 881569 h 2001770"/>
              <a:gd name="connsiteX17" fmla="*/ 680047 w 1395021"/>
              <a:gd name="connsiteY17" fmla="*/ 262040 h 2001770"/>
              <a:gd name="connsiteX18" fmla="*/ 499920 w 1395021"/>
              <a:gd name="connsiteY18" fmla="*/ 857431 h 2001770"/>
              <a:gd name="connsiteX19" fmla="*/ 459829 w 1395021"/>
              <a:gd name="connsiteY19" fmla="*/ 1282178 h 2001770"/>
              <a:gd name="connsiteX20" fmla="*/ 606494 w 1395021"/>
              <a:gd name="connsiteY20" fmla="*/ 1600843 h 2001770"/>
              <a:gd name="connsiteX21" fmla="*/ 622027 w 1395021"/>
              <a:gd name="connsiteY21" fmla="*/ 1833681 h 2001770"/>
              <a:gd name="connsiteX22" fmla="*/ 303844 w 1395021"/>
              <a:gd name="connsiteY22" fmla="*/ 1637572 h 2001770"/>
              <a:gd name="connsiteX23" fmla="*/ 131022 w 1395021"/>
              <a:gd name="connsiteY23" fmla="*/ 1297679 h 2001770"/>
              <a:gd name="connsiteX24" fmla="*/ 97670 w 1395021"/>
              <a:gd name="connsiteY24" fmla="*/ 809150 h 2001770"/>
              <a:gd name="connsiteX25" fmla="*/ 235973 w 1395021"/>
              <a:gd name="connsiteY25" fmla="*/ 355663 h 2001770"/>
              <a:gd name="connsiteX26" fmla="*/ 377683 w 1395021"/>
              <a:gd name="connsiteY26" fmla="*/ 43751 h 2001770"/>
              <a:gd name="connsiteX0" fmla="*/ 376572 w 1395021"/>
              <a:gd name="connsiteY0" fmla="*/ 109626 h 2001770"/>
              <a:gd name="connsiteX1" fmla="*/ 23867 w 1395021"/>
              <a:gd name="connsiteY1" fmla="*/ 719263 h 2001770"/>
              <a:gd name="connsiteX2" fmla="*/ 47235 w 1395021"/>
              <a:gd name="connsiteY2" fmla="*/ 1372671 h 2001770"/>
              <a:gd name="connsiteX3" fmla="*/ 335182 w 1395021"/>
              <a:gd name="connsiteY3" fmla="*/ 1850835 h 2001770"/>
              <a:gd name="connsiteX4" fmla="*/ 615989 w 1395021"/>
              <a:gd name="connsiteY4" fmla="*/ 1986514 h 2001770"/>
              <a:gd name="connsiteX5" fmla="*/ 932515 w 1395021"/>
              <a:gd name="connsiteY5" fmla="*/ 1947926 h 2001770"/>
              <a:gd name="connsiteX6" fmla="*/ 1282469 w 1395021"/>
              <a:gd name="connsiteY6" fmla="*/ 1536576 h 2001770"/>
              <a:gd name="connsiteX7" fmla="*/ 1370106 w 1395021"/>
              <a:gd name="connsiteY7" fmla="*/ 678474 h 2001770"/>
              <a:gd name="connsiteX8" fmla="*/ 947608 w 1395021"/>
              <a:gd name="connsiteY8" fmla="*/ 9618 h 2001770"/>
              <a:gd name="connsiteX9" fmla="*/ 1140186 w 1395021"/>
              <a:gd name="connsiteY9" fmla="*/ 309371 h 2001770"/>
              <a:gd name="connsiteX10" fmla="*/ 1288929 w 1395021"/>
              <a:gd name="connsiteY10" fmla="*/ 744117 h 2001770"/>
              <a:gd name="connsiteX11" fmla="*/ 1223947 w 1395021"/>
              <a:gd name="connsiteY11" fmla="*/ 1353350 h 2001770"/>
              <a:gd name="connsiteX12" fmla="*/ 997474 w 1395021"/>
              <a:gd name="connsiteY12" fmla="*/ 1725742 h 2001770"/>
              <a:gd name="connsiteX13" fmla="*/ 809330 w 1395021"/>
              <a:gd name="connsiteY13" fmla="*/ 1817346 h 2001770"/>
              <a:gd name="connsiteX14" fmla="*/ 785265 w 1395021"/>
              <a:gd name="connsiteY14" fmla="*/ 1633380 h 2001770"/>
              <a:gd name="connsiteX15" fmla="*/ 931541 w 1395021"/>
              <a:gd name="connsiteY15" fmla="*/ 1353058 h 2001770"/>
              <a:gd name="connsiteX16" fmla="*/ 887109 w 1395021"/>
              <a:gd name="connsiteY16" fmla="*/ 881569 h 2001770"/>
              <a:gd name="connsiteX17" fmla="*/ 680047 w 1395021"/>
              <a:gd name="connsiteY17" fmla="*/ 262040 h 2001770"/>
              <a:gd name="connsiteX18" fmla="*/ 499920 w 1395021"/>
              <a:gd name="connsiteY18" fmla="*/ 857431 h 2001770"/>
              <a:gd name="connsiteX19" fmla="*/ 459829 w 1395021"/>
              <a:gd name="connsiteY19" fmla="*/ 1282178 h 2001770"/>
              <a:gd name="connsiteX20" fmla="*/ 606494 w 1395021"/>
              <a:gd name="connsiteY20" fmla="*/ 1600843 h 2001770"/>
              <a:gd name="connsiteX21" fmla="*/ 622027 w 1395021"/>
              <a:gd name="connsiteY21" fmla="*/ 1833681 h 2001770"/>
              <a:gd name="connsiteX22" fmla="*/ 303844 w 1395021"/>
              <a:gd name="connsiteY22" fmla="*/ 1637572 h 2001770"/>
              <a:gd name="connsiteX23" fmla="*/ 131022 w 1395021"/>
              <a:gd name="connsiteY23" fmla="*/ 1297679 h 2001770"/>
              <a:gd name="connsiteX24" fmla="*/ 97670 w 1395021"/>
              <a:gd name="connsiteY24" fmla="*/ 809150 h 2001770"/>
              <a:gd name="connsiteX25" fmla="*/ 235973 w 1395021"/>
              <a:gd name="connsiteY25" fmla="*/ 355663 h 2001770"/>
              <a:gd name="connsiteX26" fmla="*/ 376572 w 1395021"/>
              <a:gd name="connsiteY26" fmla="*/ 109626 h 2001770"/>
              <a:gd name="connsiteX0" fmla="*/ 376572 w 1386906"/>
              <a:gd name="connsiteY0" fmla="*/ 24463 h 1916607"/>
              <a:gd name="connsiteX1" fmla="*/ 23867 w 1386906"/>
              <a:gd name="connsiteY1" fmla="*/ 634100 h 1916607"/>
              <a:gd name="connsiteX2" fmla="*/ 47235 w 1386906"/>
              <a:gd name="connsiteY2" fmla="*/ 1287508 h 1916607"/>
              <a:gd name="connsiteX3" fmla="*/ 335182 w 1386906"/>
              <a:gd name="connsiteY3" fmla="*/ 1765672 h 1916607"/>
              <a:gd name="connsiteX4" fmla="*/ 615989 w 1386906"/>
              <a:gd name="connsiteY4" fmla="*/ 1901351 h 1916607"/>
              <a:gd name="connsiteX5" fmla="*/ 932515 w 1386906"/>
              <a:gd name="connsiteY5" fmla="*/ 1862763 h 1916607"/>
              <a:gd name="connsiteX6" fmla="*/ 1282469 w 1386906"/>
              <a:gd name="connsiteY6" fmla="*/ 1451413 h 1916607"/>
              <a:gd name="connsiteX7" fmla="*/ 1370106 w 1386906"/>
              <a:gd name="connsiteY7" fmla="*/ 593311 h 1916607"/>
              <a:gd name="connsiteX8" fmla="*/ 994788 w 1386906"/>
              <a:gd name="connsiteY8" fmla="*/ 13365 h 1916607"/>
              <a:gd name="connsiteX9" fmla="*/ 1140186 w 1386906"/>
              <a:gd name="connsiteY9" fmla="*/ 224208 h 1916607"/>
              <a:gd name="connsiteX10" fmla="*/ 1288929 w 1386906"/>
              <a:gd name="connsiteY10" fmla="*/ 658954 h 1916607"/>
              <a:gd name="connsiteX11" fmla="*/ 1223947 w 1386906"/>
              <a:gd name="connsiteY11" fmla="*/ 1268187 h 1916607"/>
              <a:gd name="connsiteX12" fmla="*/ 997474 w 1386906"/>
              <a:gd name="connsiteY12" fmla="*/ 1640579 h 1916607"/>
              <a:gd name="connsiteX13" fmla="*/ 809330 w 1386906"/>
              <a:gd name="connsiteY13" fmla="*/ 1732183 h 1916607"/>
              <a:gd name="connsiteX14" fmla="*/ 785265 w 1386906"/>
              <a:gd name="connsiteY14" fmla="*/ 1548217 h 1916607"/>
              <a:gd name="connsiteX15" fmla="*/ 931541 w 1386906"/>
              <a:gd name="connsiteY15" fmla="*/ 1267895 h 1916607"/>
              <a:gd name="connsiteX16" fmla="*/ 887109 w 1386906"/>
              <a:gd name="connsiteY16" fmla="*/ 796406 h 1916607"/>
              <a:gd name="connsiteX17" fmla="*/ 680047 w 1386906"/>
              <a:gd name="connsiteY17" fmla="*/ 176877 h 1916607"/>
              <a:gd name="connsiteX18" fmla="*/ 499920 w 1386906"/>
              <a:gd name="connsiteY18" fmla="*/ 772268 h 1916607"/>
              <a:gd name="connsiteX19" fmla="*/ 459829 w 1386906"/>
              <a:gd name="connsiteY19" fmla="*/ 1197015 h 1916607"/>
              <a:gd name="connsiteX20" fmla="*/ 606494 w 1386906"/>
              <a:gd name="connsiteY20" fmla="*/ 1515680 h 1916607"/>
              <a:gd name="connsiteX21" fmla="*/ 622027 w 1386906"/>
              <a:gd name="connsiteY21" fmla="*/ 1748518 h 1916607"/>
              <a:gd name="connsiteX22" fmla="*/ 303844 w 1386906"/>
              <a:gd name="connsiteY22" fmla="*/ 1552409 h 1916607"/>
              <a:gd name="connsiteX23" fmla="*/ 131022 w 1386906"/>
              <a:gd name="connsiteY23" fmla="*/ 1212516 h 1916607"/>
              <a:gd name="connsiteX24" fmla="*/ 97670 w 1386906"/>
              <a:gd name="connsiteY24" fmla="*/ 723987 h 1916607"/>
              <a:gd name="connsiteX25" fmla="*/ 235973 w 1386906"/>
              <a:gd name="connsiteY25" fmla="*/ 270500 h 1916607"/>
              <a:gd name="connsiteX26" fmla="*/ 376572 w 1386906"/>
              <a:gd name="connsiteY26" fmla="*/ 24463 h 1916607"/>
              <a:gd name="connsiteX0" fmla="*/ 376572 w 1381992"/>
              <a:gd name="connsiteY0" fmla="*/ 11199 h 1903343"/>
              <a:gd name="connsiteX1" fmla="*/ 23867 w 1381992"/>
              <a:gd name="connsiteY1" fmla="*/ 620836 h 1903343"/>
              <a:gd name="connsiteX2" fmla="*/ 47235 w 1381992"/>
              <a:gd name="connsiteY2" fmla="*/ 1274244 h 1903343"/>
              <a:gd name="connsiteX3" fmla="*/ 335182 w 1381992"/>
              <a:gd name="connsiteY3" fmla="*/ 1752408 h 1903343"/>
              <a:gd name="connsiteX4" fmla="*/ 615989 w 1381992"/>
              <a:gd name="connsiteY4" fmla="*/ 1888087 h 1903343"/>
              <a:gd name="connsiteX5" fmla="*/ 932515 w 1381992"/>
              <a:gd name="connsiteY5" fmla="*/ 1849499 h 1903343"/>
              <a:gd name="connsiteX6" fmla="*/ 1282469 w 1381992"/>
              <a:gd name="connsiteY6" fmla="*/ 1438149 h 1903343"/>
              <a:gd name="connsiteX7" fmla="*/ 1370106 w 1381992"/>
              <a:gd name="connsiteY7" fmla="*/ 580047 h 1903343"/>
              <a:gd name="connsiteX8" fmla="*/ 1066178 w 1381992"/>
              <a:gd name="connsiteY8" fmla="*/ 36305 h 1903343"/>
              <a:gd name="connsiteX9" fmla="*/ 1140186 w 1381992"/>
              <a:gd name="connsiteY9" fmla="*/ 210944 h 1903343"/>
              <a:gd name="connsiteX10" fmla="*/ 1288929 w 1381992"/>
              <a:gd name="connsiteY10" fmla="*/ 645690 h 1903343"/>
              <a:gd name="connsiteX11" fmla="*/ 1223947 w 1381992"/>
              <a:gd name="connsiteY11" fmla="*/ 1254923 h 1903343"/>
              <a:gd name="connsiteX12" fmla="*/ 997474 w 1381992"/>
              <a:gd name="connsiteY12" fmla="*/ 1627315 h 1903343"/>
              <a:gd name="connsiteX13" fmla="*/ 809330 w 1381992"/>
              <a:gd name="connsiteY13" fmla="*/ 1718919 h 1903343"/>
              <a:gd name="connsiteX14" fmla="*/ 785265 w 1381992"/>
              <a:gd name="connsiteY14" fmla="*/ 1534953 h 1903343"/>
              <a:gd name="connsiteX15" fmla="*/ 931541 w 1381992"/>
              <a:gd name="connsiteY15" fmla="*/ 1254631 h 1903343"/>
              <a:gd name="connsiteX16" fmla="*/ 887109 w 1381992"/>
              <a:gd name="connsiteY16" fmla="*/ 783142 h 1903343"/>
              <a:gd name="connsiteX17" fmla="*/ 680047 w 1381992"/>
              <a:gd name="connsiteY17" fmla="*/ 163613 h 1903343"/>
              <a:gd name="connsiteX18" fmla="*/ 499920 w 1381992"/>
              <a:gd name="connsiteY18" fmla="*/ 759004 h 1903343"/>
              <a:gd name="connsiteX19" fmla="*/ 459829 w 1381992"/>
              <a:gd name="connsiteY19" fmla="*/ 1183751 h 1903343"/>
              <a:gd name="connsiteX20" fmla="*/ 606494 w 1381992"/>
              <a:gd name="connsiteY20" fmla="*/ 1502416 h 1903343"/>
              <a:gd name="connsiteX21" fmla="*/ 622027 w 1381992"/>
              <a:gd name="connsiteY21" fmla="*/ 1735254 h 1903343"/>
              <a:gd name="connsiteX22" fmla="*/ 303844 w 1381992"/>
              <a:gd name="connsiteY22" fmla="*/ 1539145 h 1903343"/>
              <a:gd name="connsiteX23" fmla="*/ 131022 w 1381992"/>
              <a:gd name="connsiteY23" fmla="*/ 1199252 h 1903343"/>
              <a:gd name="connsiteX24" fmla="*/ 97670 w 1381992"/>
              <a:gd name="connsiteY24" fmla="*/ 710723 h 1903343"/>
              <a:gd name="connsiteX25" fmla="*/ 235973 w 1381992"/>
              <a:gd name="connsiteY25" fmla="*/ 257236 h 1903343"/>
              <a:gd name="connsiteX26" fmla="*/ 376572 w 1381992"/>
              <a:gd name="connsiteY26" fmla="*/ 11199 h 1903343"/>
              <a:gd name="connsiteX0" fmla="*/ 376572 w 1381992"/>
              <a:gd name="connsiteY0" fmla="*/ 11199 h 1903343"/>
              <a:gd name="connsiteX1" fmla="*/ 23867 w 1381992"/>
              <a:gd name="connsiteY1" fmla="*/ 620836 h 1903343"/>
              <a:gd name="connsiteX2" fmla="*/ 47235 w 1381992"/>
              <a:gd name="connsiteY2" fmla="*/ 1274244 h 1903343"/>
              <a:gd name="connsiteX3" fmla="*/ 335182 w 1381992"/>
              <a:gd name="connsiteY3" fmla="*/ 1752408 h 1903343"/>
              <a:gd name="connsiteX4" fmla="*/ 615989 w 1381992"/>
              <a:gd name="connsiteY4" fmla="*/ 1888087 h 1903343"/>
              <a:gd name="connsiteX5" fmla="*/ 932515 w 1381992"/>
              <a:gd name="connsiteY5" fmla="*/ 1849499 h 1903343"/>
              <a:gd name="connsiteX6" fmla="*/ 1282469 w 1381992"/>
              <a:gd name="connsiteY6" fmla="*/ 1438149 h 1903343"/>
              <a:gd name="connsiteX7" fmla="*/ 1370106 w 1381992"/>
              <a:gd name="connsiteY7" fmla="*/ 580047 h 1903343"/>
              <a:gd name="connsiteX8" fmla="*/ 1066178 w 1381992"/>
              <a:gd name="connsiteY8" fmla="*/ 36305 h 1903343"/>
              <a:gd name="connsiteX9" fmla="*/ 1140186 w 1381992"/>
              <a:gd name="connsiteY9" fmla="*/ 210944 h 1903343"/>
              <a:gd name="connsiteX10" fmla="*/ 1288929 w 1381992"/>
              <a:gd name="connsiteY10" fmla="*/ 645690 h 1903343"/>
              <a:gd name="connsiteX11" fmla="*/ 1223947 w 1381992"/>
              <a:gd name="connsiteY11" fmla="*/ 1254923 h 1903343"/>
              <a:gd name="connsiteX12" fmla="*/ 997474 w 1381992"/>
              <a:gd name="connsiteY12" fmla="*/ 1627315 h 1903343"/>
              <a:gd name="connsiteX13" fmla="*/ 809330 w 1381992"/>
              <a:gd name="connsiteY13" fmla="*/ 1718919 h 1903343"/>
              <a:gd name="connsiteX14" fmla="*/ 785265 w 1381992"/>
              <a:gd name="connsiteY14" fmla="*/ 1534953 h 1903343"/>
              <a:gd name="connsiteX15" fmla="*/ 931541 w 1381992"/>
              <a:gd name="connsiteY15" fmla="*/ 1254631 h 1903343"/>
              <a:gd name="connsiteX16" fmla="*/ 887109 w 1381992"/>
              <a:gd name="connsiteY16" fmla="*/ 783142 h 1903343"/>
              <a:gd name="connsiteX17" fmla="*/ 680047 w 1381992"/>
              <a:gd name="connsiteY17" fmla="*/ 163613 h 1903343"/>
              <a:gd name="connsiteX18" fmla="*/ 499920 w 1381992"/>
              <a:gd name="connsiteY18" fmla="*/ 759004 h 1903343"/>
              <a:gd name="connsiteX19" fmla="*/ 459829 w 1381992"/>
              <a:gd name="connsiteY19" fmla="*/ 1183751 h 1903343"/>
              <a:gd name="connsiteX20" fmla="*/ 606494 w 1381992"/>
              <a:gd name="connsiteY20" fmla="*/ 1502416 h 1903343"/>
              <a:gd name="connsiteX21" fmla="*/ 622027 w 1381992"/>
              <a:gd name="connsiteY21" fmla="*/ 1735254 h 1903343"/>
              <a:gd name="connsiteX22" fmla="*/ 303844 w 1381992"/>
              <a:gd name="connsiteY22" fmla="*/ 1539145 h 1903343"/>
              <a:gd name="connsiteX23" fmla="*/ 131022 w 1381992"/>
              <a:gd name="connsiteY23" fmla="*/ 1199252 h 1903343"/>
              <a:gd name="connsiteX24" fmla="*/ 97670 w 1381992"/>
              <a:gd name="connsiteY24" fmla="*/ 710723 h 1903343"/>
              <a:gd name="connsiteX25" fmla="*/ 235973 w 1381992"/>
              <a:gd name="connsiteY25" fmla="*/ 257236 h 1903343"/>
              <a:gd name="connsiteX26" fmla="*/ 376572 w 1381992"/>
              <a:gd name="connsiteY26" fmla="*/ 11199 h 1903343"/>
              <a:gd name="connsiteX0" fmla="*/ 376572 w 1384248"/>
              <a:gd name="connsiteY0" fmla="*/ 11199 h 1906643"/>
              <a:gd name="connsiteX1" fmla="*/ 23867 w 1384248"/>
              <a:gd name="connsiteY1" fmla="*/ 620836 h 1906643"/>
              <a:gd name="connsiteX2" fmla="*/ 47235 w 1384248"/>
              <a:gd name="connsiteY2" fmla="*/ 1274244 h 1906643"/>
              <a:gd name="connsiteX3" fmla="*/ 335182 w 1384248"/>
              <a:gd name="connsiteY3" fmla="*/ 1752408 h 1906643"/>
              <a:gd name="connsiteX4" fmla="*/ 615989 w 1384248"/>
              <a:gd name="connsiteY4" fmla="*/ 1888087 h 1906643"/>
              <a:gd name="connsiteX5" fmla="*/ 932515 w 1384248"/>
              <a:gd name="connsiteY5" fmla="*/ 1849499 h 1906643"/>
              <a:gd name="connsiteX6" fmla="*/ 1292896 w 1384248"/>
              <a:gd name="connsiteY6" fmla="*/ 1380750 h 1906643"/>
              <a:gd name="connsiteX7" fmla="*/ 1370106 w 1384248"/>
              <a:gd name="connsiteY7" fmla="*/ 580047 h 1906643"/>
              <a:gd name="connsiteX8" fmla="*/ 1066178 w 1384248"/>
              <a:gd name="connsiteY8" fmla="*/ 36305 h 1906643"/>
              <a:gd name="connsiteX9" fmla="*/ 1140186 w 1384248"/>
              <a:gd name="connsiteY9" fmla="*/ 210944 h 1906643"/>
              <a:gd name="connsiteX10" fmla="*/ 1288929 w 1384248"/>
              <a:gd name="connsiteY10" fmla="*/ 645690 h 1906643"/>
              <a:gd name="connsiteX11" fmla="*/ 1223947 w 1384248"/>
              <a:gd name="connsiteY11" fmla="*/ 1254923 h 1906643"/>
              <a:gd name="connsiteX12" fmla="*/ 997474 w 1384248"/>
              <a:gd name="connsiteY12" fmla="*/ 1627315 h 1906643"/>
              <a:gd name="connsiteX13" fmla="*/ 809330 w 1384248"/>
              <a:gd name="connsiteY13" fmla="*/ 1718919 h 1906643"/>
              <a:gd name="connsiteX14" fmla="*/ 785265 w 1384248"/>
              <a:gd name="connsiteY14" fmla="*/ 1534953 h 1906643"/>
              <a:gd name="connsiteX15" fmla="*/ 931541 w 1384248"/>
              <a:gd name="connsiteY15" fmla="*/ 1254631 h 1906643"/>
              <a:gd name="connsiteX16" fmla="*/ 887109 w 1384248"/>
              <a:gd name="connsiteY16" fmla="*/ 783142 h 1906643"/>
              <a:gd name="connsiteX17" fmla="*/ 680047 w 1384248"/>
              <a:gd name="connsiteY17" fmla="*/ 163613 h 1906643"/>
              <a:gd name="connsiteX18" fmla="*/ 499920 w 1384248"/>
              <a:gd name="connsiteY18" fmla="*/ 759004 h 1906643"/>
              <a:gd name="connsiteX19" fmla="*/ 459829 w 1384248"/>
              <a:gd name="connsiteY19" fmla="*/ 1183751 h 1906643"/>
              <a:gd name="connsiteX20" fmla="*/ 606494 w 1384248"/>
              <a:gd name="connsiteY20" fmla="*/ 1502416 h 1906643"/>
              <a:gd name="connsiteX21" fmla="*/ 622027 w 1384248"/>
              <a:gd name="connsiteY21" fmla="*/ 1735254 h 1906643"/>
              <a:gd name="connsiteX22" fmla="*/ 303844 w 1384248"/>
              <a:gd name="connsiteY22" fmla="*/ 1539145 h 1906643"/>
              <a:gd name="connsiteX23" fmla="*/ 131022 w 1384248"/>
              <a:gd name="connsiteY23" fmla="*/ 1199252 h 1906643"/>
              <a:gd name="connsiteX24" fmla="*/ 97670 w 1384248"/>
              <a:gd name="connsiteY24" fmla="*/ 710723 h 1906643"/>
              <a:gd name="connsiteX25" fmla="*/ 235973 w 1384248"/>
              <a:gd name="connsiteY25" fmla="*/ 257236 h 1906643"/>
              <a:gd name="connsiteX26" fmla="*/ 376572 w 1384248"/>
              <a:gd name="connsiteY26" fmla="*/ 11199 h 1906643"/>
              <a:gd name="connsiteX0" fmla="*/ 376572 w 1387500"/>
              <a:gd name="connsiteY0" fmla="*/ 11199 h 1906643"/>
              <a:gd name="connsiteX1" fmla="*/ 23867 w 1387500"/>
              <a:gd name="connsiteY1" fmla="*/ 620836 h 1906643"/>
              <a:gd name="connsiteX2" fmla="*/ 47235 w 1387500"/>
              <a:gd name="connsiteY2" fmla="*/ 1274244 h 1906643"/>
              <a:gd name="connsiteX3" fmla="*/ 335182 w 1387500"/>
              <a:gd name="connsiteY3" fmla="*/ 1752408 h 1906643"/>
              <a:gd name="connsiteX4" fmla="*/ 615989 w 1387500"/>
              <a:gd name="connsiteY4" fmla="*/ 1888087 h 1906643"/>
              <a:gd name="connsiteX5" fmla="*/ 932515 w 1387500"/>
              <a:gd name="connsiteY5" fmla="*/ 1849499 h 1906643"/>
              <a:gd name="connsiteX6" fmla="*/ 1292896 w 1387500"/>
              <a:gd name="connsiteY6" fmla="*/ 1380750 h 1906643"/>
              <a:gd name="connsiteX7" fmla="*/ 1370106 w 1387500"/>
              <a:gd name="connsiteY7" fmla="*/ 580047 h 1906643"/>
              <a:gd name="connsiteX8" fmla="*/ 1066178 w 1387500"/>
              <a:gd name="connsiteY8" fmla="*/ 36305 h 1906643"/>
              <a:gd name="connsiteX9" fmla="*/ 1140186 w 1387500"/>
              <a:gd name="connsiteY9" fmla="*/ 210944 h 1906643"/>
              <a:gd name="connsiteX10" fmla="*/ 1288929 w 1387500"/>
              <a:gd name="connsiteY10" fmla="*/ 645690 h 1906643"/>
              <a:gd name="connsiteX11" fmla="*/ 1223947 w 1387500"/>
              <a:gd name="connsiteY11" fmla="*/ 1254923 h 1906643"/>
              <a:gd name="connsiteX12" fmla="*/ 997474 w 1387500"/>
              <a:gd name="connsiteY12" fmla="*/ 1627315 h 1906643"/>
              <a:gd name="connsiteX13" fmla="*/ 809330 w 1387500"/>
              <a:gd name="connsiteY13" fmla="*/ 1718919 h 1906643"/>
              <a:gd name="connsiteX14" fmla="*/ 785265 w 1387500"/>
              <a:gd name="connsiteY14" fmla="*/ 1534953 h 1906643"/>
              <a:gd name="connsiteX15" fmla="*/ 931541 w 1387500"/>
              <a:gd name="connsiteY15" fmla="*/ 1254631 h 1906643"/>
              <a:gd name="connsiteX16" fmla="*/ 887109 w 1387500"/>
              <a:gd name="connsiteY16" fmla="*/ 783142 h 1906643"/>
              <a:gd name="connsiteX17" fmla="*/ 680047 w 1387500"/>
              <a:gd name="connsiteY17" fmla="*/ 163613 h 1906643"/>
              <a:gd name="connsiteX18" fmla="*/ 499920 w 1387500"/>
              <a:gd name="connsiteY18" fmla="*/ 759004 h 1906643"/>
              <a:gd name="connsiteX19" fmla="*/ 459829 w 1387500"/>
              <a:gd name="connsiteY19" fmla="*/ 1183751 h 1906643"/>
              <a:gd name="connsiteX20" fmla="*/ 606494 w 1387500"/>
              <a:gd name="connsiteY20" fmla="*/ 1502416 h 1906643"/>
              <a:gd name="connsiteX21" fmla="*/ 622027 w 1387500"/>
              <a:gd name="connsiteY21" fmla="*/ 1735254 h 1906643"/>
              <a:gd name="connsiteX22" fmla="*/ 303844 w 1387500"/>
              <a:gd name="connsiteY22" fmla="*/ 1539145 h 1906643"/>
              <a:gd name="connsiteX23" fmla="*/ 131022 w 1387500"/>
              <a:gd name="connsiteY23" fmla="*/ 1199252 h 1906643"/>
              <a:gd name="connsiteX24" fmla="*/ 97670 w 1387500"/>
              <a:gd name="connsiteY24" fmla="*/ 710723 h 1906643"/>
              <a:gd name="connsiteX25" fmla="*/ 235973 w 1387500"/>
              <a:gd name="connsiteY25" fmla="*/ 257236 h 1906643"/>
              <a:gd name="connsiteX26" fmla="*/ 376572 w 1387500"/>
              <a:gd name="connsiteY26" fmla="*/ 11199 h 1906643"/>
              <a:gd name="connsiteX0" fmla="*/ 376572 w 1387500"/>
              <a:gd name="connsiteY0" fmla="*/ 11199 h 1906643"/>
              <a:gd name="connsiteX1" fmla="*/ 23867 w 1387500"/>
              <a:gd name="connsiteY1" fmla="*/ 620836 h 1906643"/>
              <a:gd name="connsiteX2" fmla="*/ 47235 w 1387500"/>
              <a:gd name="connsiteY2" fmla="*/ 1274244 h 1906643"/>
              <a:gd name="connsiteX3" fmla="*/ 335182 w 1387500"/>
              <a:gd name="connsiteY3" fmla="*/ 1752408 h 1906643"/>
              <a:gd name="connsiteX4" fmla="*/ 615989 w 1387500"/>
              <a:gd name="connsiteY4" fmla="*/ 1888087 h 1906643"/>
              <a:gd name="connsiteX5" fmla="*/ 932515 w 1387500"/>
              <a:gd name="connsiteY5" fmla="*/ 1849499 h 1906643"/>
              <a:gd name="connsiteX6" fmla="*/ 1292896 w 1387500"/>
              <a:gd name="connsiteY6" fmla="*/ 1380750 h 1906643"/>
              <a:gd name="connsiteX7" fmla="*/ 1370106 w 1387500"/>
              <a:gd name="connsiteY7" fmla="*/ 580047 h 1906643"/>
              <a:gd name="connsiteX8" fmla="*/ 1066178 w 1387500"/>
              <a:gd name="connsiteY8" fmla="*/ 36305 h 1906643"/>
              <a:gd name="connsiteX9" fmla="*/ 1140186 w 1387500"/>
              <a:gd name="connsiteY9" fmla="*/ 210944 h 1906643"/>
              <a:gd name="connsiteX10" fmla="*/ 1301099 w 1387500"/>
              <a:gd name="connsiteY10" fmla="*/ 703113 h 1906643"/>
              <a:gd name="connsiteX11" fmla="*/ 1223947 w 1387500"/>
              <a:gd name="connsiteY11" fmla="*/ 1254923 h 1906643"/>
              <a:gd name="connsiteX12" fmla="*/ 997474 w 1387500"/>
              <a:gd name="connsiteY12" fmla="*/ 1627315 h 1906643"/>
              <a:gd name="connsiteX13" fmla="*/ 809330 w 1387500"/>
              <a:gd name="connsiteY13" fmla="*/ 1718919 h 1906643"/>
              <a:gd name="connsiteX14" fmla="*/ 785265 w 1387500"/>
              <a:gd name="connsiteY14" fmla="*/ 1534953 h 1906643"/>
              <a:gd name="connsiteX15" fmla="*/ 931541 w 1387500"/>
              <a:gd name="connsiteY15" fmla="*/ 1254631 h 1906643"/>
              <a:gd name="connsiteX16" fmla="*/ 887109 w 1387500"/>
              <a:gd name="connsiteY16" fmla="*/ 783142 h 1906643"/>
              <a:gd name="connsiteX17" fmla="*/ 680047 w 1387500"/>
              <a:gd name="connsiteY17" fmla="*/ 163613 h 1906643"/>
              <a:gd name="connsiteX18" fmla="*/ 499920 w 1387500"/>
              <a:gd name="connsiteY18" fmla="*/ 759004 h 1906643"/>
              <a:gd name="connsiteX19" fmla="*/ 459829 w 1387500"/>
              <a:gd name="connsiteY19" fmla="*/ 1183751 h 1906643"/>
              <a:gd name="connsiteX20" fmla="*/ 606494 w 1387500"/>
              <a:gd name="connsiteY20" fmla="*/ 1502416 h 1906643"/>
              <a:gd name="connsiteX21" fmla="*/ 622027 w 1387500"/>
              <a:gd name="connsiteY21" fmla="*/ 1735254 h 1906643"/>
              <a:gd name="connsiteX22" fmla="*/ 303844 w 1387500"/>
              <a:gd name="connsiteY22" fmla="*/ 1539145 h 1906643"/>
              <a:gd name="connsiteX23" fmla="*/ 131022 w 1387500"/>
              <a:gd name="connsiteY23" fmla="*/ 1199252 h 1906643"/>
              <a:gd name="connsiteX24" fmla="*/ 97670 w 1387500"/>
              <a:gd name="connsiteY24" fmla="*/ 710723 h 1906643"/>
              <a:gd name="connsiteX25" fmla="*/ 235973 w 1387500"/>
              <a:gd name="connsiteY25" fmla="*/ 257236 h 1906643"/>
              <a:gd name="connsiteX26" fmla="*/ 376572 w 1387500"/>
              <a:gd name="connsiteY26" fmla="*/ 11199 h 1906643"/>
              <a:gd name="connsiteX0" fmla="*/ 376572 w 1395327"/>
              <a:gd name="connsiteY0" fmla="*/ 11199 h 1906643"/>
              <a:gd name="connsiteX1" fmla="*/ 23867 w 1395327"/>
              <a:gd name="connsiteY1" fmla="*/ 620836 h 1906643"/>
              <a:gd name="connsiteX2" fmla="*/ 47235 w 1395327"/>
              <a:gd name="connsiteY2" fmla="*/ 1274244 h 1906643"/>
              <a:gd name="connsiteX3" fmla="*/ 335182 w 1395327"/>
              <a:gd name="connsiteY3" fmla="*/ 1752408 h 1906643"/>
              <a:gd name="connsiteX4" fmla="*/ 615989 w 1395327"/>
              <a:gd name="connsiteY4" fmla="*/ 1888087 h 1906643"/>
              <a:gd name="connsiteX5" fmla="*/ 932515 w 1395327"/>
              <a:gd name="connsiteY5" fmla="*/ 1849499 h 1906643"/>
              <a:gd name="connsiteX6" fmla="*/ 1292896 w 1395327"/>
              <a:gd name="connsiteY6" fmla="*/ 1380750 h 1906643"/>
              <a:gd name="connsiteX7" fmla="*/ 1370106 w 1395327"/>
              <a:gd name="connsiteY7" fmla="*/ 580047 h 1906643"/>
              <a:gd name="connsiteX8" fmla="*/ 1066178 w 1395327"/>
              <a:gd name="connsiteY8" fmla="*/ 36305 h 1906643"/>
              <a:gd name="connsiteX9" fmla="*/ 1140186 w 1395327"/>
              <a:gd name="connsiteY9" fmla="*/ 210944 h 1906643"/>
              <a:gd name="connsiteX10" fmla="*/ 1301099 w 1395327"/>
              <a:gd name="connsiteY10" fmla="*/ 703113 h 1906643"/>
              <a:gd name="connsiteX11" fmla="*/ 1223947 w 1395327"/>
              <a:gd name="connsiteY11" fmla="*/ 1254923 h 1906643"/>
              <a:gd name="connsiteX12" fmla="*/ 997474 w 1395327"/>
              <a:gd name="connsiteY12" fmla="*/ 1627315 h 1906643"/>
              <a:gd name="connsiteX13" fmla="*/ 809330 w 1395327"/>
              <a:gd name="connsiteY13" fmla="*/ 1718919 h 1906643"/>
              <a:gd name="connsiteX14" fmla="*/ 785265 w 1395327"/>
              <a:gd name="connsiteY14" fmla="*/ 1534953 h 1906643"/>
              <a:gd name="connsiteX15" fmla="*/ 931541 w 1395327"/>
              <a:gd name="connsiteY15" fmla="*/ 1254631 h 1906643"/>
              <a:gd name="connsiteX16" fmla="*/ 887109 w 1395327"/>
              <a:gd name="connsiteY16" fmla="*/ 783142 h 1906643"/>
              <a:gd name="connsiteX17" fmla="*/ 680047 w 1395327"/>
              <a:gd name="connsiteY17" fmla="*/ 163613 h 1906643"/>
              <a:gd name="connsiteX18" fmla="*/ 499920 w 1395327"/>
              <a:gd name="connsiteY18" fmla="*/ 759004 h 1906643"/>
              <a:gd name="connsiteX19" fmla="*/ 459829 w 1395327"/>
              <a:gd name="connsiteY19" fmla="*/ 1183751 h 1906643"/>
              <a:gd name="connsiteX20" fmla="*/ 606494 w 1395327"/>
              <a:gd name="connsiteY20" fmla="*/ 1502416 h 1906643"/>
              <a:gd name="connsiteX21" fmla="*/ 622027 w 1395327"/>
              <a:gd name="connsiteY21" fmla="*/ 1735254 h 1906643"/>
              <a:gd name="connsiteX22" fmla="*/ 303844 w 1395327"/>
              <a:gd name="connsiteY22" fmla="*/ 1539145 h 1906643"/>
              <a:gd name="connsiteX23" fmla="*/ 131022 w 1395327"/>
              <a:gd name="connsiteY23" fmla="*/ 1199252 h 1906643"/>
              <a:gd name="connsiteX24" fmla="*/ 97670 w 1395327"/>
              <a:gd name="connsiteY24" fmla="*/ 710723 h 1906643"/>
              <a:gd name="connsiteX25" fmla="*/ 235973 w 1395327"/>
              <a:gd name="connsiteY25" fmla="*/ 257236 h 1906643"/>
              <a:gd name="connsiteX26" fmla="*/ 376572 w 1395327"/>
              <a:gd name="connsiteY26" fmla="*/ 11199 h 1906643"/>
              <a:gd name="connsiteX0" fmla="*/ 376572 w 1395327"/>
              <a:gd name="connsiteY0" fmla="*/ 11199 h 1906643"/>
              <a:gd name="connsiteX1" fmla="*/ 23867 w 1395327"/>
              <a:gd name="connsiteY1" fmla="*/ 620836 h 1906643"/>
              <a:gd name="connsiteX2" fmla="*/ 47235 w 1395327"/>
              <a:gd name="connsiteY2" fmla="*/ 1274244 h 1906643"/>
              <a:gd name="connsiteX3" fmla="*/ 335182 w 1395327"/>
              <a:gd name="connsiteY3" fmla="*/ 1752408 h 1906643"/>
              <a:gd name="connsiteX4" fmla="*/ 615989 w 1395327"/>
              <a:gd name="connsiteY4" fmla="*/ 1888087 h 1906643"/>
              <a:gd name="connsiteX5" fmla="*/ 932515 w 1395327"/>
              <a:gd name="connsiteY5" fmla="*/ 1849499 h 1906643"/>
              <a:gd name="connsiteX6" fmla="*/ 1292896 w 1395327"/>
              <a:gd name="connsiteY6" fmla="*/ 1380750 h 1906643"/>
              <a:gd name="connsiteX7" fmla="*/ 1370106 w 1395327"/>
              <a:gd name="connsiteY7" fmla="*/ 580047 h 1906643"/>
              <a:gd name="connsiteX8" fmla="*/ 1066178 w 1395327"/>
              <a:gd name="connsiteY8" fmla="*/ 36305 h 1906643"/>
              <a:gd name="connsiteX9" fmla="*/ 1165931 w 1395327"/>
              <a:gd name="connsiteY9" fmla="*/ 242582 h 1906643"/>
              <a:gd name="connsiteX10" fmla="*/ 1301099 w 1395327"/>
              <a:gd name="connsiteY10" fmla="*/ 703113 h 1906643"/>
              <a:gd name="connsiteX11" fmla="*/ 1223947 w 1395327"/>
              <a:gd name="connsiteY11" fmla="*/ 1254923 h 1906643"/>
              <a:gd name="connsiteX12" fmla="*/ 997474 w 1395327"/>
              <a:gd name="connsiteY12" fmla="*/ 1627315 h 1906643"/>
              <a:gd name="connsiteX13" fmla="*/ 809330 w 1395327"/>
              <a:gd name="connsiteY13" fmla="*/ 1718919 h 1906643"/>
              <a:gd name="connsiteX14" fmla="*/ 785265 w 1395327"/>
              <a:gd name="connsiteY14" fmla="*/ 1534953 h 1906643"/>
              <a:gd name="connsiteX15" fmla="*/ 931541 w 1395327"/>
              <a:gd name="connsiteY15" fmla="*/ 1254631 h 1906643"/>
              <a:gd name="connsiteX16" fmla="*/ 887109 w 1395327"/>
              <a:gd name="connsiteY16" fmla="*/ 783142 h 1906643"/>
              <a:gd name="connsiteX17" fmla="*/ 680047 w 1395327"/>
              <a:gd name="connsiteY17" fmla="*/ 163613 h 1906643"/>
              <a:gd name="connsiteX18" fmla="*/ 499920 w 1395327"/>
              <a:gd name="connsiteY18" fmla="*/ 759004 h 1906643"/>
              <a:gd name="connsiteX19" fmla="*/ 459829 w 1395327"/>
              <a:gd name="connsiteY19" fmla="*/ 1183751 h 1906643"/>
              <a:gd name="connsiteX20" fmla="*/ 606494 w 1395327"/>
              <a:gd name="connsiteY20" fmla="*/ 1502416 h 1906643"/>
              <a:gd name="connsiteX21" fmla="*/ 622027 w 1395327"/>
              <a:gd name="connsiteY21" fmla="*/ 1735254 h 1906643"/>
              <a:gd name="connsiteX22" fmla="*/ 303844 w 1395327"/>
              <a:gd name="connsiteY22" fmla="*/ 1539145 h 1906643"/>
              <a:gd name="connsiteX23" fmla="*/ 131022 w 1395327"/>
              <a:gd name="connsiteY23" fmla="*/ 1199252 h 1906643"/>
              <a:gd name="connsiteX24" fmla="*/ 97670 w 1395327"/>
              <a:gd name="connsiteY24" fmla="*/ 710723 h 1906643"/>
              <a:gd name="connsiteX25" fmla="*/ 235973 w 1395327"/>
              <a:gd name="connsiteY25" fmla="*/ 257236 h 1906643"/>
              <a:gd name="connsiteX26" fmla="*/ 376572 w 1395327"/>
              <a:gd name="connsiteY26" fmla="*/ 11199 h 1906643"/>
              <a:gd name="connsiteX0" fmla="*/ 376572 w 1395327"/>
              <a:gd name="connsiteY0" fmla="*/ 11199 h 1906643"/>
              <a:gd name="connsiteX1" fmla="*/ 23867 w 1395327"/>
              <a:gd name="connsiteY1" fmla="*/ 620836 h 1906643"/>
              <a:gd name="connsiteX2" fmla="*/ 47235 w 1395327"/>
              <a:gd name="connsiteY2" fmla="*/ 1274244 h 1906643"/>
              <a:gd name="connsiteX3" fmla="*/ 335182 w 1395327"/>
              <a:gd name="connsiteY3" fmla="*/ 1752408 h 1906643"/>
              <a:gd name="connsiteX4" fmla="*/ 615989 w 1395327"/>
              <a:gd name="connsiteY4" fmla="*/ 1888087 h 1906643"/>
              <a:gd name="connsiteX5" fmla="*/ 932515 w 1395327"/>
              <a:gd name="connsiteY5" fmla="*/ 1849499 h 1906643"/>
              <a:gd name="connsiteX6" fmla="*/ 1292896 w 1395327"/>
              <a:gd name="connsiteY6" fmla="*/ 1380750 h 1906643"/>
              <a:gd name="connsiteX7" fmla="*/ 1370106 w 1395327"/>
              <a:gd name="connsiteY7" fmla="*/ 580047 h 1906643"/>
              <a:gd name="connsiteX8" fmla="*/ 1066178 w 1395327"/>
              <a:gd name="connsiteY8" fmla="*/ 36305 h 1906643"/>
              <a:gd name="connsiteX9" fmla="*/ 1165931 w 1395327"/>
              <a:gd name="connsiteY9" fmla="*/ 242582 h 1906643"/>
              <a:gd name="connsiteX10" fmla="*/ 1301099 w 1395327"/>
              <a:gd name="connsiteY10" fmla="*/ 703113 h 1906643"/>
              <a:gd name="connsiteX11" fmla="*/ 1223947 w 1395327"/>
              <a:gd name="connsiteY11" fmla="*/ 1254923 h 1906643"/>
              <a:gd name="connsiteX12" fmla="*/ 997474 w 1395327"/>
              <a:gd name="connsiteY12" fmla="*/ 1627315 h 1906643"/>
              <a:gd name="connsiteX13" fmla="*/ 809330 w 1395327"/>
              <a:gd name="connsiteY13" fmla="*/ 1718919 h 1906643"/>
              <a:gd name="connsiteX14" fmla="*/ 785265 w 1395327"/>
              <a:gd name="connsiteY14" fmla="*/ 1534953 h 1906643"/>
              <a:gd name="connsiteX15" fmla="*/ 931541 w 1395327"/>
              <a:gd name="connsiteY15" fmla="*/ 1254631 h 1906643"/>
              <a:gd name="connsiteX16" fmla="*/ 887109 w 1395327"/>
              <a:gd name="connsiteY16" fmla="*/ 783142 h 1906643"/>
              <a:gd name="connsiteX17" fmla="*/ 680047 w 1395327"/>
              <a:gd name="connsiteY17" fmla="*/ 163613 h 1906643"/>
              <a:gd name="connsiteX18" fmla="*/ 499920 w 1395327"/>
              <a:gd name="connsiteY18" fmla="*/ 759004 h 1906643"/>
              <a:gd name="connsiteX19" fmla="*/ 459829 w 1395327"/>
              <a:gd name="connsiteY19" fmla="*/ 1183751 h 1906643"/>
              <a:gd name="connsiteX20" fmla="*/ 606494 w 1395327"/>
              <a:gd name="connsiteY20" fmla="*/ 1502416 h 1906643"/>
              <a:gd name="connsiteX21" fmla="*/ 622027 w 1395327"/>
              <a:gd name="connsiteY21" fmla="*/ 1735254 h 1906643"/>
              <a:gd name="connsiteX22" fmla="*/ 303844 w 1395327"/>
              <a:gd name="connsiteY22" fmla="*/ 1539145 h 1906643"/>
              <a:gd name="connsiteX23" fmla="*/ 131022 w 1395327"/>
              <a:gd name="connsiteY23" fmla="*/ 1199252 h 1906643"/>
              <a:gd name="connsiteX24" fmla="*/ 97670 w 1395327"/>
              <a:gd name="connsiteY24" fmla="*/ 710723 h 1906643"/>
              <a:gd name="connsiteX25" fmla="*/ 235973 w 1395327"/>
              <a:gd name="connsiteY25" fmla="*/ 257236 h 1906643"/>
              <a:gd name="connsiteX26" fmla="*/ 376572 w 1395327"/>
              <a:gd name="connsiteY26" fmla="*/ 11199 h 1906643"/>
              <a:gd name="connsiteX0" fmla="*/ 376572 w 1395050"/>
              <a:gd name="connsiteY0" fmla="*/ 11199 h 1894282"/>
              <a:gd name="connsiteX1" fmla="*/ 23867 w 1395050"/>
              <a:gd name="connsiteY1" fmla="*/ 620836 h 1894282"/>
              <a:gd name="connsiteX2" fmla="*/ 47235 w 1395050"/>
              <a:gd name="connsiteY2" fmla="*/ 1274244 h 1894282"/>
              <a:gd name="connsiteX3" fmla="*/ 335182 w 1395050"/>
              <a:gd name="connsiteY3" fmla="*/ 1752408 h 1894282"/>
              <a:gd name="connsiteX4" fmla="*/ 615989 w 1395050"/>
              <a:gd name="connsiteY4" fmla="*/ 1888087 h 1894282"/>
              <a:gd name="connsiteX5" fmla="*/ 942475 w 1395050"/>
              <a:gd name="connsiteY5" fmla="*/ 1819838 h 1894282"/>
              <a:gd name="connsiteX6" fmla="*/ 1292896 w 1395050"/>
              <a:gd name="connsiteY6" fmla="*/ 1380750 h 1894282"/>
              <a:gd name="connsiteX7" fmla="*/ 1370106 w 1395050"/>
              <a:gd name="connsiteY7" fmla="*/ 580047 h 1894282"/>
              <a:gd name="connsiteX8" fmla="*/ 1066178 w 1395050"/>
              <a:gd name="connsiteY8" fmla="*/ 36305 h 1894282"/>
              <a:gd name="connsiteX9" fmla="*/ 1165931 w 1395050"/>
              <a:gd name="connsiteY9" fmla="*/ 242582 h 1894282"/>
              <a:gd name="connsiteX10" fmla="*/ 1301099 w 1395050"/>
              <a:gd name="connsiteY10" fmla="*/ 703113 h 1894282"/>
              <a:gd name="connsiteX11" fmla="*/ 1223947 w 1395050"/>
              <a:gd name="connsiteY11" fmla="*/ 1254923 h 1894282"/>
              <a:gd name="connsiteX12" fmla="*/ 997474 w 1395050"/>
              <a:gd name="connsiteY12" fmla="*/ 1627315 h 1894282"/>
              <a:gd name="connsiteX13" fmla="*/ 809330 w 1395050"/>
              <a:gd name="connsiteY13" fmla="*/ 1718919 h 1894282"/>
              <a:gd name="connsiteX14" fmla="*/ 785265 w 1395050"/>
              <a:gd name="connsiteY14" fmla="*/ 1534953 h 1894282"/>
              <a:gd name="connsiteX15" fmla="*/ 931541 w 1395050"/>
              <a:gd name="connsiteY15" fmla="*/ 1254631 h 1894282"/>
              <a:gd name="connsiteX16" fmla="*/ 887109 w 1395050"/>
              <a:gd name="connsiteY16" fmla="*/ 783142 h 1894282"/>
              <a:gd name="connsiteX17" fmla="*/ 680047 w 1395050"/>
              <a:gd name="connsiteY17" fmla="*/ 163613 h 1894282"/>
              <a:gd name="connsiteX18" fmla="*/ 499920 w 1395050"/>
              <a:gd name="connsiteY18" fmla="*/ 759004 h 1894282"/>
              <a:gd name="connsiteX19" fmla="*/ 459829 w 1395050"/>
              <a:gd name="connsiteY19" fmla="*/ 1183751 h 1894282"/>
              <a:gd name="connsiteX20" fmla="*/ 606494 w 1395050"/>
              <a:gd name="connsiteY20" fmla="*/ 1502416 h 1894282"/>
              <a:gd name="connsiteX21" fmla="*/ 622027 w 1395050"/>
              <a:gd name="connsiteY21" fmla="*/ 1735254 h 1894282"/>
              <a:gd name="connsiteX22" fmla="*/ 303844 w 1395050"/>
              <a:gd name="connsiteY22" fmla="*/ 1539145 h 1894282"/>
              <a:gd name="connsiteX23" fmla="*/ 131022 w 1395050"/>
              <a:gd name="connsiteY23" fmla="*/ 1199252 h 1894282"/>
              <a:gd name="connsiteX24" fmla="*/ 97670 w 1395050"/>
              <a:gd name="connsiteY24" fmla="*/ 710723 h 1894282"/>
              <a:gd name="connsiteX25" fmla="*/ 235973 w 1395050"/>
              <a:gd name="connsiteY25" fmla="*/ 257236 h 1894282"/>
              <a:gd name="connsiteX26" fmla="*/ 376572 w 1395050"/>
              <a:gd name="connsiteY26" fmla="*/ 11199 h 1894282"/>
              <a:gd name="connsiteX0" fmla="*/ 376572 w 1395050"/>
              <a:gd name="connsiteY0" fmla="*/ 11199 h 1898567"/>
              <a:gd name="connsiteX1" fmla="*/ 23867 w 1395050"/>
              <a:gd name="connsiteY1" fmla="*/ 620836 h 1898567"/>
              <a:gd name="connsiteX2" fmla="*/ 47235 w 1395050"/>
              <a:gd name="connsiteY2" fmla="*/ 1274244 h 1898567"/>
              <a:gd name="connsiteX3" fmla="*/ 335182 w 1395050"/>
              <a:gd name="connsiteY3" fmla="*/ 1752408 h 1898567"/>
              <a:gd name="connsiteX4" fmla="*/ 613275 w 1395050"/>
              <a:gd name="connsiteY4" fmla="*/ 1893244 h 1898567"/>
              <a:gd name="connsiteX5" fmla="*/ 942475 w 1395050"/>
              <a:gd name="connsiteY5" fmla="*/ 1819838 h 1898567"/>
              <a:gd name="connsiteX6" fmla="*/ 1292896 w 1395050"/>
              <a:gd name="connsiteY6" fmla="*/ 1380750 h 1898567"/>
              <a:gd name="connsiteX7" fmla="*/ 1370106 w 1395050"/>
              <a:gd name="connsiteY7" fmla="*/ 580047 h 1898567"/>
              <a:gd name="connsiteX8" fmla="*/ 1066178 w 1395050"/>
              <a:gd name="connsiteY8" fmla="*/ 36305 h 1898567"/>
              <a:gd name="connsiteX9" fmla="*/ 1165931 w 1395050"/>
              <a:gd name="connsiteY9" fmla="*/ 242582 h 1898567"/>
              <a:gd name="connsiteX10" fmla="*/ 1301099 w 1395050"/>
              <a:gd name="connsiteY10" fmla="*/ 703113 h 1898567"/>
              <a:gd name="connsiteX11" fmla="*/ 1223947 w 1395050"/>
              <a:gd name="connsiteY11" fmla="*/ 1254923 h 1898567"/>
              <a:gd name="connsiteX12" fmla="*/ 997474 w 1395050"/>
              <a:gd name="connsiteY12" fmla="*/ 1627315 h 1898567"/>
              <a:gd name="connsiteX13" fmla="*/ 809330 w 1395050"/>
              <a:gd name="connsiteY13" fmla="*/ 1718919 h 1898567"/>
              <a:gd name="connsiteX14" fmla="*/ 785265 w 1395050"/>
              <a:gd name="connsiteY14" fmla="*/ 1534953 h 1898567"/>
              <a:gd name="connsiteX15" fmla="*/ 931541 w 1395050"/>
              <a:gd name="connsiteY15" fmla="*/ 1254631 h 1898567"/>
              <a:gd name="connsiteX16" fmla="*/ 887109 w 1395050"/>
              <a:gd name="connsiteY16" fmla="*/ 783142 h 1898567"/>
              <a:gd name="connsiteX17" fmla="*/ 680047 w 1395050"/>
              <a:gd name="connsiteY17" fmla="*/ 163613 h 1898567"/>
              <a:gd name="connsiteX18" fmla="*/ 499920 w 1395050"/>
              <a:gd name="connsiteY18" fmla="*/ 759004 h 1898567"/>
              <a:gd name="connsiteX19" fmla="*/ 459829 w 1395050"/>
              <a:gd name="connsiteY19" fmla="*/ 1183751 h 1898567"/>
              <a:gd name="connsiteX20" fmla="*/ 606494 w 1395050"/>
              <a:gd name="connsiteY20" fmla="*/ 1502416 h 1898567"/>
              <a:gd name="connsiteX21" fmla="*/ 622027 w 1395050"/>
              <a:gd name="connsiteY21" fmla="*/ 1735254 h 1898567"/>
              <a:gd name="connsiteX22" fmla="*/ 303844 w 1395050"/>
              <a:gd name="connsiteY22" fmla="*/ 1539145 h 1898567"/>
              <a:gd name="connsiteX23" fmla="*/ 131022 w 1395050"/>
              <a:gd name="connsiteY23" fmla="*/ 1199252 h 1898567"/>
              <a:gd name="connsiteX24" fmla="*/ 97670 w 1395050"/>
              <a:gd name="connsiteY24" fmla="*/ 710723 h 1898567"/>
              <a:gd name="connsiteX25" fmla="*/ 235973 w 1395050"/>
              <a:gd name="connsiteY25" fmla="*/ 257236 h 1898567"/>
              <a:gd name="connsiteX26" fmla="*/ 376572 w 1395050"/>
              <a:gd name="connsiteY26" fmla="*/ 11199 h 1898567"/>
              <a:gd name="connsiteX0" fmla="*/ 374758 w 1393236"/>
              <a:gd name="connsiteY0" fmla="*/ 11199 h 1903017"/>
              <a:gd name="connsiteX1" fmla="*/ 22053 w 1393236"/>
              <a:gd name="connsiteY1" fmla="*/ 620836 h 1903017"/>
              <a:gd name="connsiteX2" fmla="*/ 45421 w 1393236"/>
              <a:gd name="connsiteY2" fmla="*/ 1274244 h 1903017"/>
              <a:gd name="connsiteX3" fmla="*/ 294986 w 1393236"/>
              <a:gd name="connsiteY3" fmla="*/ 1691084 h 1903017"/>
              <a:gd name="connsiteX4" fmla="*/ 611461 w 1393236"/>
              <a:gd name="connsiteY4" fmla="*/ 1893244 h 1903017"/>
              <a:gd name="connsiteX5" fmla="*/ 940661 w 1393236"/>
              <a:gd name="connsiteY5" fmla="*/ 1819838 h 1903017"/>
              <a:gd name="connsiteX6" fmla="*/ 1291082 w 1393236"/>
              <a:gd name="connsiteY6" fmla="*/ 1380750 h 1903017"/>
              <a:gd name="connsiteX7" fmla="*/ 1368292 w 1393236"/>
              <a:gd name="connsiteY7" fmla="*/ 580047 h 1903017"/>
              <a:gd name="connsiteX8" fmla="*/ 1064364 w 1393236"/>
              <a:gd name="connsiteY8" fmla="*/ 36305 h 1903017"/>
              <a:gd name="connsiteX9" fmla="*/ 1164117 w 1393236"/>
              <a:gd name="connsiteY9" fmla="*/ 242582 h 1903017"/>
              <a:gd name="connsiteX10" fmla="*/ 1299285 w 1393236"/>
              <a:gd name="connsiteY10" fmla="*/ 703113 h 1903017"/>
              <a:gd name="connsiteX11" fmla="*/ 1222133 w 1393236"/>
              <a:gd name="connsiteY11" fmla="*/ 1254923 h 1903017"/>
              <a:gd name="connsiteX12" fmla="*/ 995660 w 1393236"/>
              <a:gd name="connsiteY12" fmla="*/ 1627315 h 1903017"/>
              <a:gd name="connsiteX13" fmla="*/ 807516 w 1393236"/>
              <a:gd name="connsiteY13" fmla="*/ 1718919 h 1903017"/>
              <a:gd name="connsiteX14" fmla="*/ 783451 w 1393236"/>
              <a:gd name="connsiteY14" fmla="*/ 1534953 h 1903017"/>
              <a:gd name="connsiteX15" fmla="*/ 929727 w 1393236"/>
              <a:gd name="connsiteY15" fmla="*/ 1254631 h 1903017"/>
              <a:gd name="connsiteX16" fmla="*/ 885295 w 1393236"/>
              <a:gd name="connsiteY16" fmla="*/ 783142 h 1903017"/>
              <a:gd name="connsiteX17" fmla="*/ 678233 w 1393236"/>
              <a:gd name="connsiteY17" fmla="*/ 163613 h 1903017"/>
              <a:gd name="connsiteX18" fmla="*/ 498106 w 1393236"/>
              <a:gd name="connsiteY18" fmla="*/ 759004 h 1903017"/>
              <a:gd name="connsiteX19" fmla="*/ 458015 w 1393236"/>
              <a:gd name="connsiteY19" fmla="*/ 1183751 h 1903017"/>
              <a:gd name="connsiteX20" fmla="*/ 604680 w 1393236"/>
              <a:gd name="connsiteY20" fmla="*/ 1502416 h 1903017"/>
              <a:gd name="connsiteX21" fmla="*/ 620213 w 1393236"/>
              <a:gd name="connsiteY21" fmla="*/ 1735254 h 1903017"/>
              <a:gd name="connsiteX22" fmla="*/ 302030 w 1393236"/>
              <a:gd name="connsiteY22" fmla="*/ 1539145 h 1903017"/>
              <a:gd name="connsiteX23" fmla="*/ 129208 w 1393236"/>
              <a:gd name="connsiteY23" fmla="*/ 1199252 h 1903017"/>
              <a:gd name="connsiteX24" fmla="*/ 95856 w 1393236"/>
              <a:gd name="connsiteY24" fmla="*/ 710723 h 1903017"/>
              <a:gd name="connsiteX25" fmla="*/ 234159 w 1393236"/>
              <a:gd name="connsiteY25" fmla="*/ 257236 h 1903017"/>
              <a:gd name="connsiteX26" fmla="*/ 374758 w 1393236"/>
              <a:gd name="connsiteY26" fmla="*/ 11199 h 1903017"/>
              <a:gd name="connsiteX0" fmla="*/ 374758 w 1393236"/>
              <a:gd name="connsiteY0" fmla="*/ 11199 h 1897237"/>
              <a:gd name="connsiteX1" fmla="*/ 22053 w 1393236"/>
              <a:gd name="connsiteY1" fmla="*/ 620836 h 1897237"/>
              <a:gd name="connsiteX2" fmla="*/ 45421 w 1393236"/>
              <a:gd name="connsiteY2" fmla="*/ 1274244 h 1897237"/>
              <a:gd name="connsiteX3" fmla="*/ 294986 w 1393236"/>
              <a:gd name="connsiteY3" fmla="*/ 1691084 h 1897237"/>
              <a:gd name="connsiteX4" fmla="*/ 601070 w 1393236"/>
              <a:gd name="connsiteY4" fmla="*/ 1886137 h 1897237"/>
              <a:gd name="connsiteX5" fmla="*/ 940661 w 1393236"/>
              <a:gd name="connsiteY5" fmla="*/ 1819838 h 1897237"/>
              <a:gd name="connsiteX6" fmla="*/ 1291082 w 1393236"/>
              <a:gd name="connsiteY6" fmla="*/ 1380750 h 1897237"/>
              <a:gd name="connsiteX7" fmla="*/ 1368292 w 1393236"/>
              <a:gd name="connsiteY7" fmla="*/ 580047 h 1897237"/>
              <a:gd name="connsiteX8" fmla="*/ 1064364 w 1393236"/>
              <a:gd name="connsiteY8" fmla="*/ 36305 h 1897237"/>
              <a:gd name="connsiteX9" fmla="*/ 1164117 w 1393236"/>
              <a:gd name="connsiteY9" fmla="*/ 242582 h 1897237"/>
              <a:gd name="connsiteX10" fmla="*/ 1299285 w 1393236"/>
              <a:gd name="connsiteY10" fmla="*/ 703113 h 1897237"/>
              <a:gd name="connsiteX11" fmla="*/ 1222133 w 1393236"/>
              <a:gd name="connsiteY11" fmla="*/ 1254923 h 1897237"/>
              <a:gd name="connsiteX12" fmla="*/ 995660 w 1393236"/>
              <a:gd name="connsiteY12" fmla="*/ 1627315 h 1897237"/>
              <a:gd name="connsiteX13" fmla="*/ 807516 w 1393236"/>
              <a:gd name="connsiteY13" fmla="*/ 1718919 h 1897237"/>
              <a:gd name="connsiteX14" fmla="*/ 783451 w 1393236"/>
              <a:gd name="connsiteY14" fmla="*/ 1534953 h 1897237"/>
              <a:gd name="connsiteX15" fmla="*/ 929727 w 1393236"/>
              <a:gd name="connsiteY15" fmla="*/ 1254631 h 1897237"/>
              <a:gd name="connsiteX16" fmla="*/ 885295 w 1393236"/>
              <a:gd name="connsiteY16" fmla="*/ 783142 h 1897237"/>
              <a:gd name="connsiteX17" fmla="*/ 678233 w 1393236"/>
              <a:gd name="connsiteY17" fmla="*/ 163613 h 1897237"/>
              <a:gd name="connsiteX18" fmla="*/ 498106 w 1393236"/>
              <a:gd name="connsiteY18" fmla="*/ 759004 h 1897237"/>
              <a:gd name="connsiteX19" fmla="*/ 458015 w 1393236"/>
              <a:gd name="connsiteY19" fmla="*/ 1183751 h 1897237"/>
              <a:gd name="connsiteX20" fmla="*/ 604680 w 1393236"/>
              <a:gd name="connsiteY20" fmla="*/ 1502416 h 1897237"/>
              <a:gd name="connsiteX21" fmla="*/ 620213 w 1393236"/>
              <a:gd name="connsiteY21" fmla="*/ 1735254 h 1897237"/>
              <a:gd name="connsiteX22" fmla="*/ 302030 w 1393236"/>
              <a:gd name="connsiteY22" fmla="*/ 1539145 h 1897237"/>
              <a:gd name="connsiteX23" fmla="*/ 129208 w 1393236"/>
              <a:gd name="connsiteY23" fmla="*/ 1199252 h 1897237"/>
              <a:gd name="connsiteX24" fmla="*/ 95856 w 1393236"/>
              <a:gd name="connsiteY24" fmla="*/ 710723 h 1897237"/>
              <a:gd name="connsiteX25" fmla="*/ 234159 w 1393236"/>
              <a:gd name="connsiteY25" fmla="*/ 257236 h 1897237"/>
              <a:gd name="connsiteX26" fmla="*/ 374758 w 1393236"/>
              <a:gd name="connsiteY26" fmla="*/ 11199 h 1897237"/>
              <a:gd name="connsiteX0" fmla="*/ 374758 w 1382193"/>
              <a:gd name="connsiteY0" fmla="*/ 11199 h 1897237"/>
              <a:gd name="connsiteX1" fmla="*/ 22053 w 1382193"/>
              <a:gd name="connsiteY1" fmla="*/ 620836 h 1897237"/>
              <a:gd name="connsiteX2" fmla="*/ 45421 w 1382193"/>
              <a:gd name="connsiteY2" fmla="*/ 1274244 h 1897237"/>
              <a:gd name="connsiteX3" fmla="*/ 294986 w 1382193"/>
              <a:gd name="connsiteY3" fmla="*/ 1691084 h 1897237"/>
              <a:gd name="connsiteX4" fmla="*/ 601070 w 1382193"/>
              <a:gd name="connsiteY4" fmla="*/ 1886137 h 1897237"/>
              <a:gd name="connsiteX5" fmla="*/ 940661 w 1382193"/>
              <a:gd name="connsiteY5" fmla="*/ 1819838 h 1897237"/>
              <a:gd name="connsiteX6" fmla="*/ 1291082 w 1382193"/>
              <a:gd name="connsiteY6" fmla="*/ 1380751 h 1897237"/>
              <a:gd name="connsiteX7" fmla="*/ 1368292 w 1382193"/>
              <a:gd name="connsiteY7" fmla="*/ 580047 h 1897237"/>
              <a:gd name="connsiteX8" fmla="*/ 1064364 w 1382193"/>
              <a:gd name="connsiteY8" fmla="*/ 36305 h 1897237"/>
              <a:gd name="connsiteX9" fmla="*/ 1164117 w 1382193"/>
              <a:gd name="connsiteY9" fmla="*/ 242582 h 1897237"/>
              <a:gd name="connsiteX10" fmla="*/ 1299285 w 1382193"/>
              <a:gd name="connsiteY10" fmla="*/ 703113 h 1897237"/>
              <a:gd name="connsiteX11" fmla="*/ 1222133 w 1382193"/>
              <a:gd name="connsiteY11" fmla="*/ 1254923 h 1897237"/>
              <a:gd name="connsiteX12" fmla="*/ 995660 w 1382193"/>
              <a:gd name="connsiteY12" fmla="*/ 1627315 h 1897237"/>
              <a:gd name="connsiteX13" fmla="*/ 807516 w 1382193"/>
              <a:gd name="connsiteY13" fmla="*/ 1718919 h 1897237"/>
              <a:gd name="connsiteX14" fmla="*/ 783451 w 1382193"/>
              <a:gd name="connsiteY14" fmla="*/ 1534953 h 1897237"/>
              <a:gd name="connsiteX15" fmla="*/ 929727 w 1382193"/>
              <a:gd name="connsiteY15" fmla="*/ 1254631 h 1897237"/>
              <a:gd name="connsiteX16" fmla="*/ 885295 w 1382193"/>
              <a:gd name="connsiteY16" fmla="*/ 783142 h 1897237"/>
              <a:gd name="connsiteX17" fmla="*/ 678233 w 1382193"/>
              <a:gd name="connsiteY17" fmla="*/ 163613 h 1897237"/>
              <a:gd name="connsiteX18" fmla="*/ 498106 w 1382193"/>
              <a:gd name="connsiteY18" fmla="*/ 759004 h 1897237"/>
              <a:gd name="connsiteX19" fmla="*/ 458015 w 1382193"/>
              <a:gd name="connsiteY19" fmla="*/ 1183751 h 1897237"/>
              <a:gd name="connsiteX20" fmla="*/ 604680 w 1382193"/>
              <a:gd name="connsiteY20" fmla="*/ 1502416 h 1897237"/>
              <a:gd name="connsiteX21" fmla="*/ 620213 w 1382193"/>
              <a:gd name="connsiteY21" fmla="*/ 1735254 h 1897237"/>
              <a:gd name="connsiteX22" fmla="*/ 302030 w 1382193"/>
              <a:gd name="connsiteY22" fmla="*/ 1539145 h 1897237"/>
              <a:gd name="connsiteX23" fmla="*/ 129208 w 1382193"/>
              <a:gd name="connsiteY23" fmla="*/ 1199252 h 1897237"/>
              <a:gd name="connsiteX24" fmla="*/ 95856 w 1382193"/>
              <a:gd name="connsiteY24" fmla="*/ 710723 h 1897237"/>
              <a:gd name="connsiteX25" fmla="*/ 234159 w 1382193"/>
              <a:gd name="connsiteY25" fmla="*/ 257236 h 1897237"/>
              <a:gd name="connsiteX26" fmla="*/ 374758 w 1382193"/>
              <a:gd name="connsiteY26" fmla="*/ 11199 h 1897237"/>
              <a:gd name="connsiteX0" fmla="*/ 374758 w 1384427"/>
              <a:gd name="connsiteY0" fmla="*/ 11199 h 1897237"/>
              <a:gd name="connsiteX1" fmla="*/ 22053 w 1384427"/>
              <a:gd name="connsiteY1" fmla="*/ 620836 h 1897237"/>
              <a:gd name="connsiteX2" fmla="*/ 45421 w 1384427"/>
              <a:gd name="connsiteY2" fmla="*/ 1274244 h 1897237"/>
              <a:gd name="connsiteX3" fmla="*/ 294986 w 1384427"/>
              <a:gd name="connsiteY3" fmla="*/ 1691084 h 1897237"/>
              <a:gd name="connsiteX4" fmla="*/ 601070 w 1384427"/>
              <a:gd name="connsiteY4" fmla="*/ 1886137 h 1897237"/>
              <a:gd name="connsiteX5" fmla="*/ 940661 w 1384427"/>
              <a:gd name="connsiteY5" fmla="*/ 1819838 h 1897237"/>
              <a:gd name="connsiteX6" fmla="*/ 1291082 w 1384427"/>
              <a:gd name="connsiteY6" fmla="*/ 1380751 h 1897237"/>
              <a:gd name="connsiteX7" fmla="*/ 1368292 w 1384427"/>
              <a:gd name="connsiteY7" fmla="*/ 580047 h 1897237"/>
              <a:gd name="connsiteX8" fmla="*/ 1064364 w 1384427"/>
              <a:gd name="connsiteY8" fmla="*/ 36305 h 1897237"/>
              <a:gd name="connsiteX9" fmla="*/ 1164117 w 1384427"/>
              <a:gd name="connsiteY9" fmla="*/ 242582 h 1897237"/>
              <a:gd name="connsiteX10" fmla="*/ 1299285 w 1384427"/>
              <a:gd name="connsiteY10" fmla="*/ 703113 h 1897237"/>
              <a:gd name="connsiteX11" fmla="*/ 1222133 w 1384427"/>
              <a:gd name="connsiteY11" fmla="*/ 1254923 h 1897237"/>
              <a:gd name="connsiteX12" fmla="*/ 995660 w 1384427"/>
              <a:gd name="connsiteY12" fmla="*/ 1627315 h 1897237"/>
              <a:gd name="connsiteX13" fmla="*/ 807516 w 1384427"/>
              <a:gd name="connsiteY13" fmla="*/ 1718919 h 1897237"/>
              <a:gd name="connsiteX14" fmla="*/ 783451 w 1384427"/>
              <a:gd name="connsiteY14" fmla="*/ 1534953 h 1897237"/>
              <a:gd name="connsiteX15" fmla="*/ 929727 w 1384427"/>
              <a:gd name="connsiteY15" fmla="*/ 1254631 h 1897237"/>
              <a:gd name="connsiteX16" fmla="*/ 885295 w 1384427"/>
              <a:gd name="connsiteY16" fmla="*/ 783142 h 1897237"/>
              <a:gd name="connsiteX17" fmla="*/ 678233 w 1384427"/>
              <a:gd name="connsiteY17" fmla="*/ 163613 h 1897237"/>
              <a:gd name="connsiteX18" fmla="*/ 498106 w 1384427"/>
              <a:gd name="connsiteY18" fmla="*/ 759004 h 1897237"/>
              <a:gd name="connsiteX19" fmla="*/ 458015 w 1384427"/>
              <a:gd name="connsiteY19" fmla="*/ 1183751 h 1897237"/>
              <a:gd name="connsiteX20" fmla="*/ 604680 w 1384427"/>
              <a:gd name="connsiteY20" fmla="*/ 1502416 h 1897237"/>
              <a:gd name="connsiteX21" fmla="*/ 620213 w 1384427"/>
              <a:gd name="connsiteY21" fmla="*/ 1735254 h 1897237"/>
              <a:gd name="connsiteX22" fmla="*/ 302030 w 1384427"/>
              <a:gd name="connsiteY22" fmla="*/ 1539145 h 1897237"/>
              <a:gd name="connsiteX23" fmla="*/ 129208 w 1384427"/>
              <a:gd name="connsiteY23" fmla="*/ 1199252 h 1897237"/>
              <a:gd name="connsiteX24" fmla="*/ 95856 w 1384427"/>
              <a:gd name="connsiteY24" fmla="*/ 710723 h 1897237"/>
              <a:gd name="connsiteX25" fmla="*/ 234159 w 1384427"/>
              <a:gd name="connsiteY25" fmla="*/ 257236 h 1897237"/>
              <a:gd name="connsiteX26" fmla="*/ 374758 w 1384427"/>
              <a:gd name="connsiteY26" fmla="*/ 11199 h 1897237"/>
              <a:gd name="connsiteX0" fmla="*/ 374758 w 1392887"/>
              <a:gd name="connsiteY0" fmla="*/ 11199 h 1897237"/>
              <a:gd name="connsiteX1" fmla="*/ 22053 w 1392887"/>
              <a:gd name="connsiteY1" fmla="*/ 620836 h 1897237"/>
              <a:gd name="connsiteX2" fmla="*/ 45421 w 1392887"/>
              <a:gd name="connsiteY2" fmla="*/ 1274244 h 1897237"/>
              <a:gd name="connsiteX3" fmla="*/ 294986 w 1392887"/>
              <a:gd name="connsiteY3" fmla="*/ 1691084 h 1897237"/>
              <a:gd name="connsiteX4" fmla="*/ 601070 w 1392887"/>
              <a:gd name="connsiteY4" fmla="*/ 1886137 h 1897237"/>
              <a:gd name="connsiteX5" fmla="*/ 940661 w 1392887"/>
              <a:gd name="connsiteY5" fmla="*/ 1819838 h 1897237"/>
              <a:gd name="connsiteX6" fmla="*/ 1291082 w 1392887"/>
              <a:gd name="connsiteY6" fmla="*/ 1380751 h 1897237"/>
              <a:gd name="connsiteX7" fmla="*/ 1380481 w 1392887"/>
              <a:gd name="connsiteY7" fmla="*/ 605217 h 1897237"/>
              <a:gd name="connsiteX8" fmla="*/ 1064364 w 1392887"/>
              <a:gd name="connsiteY8" fmla="*/ 36305 h 1897237"/>
              <a:gd name="connsiteX9" fmla="*/ 1164117 w 1392887"/>
              <a:gd name="connsiteY9" fmla="*/ 242582 h 1897237"/>
              <a:gd name="connsiteX10" fmla="*/ 1299285 w 1392887"/>
              <a:gd name="connsiteY10" fmla="*/ 703113 h 1897237"/>
              <a:gd name="connsiteX11" fmla="*/ 1222133 w 1392887"/>
              <a:gd name="connsiteY11" fmla="*/ 1254923 h 1897237"/>
              <a:gd name="connsiteX12" fmla="*/ 995660 w 1392887"/>
              <a:gd name="connsiteY12" fmla="*/ 1627315 h 1897237"/>
              <a:gd name="connsiteX13" fmla="*/ 807516 w 1392887"/>
              <a:gd name="connsiteY13" fmla="*/ 1718919 h 1897237"/>
              <a:gd name="connsiteX14" fmla="*/ 783451 w 1392887"/>
              <a:gd name="connsiteY14" fmla="*/ 1534953 h 1897237"/>
              <a:gd name="connsiteX15" fmla="*/ 929727 w 1392887"/>
              <a:gd name="connsiteY15" fmla="*/ 1254631 h 1897237"/>
              <a:gd name="connsiteX16" fmla="*/ 885295 w 1392887"/>
              <a:gd name="connsiteY16" fmla="*/ 783142 h 1897237"/>
              <a:gd name="connsiteX17" fmla="*/ 678233 w 1392887"/>
              <a:gd name="connsiteY17" fmla="*/ 163613 h 1897237"/>
              <a:gd name="connsiteX18" fmla="*/ 498106 w 1392887"/>
              <a:gd name="connsiteY18" fmla="*/ 759004 h 1897237"/>
              <a:gd name="connsiteX19" fmla="*/ 458015 w 1392887"/>
              <a:gd name="connsiteY19" fmla="*/ 1183751 h 1897237"/>
              <a:gd name="connsiteX20" fmla="*/ 604680 w 1392887"/>
              <a:gd name="connsiteY20" fmla="*/ 1502416 h 1897237"/>
              <a:gd name="connsiteX21" fmla="*/ 620213 w 1392887"/>
              <a:gd name="connsiteY21" fmla="*/ 1735254 h 1897237"/>
              <a:gd name="connsiteX22" fmla="*/ 302030 w 1392887"/>
              <a:gd name="connsiteY22" fmla="*/ 1539145 h 1897237"/>
              <a:gd name="connsiteX23" fmla="*/ 129208 w 1392887"/>
              <a:gd name="connsiteY23" fmla="*/ 1199252 h 1897237"/>
              <a:gd name="connsiteX24" fmla="*/ 95856 w 1392887"/>
              <a:gd name="connsiteY24" fmla="*/ 710723 h 1897237"/>
              <a:gd name="connsiteX25" fmla="*/ 234159 w 1392887"/>
              <a:gd name="connsiteY25" fmla="*/ 257236 h 1897237"/>
              <a:gd name="connsiteX26" fmla="*/ 374758 w 1392887"/>
              <a:gd name="connsiteY26" fmla="*/ 11199 h 1897237"/>
              <a:gd name="connsiteX0" fmla="*/ 374758 w 1394472"/>
              <a:gd name="connsiteY0" fmla="*/ 11199 h 1897237"/>
              <a:gd name="connsiteX1" fmla="*/ 22053 w 1394472"/>
              <a:gd name="connsiteY1" fmla="*/ 620836 h 1897237"/>
              <a:gd name="connsiteX2" fmla="*/ 45421 w 1394472"/>
              <a:gd name="connsiteY2" fmla="*/ 1274244 h 1897237"/>
              <a:gd name="connsiteX3" fmla="*/ 294986 w 1394472"/>
              <a:gd name="connsiteY3" fmla="*/ 1691084 h 1897237"/>
              <a:gd name="connsiteX4" fmla="*/ 601070 w 1394472"/>
              <a:gd name="connsiteY4" fmla="*/ 1886137 h 1897237"/>
              <a:gd name="connsiteX5" fmla="*/ 940661 w 1394472"/>
              <a:gd name="connsiteY5" fmla="*/ 1819838 h 1897237"/>
              <a:gd name="connsiteX6" fmla="*/ 1291082 w 1394472"/>
              <a:gd name="connsiteY6" fmla="*/ 1380751 h 1897237"/>
              <a:gd name="connsiteX7" fmla="*/ 1382260 w 1394472"/>
              <a:gd name="connsiteY7" fmla="*/ 655533 h 1897237"/>
              <a:gd name="connsiteX8" fmla="*/ 1064364 w 1394472"/>
              <a:gd name="connsiteY8" fmla="*/ 36305 h 1897237"/>
              <a:gd name="connsiteX9" fmla="*/ 1164117 w 1394472"/>
              <a:gd name="connsiteY9" fmla="*/ 242582 h 1897237"/>
              <a:gd name="connsiteX10" fmla="*/ 1299285 w 1394472"/>
              <a:gd name="connsiteY10" fmla="*/ 703113 h 1897237"/>
              <a:gd name="connsiteX11" fmla="*/ 1222133 w 1394472"/>
              <a:gd name="connsiteY11" fmla="*/ 1254923 h 1897237"/>
              <a:gd name="connsiteX12" fmla="*/ 995660 w 1394472"/>
              <a:gd name="connsiteY12" fmla="*/ 1627315 h 1897237"/>
              <a:gd name="connsiteX13" fmla="*/ 807516 w 1394472"/>
              <a:gd name="connsiteY13" fmla="*/ 1718919 h 1897237"/>
              <a:gd name="connsiteX14" fmla="*/ 783451 w 1394472"/>
              <a:gd name="connsiteY14" fmla="*/ 1534953 h 1897237"/>
              <a:gd name="connsiteX15" fmla="*/ 929727 w 1394472"/>
              <a:gd name="connsiteY15" fmla="*/ 1254631 h 1897237"/>
              <a:gd name="connsiteX16" fmla="*/ 885295 w 1394472"/>
              <a:gd name="connsiteY16" fmla="*/ 783142 h 1897237"/>
              <a:gd name="connsiteX17" fmla="*/ 678233 w 1394472"/>
              <a:gd name="connsiteY17" fmla="*/ 163613 h 1897237"/>
              <a:gd name="connsiteX18" fmla="*/ 498106 w 1394472"/>
              <a:gd name="connsiteY18" fmla="*/ 759004 h 1897237"/>
              <a:gd name="connsiteX19" fmla="*/ 458015 w 1394472"/>
              <a:gd name="connsiteY19" fmla="*/ 1183751 h 1897237"/>
              <a:gd name="connsiteX20" fmla="*/ 604680 w 1394472"/>
              <a:gd name="connsiteY20" fmla="*/ 1502416 h 1897237"/>
              <a:gd name="connsiteX21" fmla="*/ 620213 w 1394472"/>
              <a:gd name="connsiteY21" fmla="*/ 1735254 h 1897237"/>
              <a:gd name="connsiteX22" fmla="*/ 302030 w 1394472"/>
              <a:gd name="connsiteY22" fmla="*/ 1539145 h 1897237"/>
              <a:gd name="connsiteX23" fmla="*/ 129208 w 1394472"/>
              <a:gd name="connsiteY23" fmla="*/ 1199252 h 1897237"/>
              <a:gd name="connsiteX24" fmla="*/ 95856 w 1394472"/>
              <a:gd name="connsiteY24" fmla="*/ 710723 h 1897237"/>
              <a:gd name="connsiteX25" fmla="*/ 234159 w 1394472"/>
              <a:gd name="connsiteY25" fmla="*/ 257236 h 1897237"/>
              <a:gd name="connsiteX26" fmla="*/ 374758 w 1394472"/>
              <a:gd name="connsiteY26" fmla="*/ 11199 h 1897237"/>
              <a:gd name="connsiteX0" fmla="*/ 374758 w 1391587"/>
              <a:gd name="connsiteY0" fmla="*/ 11199 h 1897237"/>
              <a:gd name="connsiteX1" fmla="*/ 22053 w 1391587"/>
              <a:gd name="connsiteY1" fmla="*/ 620836 h 1897237"/>
              <a:gd name="connsiteX2" fmla="*/ 45421 w 1391587"/>
              <a:gd name="connsiteY2" fmla="*/ 1274244 h 1897237"/>
              <a:gd name="connsiteX3" fmla="*/ 294986 w 1391587"/>
              <a:gd name="connsiteY3" fmla="*/ 1691084 h 1897237"/>
              <a:gd name="connsiteX4" fmla="*/ 601070 w 1391587"/>
              <a:gd name="connsiteY4" fmla="*/ 1886137 h 1897237"/>
              <a:gd name="connsiteX5" fmla="*/ 940661 w 1391587"/>
              <a:gd name="connsiteY5" fmla="*/ 1819838 h 1897237"/>
              <a:gd name="connsiteX6" fmla="*/ 1291082 w 1391587"/>
              <a:gd name="connsiteY6" fmla="*/ 1380751 h 1897237"/>
              <a:gd name="connsiteX7" fmla="*/ 1382260 w 1391587"/>
              <a:gd name="connsiteY7" fmla="*/ 655533 h 1897237"/>
              <a:gd name="connsiteX8" fmla="*/ 1064364 w 1391587"/>
              <a:gd name="connsiteY8" fmla="*/ 36305 h 1897237"/>
              <a:gd name="connsiteX9" fmla="*/ 1164117 w 1391587"/>
              <a:gd name="connsiteY9" fmla="*/ 242582 h 1897237"/>
              <a:gd name="connsiteX10" fmla="*/ 1299285 w 1391587"/>
              <a:gd name="connsiteY10" fmla="*/ 703113 h 1897237"/>
              <a:gd name="connsiteX11" fmla="*/ 1222133 w 1391587"/>
              <a:gd name="connsiteY11" fmla="*/ 1254923 h 1897237"/>
              <a:gd name="connsiteX12" fmla="*/ 995660 w 1391587"/>
              <a:gd name="connsiteY12" fmla="*/ 1627315 h 1897237"/>
              <a:gd name="connsiteX13" fmla="*/ 807516 w 1391587"/>
              <a:gd name="connsiteY13" fmla="*/ 1718919 h 1897237"/>
              <a:gd name="connsiteX14" fmla="*/ 783451 w 1391587"/>
              <a:gd name="connsiteY14" fmla="*/ 1534953 h 1897237"/>
              <a:gd name="connsiteX15" fmla="*/ 929727 w 1391587"/>
              <a:gd name="connsiteY15" fmla="*/ 1254631 h 1897237"/>
              <a:gd name="connsiteX16" fmla="*/ 885295 w 1391587"/>
              <a:gd name="connsiteY16" fmla="*/ 783142 h 1897237"/>
              <a:gd name="connsiteX17" fmla="*/ 678233 w 1391587"/>
              <a:gd name="connsiteY17" fmla="*/ 163613 h 1897237"/>
              <a:gd name="connsiteX18" fmla="*/ 498106 w 1391587"/>
              <a:gd name="connsiteY18" fmla="*/ 759004 h 1897237"/>
              <a:gd name="connsiteX19" fmla="*/ 458015 w 1391587"/>
              <a:gd name="connsiteY19" fmla="*/ 1183751 h 1897237"/>
              <a:gd name="connsiteX20" fmla="*/ 604680 w 1391587"/>
              <a:gd name="connsiteY20" fmla="*/ 1502416 h 1897237"/>
              <a:gd name="connsiteX21" fmla="*/ 620213 w 1391587"/>
              <a:gd name="connsiteY21" fmla="*/ 1735254 h 1897237"/>
              <a:gd name="connsiteX22" fmla="*/ 302030 w 1391587"/>
              <a:gd name="connsiteY22" fmla="*/ 1539145 h 1897237"/>
              <a:gd name="connsiteX23" fmla="*/ 129208 w 1391587"/>
              <a:gd name="connsiteY23" fmla="*/ 1199252 h 1897237"/>
              <a:gd name="connsiteX24" fmla="*/ 95856 w 1391587"/>
              <a:gd name="connsiteY24" fmla="*/ 710723 h 1897237"/>
              <a:gd name="connsiteX25" fmla="*/ 234159 w 1391587"/>
              <a:gd name="connsiteY25" fmla="*/ 257236 h 1897237"/>
              <a:gd name="connsiteX26" fmla="*/ 374758 w 1391587"/>
              <a:gd name="connsiteY26" fmla="*/ 11199 h 1897237"/>
              <a:gd name="connsiteX0" fmla="*/ 374758 w 1389319"/>
              <a:gd name="connsiteY0" fmla="*/ 11199 h 1897237"/>
              <a:gd name="connsiteX1" fmla="*/ 22053 w 1389319"/>
              <a:gd name="connsiteY1" fmla="*/ 620836 h 1897237"/>
              <a:gd name="connsiteX2" fmla="*/ 45421 w 1389319"/>
              <a:gd name="connsiteY2" fmla="*/ 1274244 h 1897237"/>
              <a:gd name="connsiteX3" fmla="*/ 294986 w 1389319"/>
              <a:gd name="connsiteY3" fmla="*/ 1691084 h 1897237"/>
              <a:gd name="connsiteX4" fmla="*/ 601070 w 1389319"/>
              <a:gd name="connsiteY4" fmla="*/ 1886137 h 1897237"/>
              <a:gd name="connsiteX5" fmla="*/ 940661 w 1389319"/>
              <a:gd name="connsiteY5" fmla="*/ 1819838 h 1897237"/>
              <a:gd name="connsiteX6" fmla="*/ 1291082 w 1389319"/>
              <a:gd name="connsiteY6" fmla="*/ 1380751 h 1897237"/>
              <a:gd name="connsiteX7" fmla="*/ 1382260 w 1389319"/>
              <a:gd name="connsiteY7" fmla="*/ 655533 h 1897237"/>
              <a:gd name="connsiteX8" fmla="*/ 1064364 w 1389319"/>
              <a:gd name="connsiteY8" fmla="*/ 36305 h 1897237"/>
              <a:gd name="connsiteX9" fmla="*/ 1164117 w 1389319"/>
              <a:gd name="connsiteY9" fmla="*/ 242582 h 1897237"/>
              <a:gd name="connsiteX10" fmla="*/ 1299285 w 1389319"/>
              <a:gd name="connsiteY10" fmla="*/ 703113 h 1897237"/>
              <a:gd name="connsiteX11" fmla="*/ 1222133 w 1389319"/>
              <a:gd name="connsiteY11" fmla="*/ 1254923 h 1897237"/>
              <a:gd name="connsiteX12" fmla="*/ 995660 w 1389319"/>
              <a:gd name="connsiteY12" fmla="*/ 1627315 h 1897237"/>
              <a:gd name="connsiteX13" fmla="*/ 807516 w 1389319"/>
              <a:gd name="connsiteY13" fmla="*/ 1718919 h 1897237"/>
              <a:gd name="connsiteX14" fmla="*/ 783451 w 1389319"/>
              <a:gd name="connsiteY14" fmla="*/ 1534953 h 1897237"/>
              <a:gd name="connsiteX15" fmla="*/ 929727 w 1389319"/>
              <a:gd name="connsiteY15" fmla="*/ 1254631 h 1897237"/>
              <a:gd name="connsiteX16" fmla="*/ 885295 w 1389319"/>
              <a:gd name="connsiteY16" fmla="*/ 783142 h 1897237"/>
              <a:gd name="connsiteX17" fmla="*/ 678233 w 1389319"/>
              <a:gd name="connsiteY17" fmla="*/ 163613 h 1897237"/>
              <a:gd name="connsiteX18" fmla="*/ 498106 w 1389319"/>
              <a:gd name="connsiteY18" fmla="*/ 759004 h 1897237"/>
              <a:gd name="connsiteX19" fmla="*/ 458015 w 1389319"/>
              <a:gd name="connsiteY19" fmla="*/ 1183751 h 1897237"/>
              <a:gd name="connsiteX20" fmla="*/ 604680 w 1389319"/>
              <a:gd name="connsiteY20" fmla="*/ 1502416 h 1897237"/>
              <a:gd name="connsiteX21" fmla="*/ 620213 w 1389319"/>
              <a:gd name="connsiteY21" fmla="*/ 1735254 h 1897237"/>
              <a:gd name="connsiteX22" fmla="*/ 302030 w 1389319"/>
              <a:gd name="connsiteY22" fmla="*/ 1539145 h 1897237"/>
              <a:gd name="connsiteX23" fmla="*/ 129208 w 1389319"/>
              <a:gd name="connsiteY23" fmla="*/ 1199252 h 1897237"/>
              <a:gd name="connsiteX24" fmla="*/ 95856 w 1389319"/>
              <a:gd name="connsiteY24" fmla="*/ 710723 h 1897237"/>
              <a:gd name="connsiteX25" fmla="*/ 234159 w 1389319"/>
              <a:gd name="connsiteY25" fmla="*/ 257236 h 1897237"/>
              <a:gd name="connsiteX26" fmla="*/ 374758 w 1389319"/>
              <a:gd name="connsiteY26" fmla="*/ 11199 h 1897237"/>
              <a:gd name="connsiteX0" fmla="*/ 374758 w 1389319"/>
              <a:gd name="connsiteY0" fmla="*/ 11199 h 1897237"/>
              <a:gd name="connsiteX1" fmla="*/ 22053 w 1389319"/>
              <a:gd name="connsiteY1" fmla="*/ 620836 h 1897237"/>
              <a:gd name="connsiteX2" fmla="*/ 45421 w 1389319"/>
              <a:gd name="connsiteY2" fmla="*/ 1274244 h 1897237"/>
              <a:gd name="connsiteX3" fmla="*/ 294986 w 1389319"/>
              <a:gd name="connsiteY3" fmla="*/ 1691084 h 1897237"/>
              <a:gd name="connsiteX4" fmla="*/ 601070 w 1389319"/>
              <a:gd name="connsiteY4" fmla="*/ 1886137 h 1897237"/>
              <a:gd name="connsiteX5" fmla="*/ 940661 w 1389319"/>
              <a:gd name="connsiteY5" fmla="*/ 1819838 h 1897237"/>
              <a:gd name="connsiteX6" fmla="*/ 1291082 w 1389319"/>
              <a:gd name="connsiteY6" fmla="*/ 1380751 h 1897237"/>
              <a:gd name="connsiteX7" fmla="*/ 1382260 w 1389319"/>
              <a:gd name="connsiteY7" fmla="*/ 655533 h 1897237"/>
              <a:gd name="connsiteX8" fmla="*/ 1064364 w 1389319"/>
              <a:gd name="connsiteY8" fmla="*/ 36305 h 1897237"/>
              <a:gd name="connsiteX9" fmla="*/ 1164117 w 1389319"/>
              <a:gd name="connsiteY9" fmla="*/ 242582 h 1897237"/>
              <a:gd name="connsiteX10" fmla="*/ 1299285 w 1389319"/>
              <a:gd name="connsiteY10" fmla="*/ 703113 h 1897237"/>
              <a:gd name="connsiteX11" fmla="*/ 1222133 w 1389319"/>
              <a:gd name="connsiteY11" fmla="*/ 1254923 h 1897237"/>
              <a:gd name="connsiteX12" fmla="*/ 995660 w 1389319"/>
              <a:gd name="connsiteY12" fmla="*/ 1627315 h 1897237"/>
              <a:gd name="connsiteX13" fmla="*/ 807516 w 1389319"/>
              <a:gd name="connsiteY13" fmla="*/ 1718919 h 1897237"/>
              <a:gd name="connsiteX14" fmla="*/ 783451 w 1389319"/>
              <a:gd name="connsiteY14" fmla="*/ 1534953 h 1897237"/>
              <a:gd name="connsiteX15" fmla="*/ 929727 w 1389319"/>
              <a:gd name="connsiteY15" fmla="*/ 1254631 h 1897237"/>
              <a:gd name="connsiteX16" fmla="*/ 885295 w 1389319"/>
              <a:gd name="connsiteY16" fmla="*/ 783142 h 1897237"/>
              <a:gd name="connsiteX17" fmla="*/ 678233 w 1389319"/>
              <a:gd name="connsiteY17" fmla="*/ 163613 h 1897237"/>
              <a:gd name="connsiteX18" fmla="*/ 498106 w 1389319"/>
              <a:gd name="connsiteY18" fmla="*/ 759004 h 1897237"/>
              <a:gd name="connsiteX19" fmla="*/ 458015 w 1389319"/>
              <a:gd name="connsiteY19" fmla="*/ 1183751 h 1897237"/>
              <a:gd name="connsiteX20" fmla="*/ 604680 w 1389319"/>
              <a:gd name="connsiteY20" fmla="*/ 1502416 h 1897237"/>
              <a:gd name="connsiteX21" fmla="*/ 620213 w 1389319"/>
              <a:gd name="connsiteY21" fmla="*/ 1735254 h 1897237"/>
              <a:gd name="connsiteX22" fmla="*/ 302030 w 1389319"/>
              <a:gd name="connsiteY22" fmla="*/ 1539145 h 1897237"/>
              <a:gd name="connsiteX23" fmla="*/ 129208 w 1389319"/>
              <a:gd name="connsiteY23" fmla="*/ 1199252 h 1897237"/>
              <a:gd name="connsiteX24" fmla="*/ 95856 w 1389319"/>
              <a:gd name="connsiteY24" fmla="*/ 710723 h 1897237"/>
              <a:gd name="connsiteX25" fmla="*/ 234159 w 1389319"/>
              <a:gd name="connsiteY25" fmla="*/ 257236 h 1897237"/>
              <a:gd name="connsiteX26" fmla="*/ 374758 w 1389319"/>
              <a:gd name="connsiteY26" fmla="*/ 11199 h 1897237"/>
              <a:gd name="connsiteX0" fmla="*/ 374758 w 1389319"/>
              <a:gd name="connsiteY0" fmla="*/ 11199 h 1897237"/>
              <a:gd name="connsiteX1" fmla="*/ 22053 w 1389319"/>
              <a:gd name="connsiteY1" fmla="*/ 620836 h 1897237"/>
              <a:gd name="connsiteX2" fmla="*/ 45421 w 1389319"/>
              <a:gd name="connsiteY2" fmla="*/ 1274244 h 1897237"/>
              <a:gd name="connsiteX3" fmla="*/ 294986 w 1389319"/>
              <a:gd name="connsiteY3" fmla="*/ 1691084 h 1897237"/>
              <a:gd name="connsiteX4" fmla="*/ 601070 w 1389319"/>
              <a:gd name="connsiteY4" fmla="*/ 1886137 h 1897237"/>
              <a:gd name="connsiteX5" fmla="*/ 940661 w 1389319"/>
              <a:gd name="connsiteY5" fmla="*/ 1819838 h 1897237"/>
              <a:gd name="connsiteX6" fmla="*/ 1291082 w 1389319"/>
              <a:gd name="connsiteY6" fmla="*/ 1380751 h 1897237"/>
              <a:gd name="connsiteX7" fmla="*/ 1382260 w 1389319"/>
              <a:gd name="connsiteY7" fmla="*/ 655533 h 1897237"/>
              <a:gd name="connsiteX8" fmla="*/ 1064364 w 1389319"/>
              <a:gd name="connsiteY8" fmla="*/ 36305 h 1897237"/>
              <a:gd name="connsiteX9" fmla="*/ 1164117 w 1389319"/>
              <a:gd name="connsiteY9" fmla="*/ 242582 h 1897237"/>
              <a:gd name="connsiteX10" fmla="*/ 1299285 w 1389319"/>
              <a:gd name="connsiteY10" fmla="*/ 703113 h 1897237"/>
              <a:gd name="connsiteX11" fmla="*/ 1222133 w 1389319"/>
              <a:gd name="connsiteY11" fmla="*/ 1254923 h 1897237"/>
              <a:gd name="connsiteX12" fmla="*/ 995660 w 1389319"/>
              <a:gd name="connsiteY12" fmla="*/ 1627315 h 1897237"/>
              <a:gd name="connsiteX13" fmla="*/ 807516 w 1389319"/>
              <a:gd name="connsiteY13" fmla="*/ 1718919 h 1897237"/>
              <a:gd name="connsiteX14" fmla="*/ 783451 w 1389319"/>
              <a:gd name="connsiteY14" fmla="*/ 1534953 h 1897237"/>
              <a:gd name="connsiteX15" fmla="*/ 929727 w 1389319"/>
              <a:gd name="connsiteY15" fmla="*/ 1254631 h 1897237"/>
              <a:gd name="connsiteX16" fmla="*/ 885295 w 1389319"/>
              <a:gd name="connsiteY16" fmla="*/ 783142 h 1897237"/>
              <a:gd name="connsiteX17" fmla="*/ 678233 w 1389319"/>
              <a:gd name="connsiteY17" fmla="*/ 163613 h 1897237"/>
              <a:gd name="connsiteX18" fmla="*/ 498106 w 1389319"/>
              <a:gd name="connsiteY18" fmla="*/ 759004 h 1897237"/>
              <a:gd name="connsiteX19" fmla="*/ 458015 w 1389319"/>
              <a:gd name="connsiteY19" fmla="*/ 1183751 h 1897237"/>
              <a:gd name="connsiteX20" fmla="*/ 604680 w 1389319"/>
              <a:gd name="connsiteY20" fmla="*/ 1502416 h 1897237"/>
              <a:gd name="connsiteX21" fmla="*/ 620213 w 1389319"/>
              <a:gd name="connsiteY21" fmla="*/ 1735254 h 1897237"/>
              <a:gd name="connsiteX22" fmla="*/ 302030 w 1389319"/>
              <a:gd name="connsiteY22" fmla="*/ 1539145 h 1897237"/>
              <a:gd name="connsiteX23" fmla="*/ 129208 w 1389319"/>
              <a:gd name="connsiteY23" fmla="*/ 1199252 h 1897237"/>
              <a:gd name="connsiteX24" fmla="*/ 95856 w 1389319"/>
              <a:gd name="connsiteY24" fmla="*/ 710723 h 1897237"/>
              <a:gd name="connsiteX25" fmla="*/ 234159 w 1389319"/>
              <a:gd name="connsiteY25" fmla="*/ 257236 h 1897237"/>
              <a:gd name="connsiteX26" fmla="*/ 374758 w 1389319"/>
              <a:gd name="connsiteY26" fmla="*/ 11199 h 189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89319" h="1897237">
                <a:moveTo>
                  <a:pt x="374758" y="11199"/>
                </a:moveTo>
                <a:cubicBezTo>
                  <a:pt x="165561" y="188585"/>
                  <a:pt x="59375" y="384460"/>
                  <a:pt x="22053" y="620836"/>
                </a:cubicBezTo>
                <a:cubicBezTo>
                  <a:pt x="-17631" y="792515"/>
                  <a:pt x="-68" y="1095869"/>
                  <a:pt x="45421" y="1274244"/>
                </a:cubicBezTo>
                <a:cubicBezTo>
                  <a:pt x="90910" y="1452619"/>
                  <a:pt x="202378" y="1589102"/>
                  <a:pt x="294986" y="1691084"/>
                </a:cubicBezTo>
                <a:cubicBezTo>
                  <a:pt x="387594" y="1793066"/>
                  <a:pt x="493458" y="1864678"/>
                  <a:pt x="601070" y="1886137"/>
                </a:cubicBezTo>
                <a:cubicBezTo>
                  <a:pt x="708682" y="1907596"/>
                  <a:pt x="825659" y="1904069"/>
                  <a:pt x="940661" y="1819838"/>
                </a:cubicBezTo>
                <a:cubicBezTo>
                  <a:pt x="1055663" y="1735607"/>
                  <a:pt x="1217482" y="1574802"/>
                  <a:pt x="1291082" y="1380751"/>
                </a:cubicBezTo>
                <a:cubicBezTo>
                  <a:pt x="1364682" y="1186700"/>
                  <a:pt x="1406923" y="909909"/>
                  <a:pt x="1382260" y="655533"/>
                </a:cubicBezTo>
                <a:cubicBezTo>
                  <a:pt x="1357597" y="401157"/>
                  <a:pt x="1143671" y="82603"/>
                  <a:pt x="1064364" y="36305"/>
                </a:cubicBezTo>
                <a:cubicBezTo>
                  <a:pt x="985057" y="-9993"/>
                  <a:pt x="1124964" y="131447"/>
                  <a:pt x="1164117" y="242582"/>
                </a:cubicBezTo>
                <a:cubicBezTo>
                  <a:pt x="1203271" y="353717"/>
                  <a:pt x="1289616" y="534390"/>
                  <a:pt x="1299285" y="703113"/>
                </a:cubicBezTo>
                <a:cubicBezTo>
                  <a:pt x="1308954" y="871836"/>
                  <a:pt x="1272737" y="1100889"/>
                  <a:pt x="1222133" y="1254923"/>
                </a:cubicBezTo>
                <a:cubicBezTo>
                  <a:pt x="1171529" y="1408957"/>
                  <a:pt x="1064763" y="1549982"/>
                  <a:pt x="995660" y="1627315"/>
                </a:cubicBezTo>
                <a:cubicBezTo>
                  <a:pt x="926557" y="1704648"/>
                  <a:pt x="842884" y="1734313"/>
                  <a:pt x="807516" y="1718919"/>
                </a:cubicBezTo>
                <a:cubicBezTo>
                  <a:pt x="772148" y="1703525"/>
                  <a:pt x="763082" y="1612334"/>
                  <a:pt x="783451" y="1534953"/>
                </a:cubicBezTo>
                <a:cubicBezTo>
                  <a:pt x="803820" y="1457572"/>
                  <a:pt x="912753" y="1379933"/>
                  <a:pt x="929727" y="1254631"/>
                </a:cubicBezTo>
                <a:cubicBezTo>
                  <a:pt x="946701" y="1129329"/>
                  <a:pt x="927211" y="964978"/>
                  <a:pt x="885295" y="783142"/>
                </a:cubicBezTo>
                <a:cubicBezTo>
                  <a:pt x="843379" y="601306"/>
                  <a:pt x="742764" y="167636"/>
                  <a:pt x="678233" y="163613"/>
                </a:cubicBezTo>
                <a:cubicBezTo>
                  <a:pt x="613702" y="159590"/>
                  <a:pt x="534809" y="588981"/>
                  <a:pt x="498106" y="759004"/>
                </a:cubicBezTo>
                <a:cubicBezTo>
                  <a:pt x="461403" y="929027"/>
                  <a:pt x="429233" y="992287"/>
                  <a:pt x="458015" y="1183751"/>
                </a:cubicBezTo>
                <a:cubicBezTo>
                  <a:pt x="486797" y="1375215"/>
                  <a:pt x="577647" y="1410499"/>
                  <a:pt x="604680" y="1502416"/>
                </a:cubicBezTo>
                <a:cubicBezTo>
                  <a:pt x="631713" y="1594333"/>
                  <a:pt x="670655" y="1729133"/>
                  <a:pt x="620213" y="1735254"/>
                </a:cubicBezTo>
                <a:cubicBezTo>
                  <a:pt x="569771" y="1741375"/>
                  <a:pt x="383864" y="1628479"/>
                  <a:pt x="302030" y="1539145"/>
                </a:cubicBezTo>
                <a:cubicBezTo>
                  <a:pt x="220196" y="1449811"/>
                  <a:pt x="161530" y="1323988"/>
                  <a:pt x="129208" y="1199252"/>
                </a:cubicBezTo>
                <a:cubicBezTo>
                  <a:pt x="96886" y="1074516"/>
                  <a:pt x="84412" y="854845"/>
                  <a:pt x="95856" y="710723"/>
                </a:cubicBezTo>
                <a:cubicBezTo>
                  <a:pt x="107300" y="566601"/>
                  <a:pt x="187675" y="373823"/>
                  <a:pt x="234159" y="257236"/>
                </a:cubicBezTo>
                <a:cubicBezTo>
                  <a:pt x="280643" y="140649"/>
                  <a:pt x="418298" y="-47910"/>
                  <a:pt x="374758" y="11199"/>
                </a:cubicBezTo>
                <a:close/>
              </a:path>
            </a:pathLst>
          </a:custGeom>
          <a:gradFill flip="none" rotWithShape="1">
            <a:gsLst>
              <a:gs pos="0">
                <a:schemeClr val="accent3">
                  <a:lumMod val="20000"/>
                  <a:lumOff val="80000"/>
                </a:schemeClr>
              </a:gs>
              <a:gs pos="59000">
                <a:schemeClr val="accent3">
                  <a:lumMod val="89000"/>
                </a:schemeClr>
              </a:gs>
              <a:gs pos="69000">
                <a:schemeClr val="accent3">
                  <a:lumMod val="75000"/>
                </a:schemeClr>
              </a:gs>
              <a:gs pos="97000">
                <a:schemeClr val="accent3">
                  <a:lumMod val="50000"/>
                </a:schemeClr>
              </a:gs>
            </a:gsLst>
            <a:lin ang="5400000" scaled="1"/>
            <a:tileRect/>
          </a:gradFill>
          <a:ln w="9525" cap="flat" cmpd="sng" algn="ctr">
            <a:noFill/>
            <a:prstDash val="dash"/>
            <a:round/>
            <a:headEnd type="none" w="med" len="med"/>
            <a:tailEnd type="none" w="med" len="med"/>
          </a:ln>
          <a:effectLst>
            <a:softEdge rad="0"/>
          </a:effectLst>
          <a:scene3d>
            <a:camera prst="orthographicFront"/>
            <a:lightRig rig="threePt" dir="t">
              <a:rot lat="0" lon="0" rev="5400000"/>
            </a:lightRig>
          </a:scene3d>
          <a:sp3d>
            <a:bevelT w="152400" h="50800" prst="softRound"/>
          </a:sp3d>
        </p:spPr>
        <p:txBody>
          <a:bodyPr vert="horz" wrap="square" lIns="91440" tIns="45720" rIns="91440" bIns="45720" numCol="1" rtlCol="0" anchor="t" anchorCtr="0" compatLnSpc="1">
            <a:prstTxWarp prst="textNoShape">
              <a:avLst/>
            </a:prstTxWarp>
          </a:bodyPr>
          <a:lstStyle/>
          <a:p>
            <a:pPr eaLnBrk="0" hangingPunct="0"/>
            <a:endParaRPr lang="en-US" sz="2800">
              <a:latin typeface="Century Gothic Pro" panose="020B0502020202020204" pitchFamily="34" charset="0"/>
              <a:ea typeface="ヒラギノ角ゴ Pro W3" pitchFamily="48" charset="-128"/>
              <a:cs typeface="Arial" charset="0"/>
            </a:endParaRPr>
          </a:p>
        </p:txBody>
      </p:sp>
      <p:cxnSp>
        <p:nvCxnSpPr>
          <p:cNvPr id="153" name="Straight Arrow Connector 152"/>
          <p:cNvCxnSpPr/>
          <p:nvPr/>
        </p:nvCxnSpPr>
        <p:spPr>
          <a:xfrm flipV="1">
            <a:off x="1390633" y="4765519"/>
            <a:ext cx="439232" cy="439362"/>
          </a:xfrm>
          <a:prstGeom prst="straightConnector1">
            <a:avLst/>
          </a:prstGeom>
          <a:ln w="952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54" name="Straight Arrow Connector 153"/>
          <p:cNvCxnSpPr>
            <a:endCxn id="150" idx="4"/>
          </p:cNvCxnSpPr>
          <p:nvPr/>
        </p:nvCxnSpPr>
        <p:spPr>
          <a:xfrm flipV="1">
            <a:off x="1413789" y="4253232"/>
            <a:ext cx="416077" cy="951652"/>
          </a:xfrm>
          <a:prstGeom prst="straightConnector1">
            <a:avLst/>
          </a:prstGeom>
          <a:ln w="952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55" name="Straight Arrow Connector 154"/>
          <p:cNvCxnSpPr>
            <a:endCxn id="147" idx="3"/>
          </p:cNvCxnSpPr>
          <p:nvPr/>
        </p:nvCxnSpPr>
        <p:spPr>
          <a:xfrm flipH="1" flipV="1">
            <a:off x="1032387" y="4637392"/>
            <a:ext cx="355306" cy="573008"/>
          </a:xfrm>
          <a:prstGeom prst="straightConnector1">
            <a:avLst/>
          </a:prstGeom>
          <a:ln w="952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56" name="Straight Arrow Connector 155"/>
          <p:cNvCxnSpPr/>
          <p:nvPr/>
        </p:nvCxnSpPr>
        <p:spPr>
          <a:xfrm flipH="1" flipV="1">
            <a:off x="967948" y="5042269"/>
            <a:ext cx="428250" cy="176238"/>
          </a:xfrm>
          <a:prstGeom prst="straightConnector1">
            <a:avLst/>
          </a:prstGeom>
          <a:ln w="952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57" name="Straight Arrow Connector 156"/>
          <p:cNvCxnSpPr/>
          <p:nvPr/>
        </p:nvCxnSpPr>
        <p:spPr>
          <a:xfrm flipH="1" flipV="1">
            <a:off x="1171830" y="4261721"/>
            <a:ext cx="225288" cy="943163"/>
          </a:xfrm>
          <a:prstGeom prst="straightConnector1">
            <a:avLst/>
          </a:prstGeom>
          <a:ln w="952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58" name="Straight Arrow Connector 157"/>
          <p:cNvCxnSpPr>
            <a:endCxn id="148" idx="1"/>
          </p:cNvCxnSpPr>
          <p:nvPr/>
        </p:nvCxnSpPr>
        <p:spPr>
          <a:xfrm flipV="1">
            <a:off x="1408078" y="5174374"/>
            <a:ext cx="302354" cy="30508"/>
          </a:xfrm>
          <a:prstGeom prst="straightConnector1">
            <a:avLst/>
          </a:prstGeom>
          <a:ln w="952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11" name="TextBox 110"/>
          <p:cNvSpPr txBox="1"/>
          <p:nvPr/>
        </p:nvSpPr>
        <p:spPr>
          <a:xfrm>
            <a:off x="1339762" y="3014329"/>
            <a:ext cx="981359" cy="1134670"/>
          </a:xfrm>
          <a:prstGeom prst="rect">
            <a:avLst/>
          </a:prstGeom>
          <a:solidFill>
            <a:schemeClr val="accent1">
              <a:alpha val="89804"/>
            </a:schemeClr>
          </a:solidFill>
          <a:effectLst>
            <a:softEdge rad="63500"/>
          </a:effectLst>
        </p:spPr>
        <p:txBody>
          <a:bodyPr wrap="none" rtlCol="0">
            <a:spAutoFit/>
          </a:bodyPr>
          <a:lstStyle/>
          <a:p>
            <a:pPr>
              <a:lnSpc>
                <a:spcPts val="1600"/>
              </a:lnSpc>
            </a:pPr>
            <a:r>
              <a:rPr lang="fr-FR" sz="1050" b="1" dirty="0" err="1">
                <a:latin typeface="Century Gothic Pro" panose="020B0502020202020204" pitchFamily="34" charset="0"/>
              </a:rPr>
              <a:t>Versican</a:t>
            </a:r>
            <a:endParaRPr lang="fr-FR" sz="1050" b="1" dirty="0">
              <a:latin typeface="Century Gothic Pro" panose="020B0502020202020204" pitchFamily="34" charset="0"/>
            </a:endParaRPr>
          </a:p>
          <a:p>
            <a:pPr>
              <a:lnSpc>
                <a:spcPts val="1600"/>
              </a:lnSpc>
            </a:pPr>
            <a:r>
              <a:rPr lang="fr-FR" sz="1050" b="1" dirty="0" err="1">
                <a:latin typeface="Century Gothic Pro" panose="020B0502020202020204" pitchFamily="34" charset="0"/>
              </a:rPr>
              <a:t>Noggin</a:t>
            </a:r>
            <a:r>
              <a:rPr lang="fr-FR" sz="1050" b="1" dirty="0">
                <a:latin typeface="Century Gothic Pro" panose="020B0502020202020204" pitchFamily="34" charset="0"/>
              </a:rPr>
              <a:t> </a:t>
            </a:r>
          </a:p>
          <a:p>
            <a:pPr>
              <a:spcBef>
                <a:spcPct val="20000"/>
              </a:spcBef>
              <a:defRPr/>
            </a:pPr>
            <a:r>
              <a:rPr lang="en-US" sz="1200" b="1" dirty="0">
                <a:latin typeface="Century Gothic Pro" panose="020B0502020202020204" pitchFamily="34" charset="0"/>
                <a:sym typeface="Symbol"/>
              </a:rPr>
              <a:t></a:t>
            </a:r>
            <a:r>
              <a:rPr lang="en-US" sz="1200" b="1" dirty="0">
                <a:latin typeface="Century Gothic Pro" panose="020B0502020202020204" pitchFamily="34" charset="0"/>
              </a:rPr>
              <a:t>1-Integrin</a:t>
            </a:r>
            <a:endParaRPr lang="fr-FR" sz="1050" b="1" dirty="0">
              <a:latin typeface="Century Gothic Pro" panose="020B0502020202020204" pitchFamily="34" charset="0"/>
            </a:endParaRPr>
          </a:p>
          <a:p>
            <a:pPr>
              <a:lnSpc>
                <a:spcPts val="1600"/>
              </a:lnSpc>
            </a:pPr>
            <a:r>
              <a:rPr lang="fr-FR" sz="1050" b="1" dirty="0">
                <a:latin typeface="Century Gothic Pro" panose="020B0502020202020204" pitchFamily="34" charset="0"/>
              </a:rPr>
              <a:t>Ki67</a:t>
            </a:r>
          </a:p>
          <a:p>
            <a:pPr>
              <a:lnSpc>
                <a:spcPts val="1600"/>
              </a:lnSpc>
            </a:pPr>
            <a:r>
              <a:rPr lang="fr-FR" sz="1050" b="1" dirty="0">
                <a:latin typeface="Century Gothic Pro" panose="020B0502020202020204" pitchFamily="34" charset="0"/>
              </a:rPr>
              <a:t>p63</a:t>
            </a:r>
          </a:p>
        </p:txBody>
      </p:sp>
      <p:sp>
        <p:nvSpPr>
          <p:cNvPr id="135" name="Rectangle 134"/>
          <p:cNvSpPr/>
          <p:nvPr/>
        </p:nvSpPr>
        <p:spPr>
          <a:xfrm>
            <a:off x="678213" y="2409012"/>
            <a:ext cx="1685319" cy="276999"/>
          </a:xfrm>
          <a:prstGeom prst="rect">
            <a:avLst/>
          </a:prstGeom>
          <a:solidFill>
            <a:schemeClr val="accent1">
              <a:alpha val="89804"/>
            </a:schemeClr>
          </a:solidFill>
          <a:effectLst>
            <a:softEdge rad="63500"/>
          </a:effectLst>
        </p:spPr>
        <p:txBody>
          <a:bodyPr wrap="square" lIns="36000" rIns="36000">
            <a:spAutoFit/>
          </a:bodyPr>
          <a:lstStyle/>
          <a:p>
            <a:pPr algn="ctr">
              <a:defRPr/>
            </a:pPr>
            <a:r>
              <a:rPr lang="en-US" sz="1200" b="1" dirty="0">
                <a:solidFill>
                  <a:schemeClr val="bg1"/>
                </a:solidFill>
                <a:latin typeface="Century Gothic Pro" panose="020B0502020202020204" pitchFamily="34" charset="0"/>
                <a:cs typeface="Arial" pitchFamily="34" charset="0"/>
              </a:rPr>
              <a:t>Hair Fullness System™</a:t>
            </a:r>
          </a:p>
        </p:txBody>
      </p:sp>
    </p:spTree>
    <p:extLst>
      <p:ext uri="{BB962C8B-B14F-4D97-AF65-F5344CB8AC3E}">
        <p14:creationId xmlns:p14="http://schemas.microsoft.com/office/powerpoint/2010/main" val="1842376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nvSpPr>
        <p:spPr>
          <a:xfrm>
            <a:off x="3161183" y="1428003"/>
            <a:ext cx="5893130" cy="3509780"/>
          </a:xfrm>
          <a:prstGeom prst="rect">
            <a:avLst/>
          </a:prstGeom>
          <a:solidFill>
            <a:schemeClr val="bg1">
              <a:alpha val="1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0" name="TextBox 79">
            <a:hlinkClick r:id="" action="ppaction://noaction"/>
          </p:cNvPr>
          <p:cNvSpPr txBox="1"/>
          <p:nvPr/>
        </p:nvSpPr>
        <p:spPr>
          <a:xfrm>
            <a:off x="3245477" y="3816254"/>
            <a:ext cx="1018301" cy="266355"/>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a:spcBef>
                <a:spcPct val="20000"/>
              </a:spcBef>
              <a:defRPr/>
            </a:pPr>
            <a:r>
              <a:rPr lang="en-US" sz="1131" b="1" dirty="0">
                <a:solidFill>
                  <a:schemeClr val="bg1"/>
                </a:solidFill>
                <a:latin typeface="Arial" panose="020B0604020202020204" pitchFamily="34" charset="0"/>
                <a:cs typeface="Arial" panose="020B0604020202020204" pitchFamily="34" charset="0"/>
              </a:rPr>
              <a:t>Noggin</a:t>
            </a:r>
          </a:p>
        </p:txBody>
      </p:sp>
      <p:sp>
        <p:nvSpPr>
          <p:cNvPr id="81" name="TextBox 80">
            <a:hlinkClick r:id="rId3" action="ppaction://hlinksldjump"/>
          </p:cNvPr>
          <p:cNvSpPr txBox="1"/>
          <p:nvPr/>
        </p:nvSpPr>
        <p:spPr>
          <a:xfrm>
            <a:off x="3245477" y="2420889"/>
            <a:ext cx="1018301" cy="266355"/>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wrap="square">
            <a:spAutoFit/>
          </a:bodyPr>
          <a:lstStyle/>
          <a:p>
            <a:pPr>
              <a:spcBef>
                <a:spcPct val="20000"/>
              </a:spcBef>
              <a:defRPr/>
            </a:pPr>
            <a:r>
              <a:rPr lang="en-US" sz="1131" b="1" dirty="0">
                <a:solidFill>
                  <a:schemeClr val="bg1"/>
                </a:solidFill>
                <a:latin typeface="Arial" panose="020B0604020202020204" pitchFamily="34" charset="0"/>
                <a:cs typeface="Arial" panose="020B0604020202020204" pitchFamily="34" charset="0"/>
                <a:sym typeface="Symbol"/>
              </a:rPr>
              <a:t>Ki67</a:t>
            </a:r>
            <a:endParaRPr lang="en-US" sz="1131" b="1" dirty="0">
              <a:solidFill>
                <a:schemeClr val="bg1"/>
              </a:solidFill>
              <a:latin typeface="Arial" panose="020B0604020202020204" pitchFamily="34" charset="0"/>
              <a:cs typeface="Arial" panose="020B0604020202020204" pitchFamily="34" charset="0"/>
            </a:endParaRPr>
          </a:p>
        </p:txBody>
      </p:sp>
      <p:sp>
        <p:nvSpPr>
          <p:cNvPr id="121" name="Rectangle 33"/>
          <p:cNvSpPr>
            <a:spLocks noChangeArrowheads="1"/>
          </p:cNvSpPr>
          <p:nvPr/>
        </p:nvSpPr>
        <p:spPr bwMode="auto">
          <a:xfrm>
            <a:off x="3161184" y="4937784"/>
            <a:ext cx="6022524" cy="954107"/>
          </a:xfrm>
          <a:prstGeom prst="rect">
            <a:avLst/>
          </a:prstGeom>
          <a:solidFill>
            <a:schemeClr val="bg1">
              <a:alpha val="50196"/>
            </a:schemeClr>
          </a:solidFill>
          <a:ln w="9525">
            <a:noFill/>
            <a:miter lim="800000"/>
            <a:headEnd/>
            <a:tailEnd/>
          </a:ln>
        </p:spPr>
        <p:txBody>
          <a:bodyPr wrap="square" lIns="67887" rIns="67887">
            <a:spAutoFit/>
          </a:bodyPr>
          <a:lstStyle/>
          <a:p>
            <a:r>
              <a:rPr lang="en-US" sz="1400" dirty="0">
                <a:solidFill>
                  <a:schemeClr val="accent5"/>
                </a:solidFill>
                <a:latin typeface="Century Gothic" panose="020B0502020202020204" pitchFamily="34" charset="0"/>
                <a:cs typeface="Arial" panose="020B0604020202020204" pitchFamily="34" charset="0"/>
              </a:rPr>
              <a:t>Capauxein G2 </a:t>
            </a:r>
            <a:r>
              <a:rPr lang="ru-RU" sz="1400" dirty="0">
                <a:solidFill>
                  <a:schemeClr val="accent5"/>
                </a:solidFill>
                <a:latin typeface="Century Gothic" panose="020B0502020202020204" pitchFamily="34" charset="0"/>
                <a:cs typeface="Arial" panose="020B0604020202020204" pitchFamily="34" charset="0"/>
              </a:rPr>
              <a:t>связан с усилением присутствия ключевых маркеров, расположенных в дермальном сосочке или в волосяной луковице </a:t>
            </a:r>
            <a:r>
              <a:rPr lang="en-US" sz="1400" i="1" dirty="0">
                <a:solidFill>
                  <a:schemeClr val="accent5"/>
                </a:solidFill>
                <a:latin typeface="Century Gothic" panose="020B0502020202020204" pitchFamily="34" charset="0"/>
                <a:cs typeface="Arial" panose="020B0604020202020204" pitchFamily="34" charset="0"/>
              </a:rPr>
              <a:t>ex vivo</a:t>
            </a:r>
            <a:r>
              <a:rPr lang="en-US" sz="1400" dirty="0">
                <a:solidFill>
                  <a:schemeClr val="accent5"/>
                </a:solidFill>
                <a:latin typeface="Century Gothic" panose="020B0502020202020204" pitchFamily="34" charset="0"/>
                <a:cs typeface="Arial" panose="020B0604020202020204" pitchFamily="34" charset="0"/>
              </a:rPr>
              <a:t>. </a:t>
            </a:r>
            <a:r>
              <a:rPr lang="ru-RU" sz="1400" dirty="0">
                <a:solidFill>
                  <a:schemeClr val="accent5"/>
                </a:solidFill>
                <a:latin typeface="Century Gothic" panose="020B0502020202020204" pitchFamily="34" charset="0"/>
                <a:cs typeface="Arial" panose="020B0604020202020204" pitchFamily="34" charset="0"/>
              </a:rPr>
              <a:t>Эти маркеры связаны с улучшением связей между дермальным сосочком и матриксом волос. </a:t>
            </a:r>
            <a:endParaRPr lang="en-US" sz="1400" dirty="0">
              <a:solidFill>
                <a:schemeClr val="accent5"/>
              </a:solidFill>
              <a:latin typeface="Century Gothic" panose="020B0502020202020204" pitchFamily="34" charset="0"/>
              <a:cs typeface="Arial" panose="020B0604020202020204" pitchFamily="34" charset="0"/>
            </a:endParaRPr>
          </a:p>
        </p:txBody>
      </p:sp>
      <p:sp>
        <p:nvSpPr>
          <p:cNvPr id="67" name="TextBox 66">
            <a:hlinkClick r:id="" action="ppaction://noaction"/>
          </p:cNvPr>
          <p:cNvSpPr txBox="1"/>
          <p:nvPr/>
        </p:nvSpPr>
        <p:spPr>
          <a:xfrm>
            <a:off x="3214282" y="3162646"/>
            <a:ext cx="1018301" cy="266355"/>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a:spAutoFit/>
          </a:bodyPr>
          <a:lstStyle/>
          <a:p>
            <a:pPr>
              <a:spcBef>
                <a:spcPct val="20000"/>
              </a:spcBef>
              <a:defRPr/>
            </a:pPr>
            <a:r>
              <a:rPr lang="en-US" sz="1131" b="1" dirty="0" err="1">
                <a:solidFill>
                  <a:schemeClr val="bg1"/>
                </a:solidFill>
                <a:latin typeface="Arial" panose="020B0604020202020204" pitchFamily="34" charset="0"/>
                <a:cs typeface="Arial" panose="020B0604020202020204" pitchFamily="34" charset="0"/>
              </a:rPr>
              <a:t>Versican</a:t>
            </a:r>
            <a:endParaRPr lang="en-US" sz="1131" b="1" dirty="0">
              <a:solidFill>
                <a:schemeClr val="bg1"/>
              </a:solidFill>
              <a:latin typeface="Arial" panose="020B0604020202020204" pitchFamily="34" charset="0"/>
              <a:cs typeface="Arial" panose="020B0604020202020204" pitchFamily="34" charset="0"/>
            </a:endParaRPr>
          </a:p>
        </p:txBody>
      </p:sp>
      <p:sp>
        <p:nvSpPr>
          <p:cNvPr id="68" name="TextBox 67">
            <a:hlinkClick r:id="" action="ppaction://noaction"/>
          </p:cNvPr>
          <p:cNvSpPr txBox="1"/>
          <p:nvPr/>
        </p:nvSpPr>
        <p:spPr>
          <a:xfrm>
            <a:off x="3233031" y="4356234"/>
            <a:ext cx="1018301" cy="266355"/>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a:spAutoFit/>
          </a:bodyPr>
          <a:lstStyle/>
          <a:p>
            <a:pPr>
              <a:spcBef>
                <a:spcPct val="20000"/>
              </a:spcBef>
              <a:defRPr/>
            </a:pPr>
            <a:r>
              <a:rPr lang="en-US" sz="1131" b="1" dirty="0">
                <a:solidFill>
                  <a:schemeClr val="bg1"/>
                </a:solidFill>
                <a:latin typeface="Symbol" panose="05050102010706020507" pitchFamily="18" charset="2"/>
                <a:cs typeface="Arial" panose="020B0604020202020204" pitchFamily="34" charset="0"/>
              </a:rPr>
              <a:t>b</a:t>
            </a:r>
            <a:r>
              <a:rPr lang="en-US" sz="1131" b="1" dirty="0">
                <a:solidFill>
                  <a:schemeClr val="bg1"/>
                </a:solidFill>
                <a:latin typeface="Arial" panose="020B0604020202020204" pitchFamily="34" charset="0"/>
                <a:cs typeface="Arial" panose="020B0604020202020204" pitchFamily="34" charset="0"/>
              </a:rPr>
              <a:t>1-Integrin</a:t>
            </a:r>
          </a:p>
        </p:txBody>
      </p:sp>
      <p:sp>
        <p:nvSpPr>
          <p:cNvPr id="70" name="TextBox 56"/>
          <p:cNvSpPr txBox="1">
            <a:spLocks noChangeArrowheads="1"/>
          </p:cNvSpPr>
          <p:nvPr/>
        </p:nvSpPr>
        <p:spPr bwMode="auto">
          <a:xfrm>
            <a:off x="4302047" y="2136453"/>
            <a:ext cx="4881661" cy="1046440"/>
          </a:xfrm>
          <a:prstGeom prst="rect">
            <a:avLst/>
          </a:prstGeom>
          <a:noFill/>
          <a:ln w="9525">
            <a:noFill/>
            <a:miter lim="800000"/>
            <a:headEnd/>
            <a:tailEnd/>
          </a:ln>
        </p:spPr>
        <p:txBody>
          <a:bodyPr wrap="square">
            <a:spAutoFit/>
          </a:bodyPr>
          <a:lstStyle/>
          <a:p>
            <a:r>
              <a:rPr lang="ru-RU" sz="1400" dirty="0">
                <a:solidFill>
                  <a:schemeClr val="accent3"/>
                </a:solidFill>
                <a:latin typeface="Century Gothic" panose="020B0502020202020204" pitchFamily="34" charset="0"/>
                <a:cs typeface="Arial" panose="020B0604020202020204" pitchFamily="34" charset="0"/>
              </a:rPr>
              <a:t>Маркеры роста</a:t>
            </a:r>
            <a:r>
              <a:rPr lang="en-US" sz="1200" dirty="0">
                <a:solidFill>
                  <a:schemeClr val="accent1"/>
                </a:solidFill>
                <a:latin typeface="Century Gothic" panose="020B0502020202020204" pitchFamily="34" charset="0"/>
                <a:cs typeface="Arial" panose="020B0604020202020204" pitchFamily="34" charset="0"/>
              </a:rPr>
              <a:t>: </a:t>
            </a:r>
            <a:r>
              <a:rPr lang="ru-RU" sz="1200" dirty="0">
                <a:solidFill>
                  <a:schemeClr val="accent1"/>
                </a:solidFill>
                <a:latin typeface="Century Gothic" panose="020B0502020202020204" pitchFamily="34" charset="0"/>
                <a:cs typeface="Arial" panose="020B0604020202020204" pitchFamily="34" charset="0"/>
              </a:rPr>
              <a:t>в фазе анагена клетки дермального гребня посылают сигналы матричным кератиноцитам к размножению и дифференцировке в разные слои. Кератиноциты усиленно экспрессируют белок </a:t>
            </a:r>
            <a:r>
              <a:rPr lang="en-US" sz="1200" dirty="0">
                <a:solidFill>
                  <a:schemeClr val="accent1"/>
                </a:solidFill>
                <a:latin typeface="Century Gothic" panose="020B0502020202020204" pitchFamily="34" charset="0"/>
                <a:cs typeface="Arial" panose="020B0604020202020204" pitchFamily="34" charset="0"/>
              </a:rPr>
              <a:t> Ki67</a:t>
            </a:r>
            <a:r>
              <a:rPr lang="ru-RU" sz="1200" dirty="0">
                <a:solidFill>
                  <a:schemeClr val="accent1"/>
                </a:solidFill>
                <a:latin typeface="Century Gothic" panose="020B0502020202020204" pitchFamily="34" charset="0"/>
                <a:cs typeface="Arial" panose="020B0604020202020204" pitchFamily="34" charset="0"/>
              </a:rPr>
              <a:t> в фазе анагена</a:t>
            </a:r>
            <a:r>
              <a:rPr lang="en-US" sz="1200" dirty="0">
                <a:solidFill>
                  <a:schemeClr val="accent1"/>
                </a:solidFill>
                <a:latin typeface="Century Gothic" panose="020B0502020202020204" pitchFamily="34" charset="0"/>
                <a:cs typeface="Arial" panose="020B0604020202020204" pitchFamily="34" charset="0"/>
              </a:rPr>
              <a:t>.</a:t>
            </a:r>
          </a:p>
        </p:txBody>
      </p:sp>
      <p:sp>
        <p:nvSpPr>
          <p:cNvPr id="72" name="TextBox 56"/>
          <p:cNvSpPr txBox="1">
            <a:spLocks noChangeArrowheads="1"/>
          </p:cNvSpPr>
          <p:nvPr/>
        </p:nvSpPr>
        <p:spPr bwMode="auto">
          <a:xfrm>
            <a:off x="4302047" y="3058729"/>
            <a:ext cx="4835638" cy="646331"/>
          </a:xfrm>
          <a:prstGeom prst="rect">
            <a:avLst/>
          </a:prstGeom>
          <a:noFill/>
          <a:ln w="9525">
            <a:noFill/>
            <a:miter lim="800000"/>
            <a:headEnd/>
            <a:tailEnd/>
          </a:ln>
        </p:spPr>
        <p:txBody>
          <a:bodyPr wrap="square">
            <a:spAutoFit/>
          </a:bodyPr>
          <a:lstStyle/>
          <a:p>
            <a:r>
              <a:rPr lang="ru-RU" sz="1200" b="1" dirty="0">
                <a:solidFill>
                  <a:schemeClr val="accent2"/>
                </a:solidFill>
                <a:latin typeface="Century Gothic" panose="020B0502020202020204" pitchFamily="34" charset="0"/>
                <a:cs typeface="Arial" panose="020B0604020202020204" pitchFamily="34" charset="0"/>
              </a:rPr>
              <a:t>Агрегация протеогликана</a:t>
            </a:r>
            <a:r>
              <a:rPr lang="en-US" sz="1200" b="1" dirty="0">
                <a:solidFill>
                  <a:schemeClr val="accent2"/>
                </a:solidFill>
                <a:latin typeface="Century Gothic" panose="020B0502020202020204" pitchFamily="34" charset="0"/>
                <a:cs typeface="Arial" panose="020B0604020202020204" pitchFamily="34" charset="0"/>
              </a:rPr>
              <a:t> </a:t>
            </a:r>
            <a:r>
              <a:rPr lang="ru-RU" sz="1200" dirty="0">
                <a:solidFill>
                  <a:schemeClr val="accent1"/>
                </a:solidFill>
                <a:latin typeface="Century Gothic" panose="020B0502020202020204" pitchFamily="34" charset="0"/>
                <a:cs typeface="Arial" panose="020B0604020202020204" pitchFamily="34" charset="0"/>
              </a:rPr>
              <a:t>экспрессированного в дермальном сосочке в фазе анагена, связанная с поддер-жаением роста волос</a:t>
            </a:r>
            <a:endParaRPr lang="en-US" sz="1400" dirty="0">
              <a:solidFill>
                <a:schemeClr val="accent1"/>
              </a:solidFill>
              <a:latin typeface="Century Gothic" panose="020B0502020202020204" pitchFamily="34" charset="0"/>
              <a:cs typeface="Arial" panose="020B0604020202020204" pitchFamily="34" charset="0"/>
            </a:endParaRPr>
          </a:p>
        </p:txBody>
      </p:sp>
      <p:sp>
        <p:nvSpPr>
          <p:cNvPr id="73" name="TextBox 56"/>
          <p:cNvSpPr txBox="1">
            <a:spLocks noChangeArrowheads="1"/>
          </p:cNvSpPr>
          <p:nvPr/>
        </p:nvSpPr>
        <p:spPr bwMode="auto">
          <a:xfrm>
            <a:off x="4302046" y="3639095"/>
            <a:ext cx="4881661" cy="492443"/>
          </a:xfrm>
          <a:prstGeom prst="rect">
            <a:avLst/>
          </a:prstGeom>
          <a:noFill/>
          <a:ln w="9525">
            <a:noFill/>
            <a:miter lim="800000"/>
            <a:headEnd/>
            <a:tailEnd/>
          </a:ln>
        </p:spPr>
        <p:txBody>
          <a:bodyPr wrap="square">
            <a:spAutoFit/>
          </a:bodyPr>
          <a:lstStyle/>
          <a:p>
            <a:r>
              <a:rPr lang="ru-RU" sz="1200" dirty="0">
                <a:solidFill>
                  <a:schemeClr val="accent1"/>
                </a:solidFill>
                <a:latin typeface="Century Gothic" panose="020B0502020202020204" pitchFamily="34" charset="0"/>
                <a:cs typeface="Arial" panose="020B0604020202020204" pitchFamily="34" charset="0"/>
              </a:rPr>
              <a:t>Белок выраженный в дермальном сосочке и необходимый для инициирования </a:t>
            </a:r>
            <a:r>
              <a:rPr lang="ru-RU" sz="1400" dirty="0">
                <a:solidFill>
                  <a:schemeClr val="accent4"/>
                </a:solidFill>
                <a:latin typeface="Century Gothic" panose="020B0502020202020204" pitchFamily="34" charset="0"/>
                <a:cs typeface="Arial" panose="020B0604020202020204" pitchFamily="34" charset="0"/>
              </a:rPr>
              <a:t>роста волосяного фолликула </a:t>
            </a:r>
            <a:endParaRPr lang="en-US" sz="1400" dirty="0">
              <a:solidFill>
                <a:schemeClr val="accent4"/>
              </a:solidFill>
              <a:latin typeface="Century Gothic" panose="020B0502020202020204" pitchFamily="34" charset="0"/>
              <a:cs typeface="Arial" panose="020B0604020202020204" pitchFamily="34" charset="0"/>
            </a:endParaRPr>
          </a:p>
        </p:txBody>
      </p:sp>
      <p:sp>
        <p:nvSpPr>
          <p:cNvPr id="79" name="TextBox 56"/>
          <p:cNvSpPr txBox="1">
            <a:spLocks noChangeArrowheads="1"/>
          </p:cNvSpPr>
          <p:nvPr/>
        </p:nvSpPr>
        <p:spPr bwMode="auto">
          <a:xfrm>
            <a:off x="4299713" y="4065573"/>
            <a:ext cx="4993112" cy="892552"/>
          </a:xfrm>
          <a:prstGeom prst="rect">
            <a:avLst/>
          </a:prstGeom>
          <a:noFill/>
          <a:ln w="9525">
            <a:noFill/>
            <a:miter lim="800000"/>
            <a:headEnd/>
            <a:tailEnd/>
          </a:ln>
        </p:spPr>
        <p:txBody>
          <a:bodyPr wrap="square">
            <a:spAutoFit/>
          </a:bodyPr>
          <a:lstStyle/>
          <a:p>
            <a:r>
              <a:rPr lang="ru-RU" sz="1200" dirty="0">
                <a:solidFill>
                  <a:schemeClr val="accent1"/>
                </a:solidFill>
                <a:latin typeface="Century Gothic" panose="020B0502020202020204" pitchFamily="34" charset="0"/>
                <a:cs typeface="Arial" panose="020B0604020202020204" pitchFamily="34" charset="0"/>
              </a:rPr>
              <a:t>Сигнальная передача, опосредуемая </a:t>
            </a:r>
            <a:r>
              <a:rPr lang="en-US" sz="1200" dirty="0">
                <a:solidFill>
                  <a:schemeClr val="accent1"/>
                </a:solidFill>
                <a:latin typeface="Century Gothic" panose="020B0502020202020204" pitchFamily="34" charset="0"/>
                <a:cs typeface="Arial" panose="020B0604020202020204" pitchFamily="34" charset="0"/>
              </a:rPr>
              <a:t>β1-</a:t>
            </a:r>
            <a:r>
              <a:rPr lang="ru-RU" sz="1200" dirty="0">
                <a:solidFill>
                  <a:schemeClr val="accent1"/>
                </a:solidFill>
                <a:latin typeface="Century Gothic" panose="020B0502020202020204" pitchFamily="34" charset="0"/>
                <a:cs typeface="Arial" panose="020B0604020202020204" pitchFamily="34" charset="0"/>
              </a:rPr>
              <a:t>интегрином играет определенную роль в передаче информации клетка-клета</a:t>
            </a:r>
          </a:p>
          <a:p>
            <a:r>
              <a:rPr lang="ru-RU" sz="1200" dirty="0">
                <a:solidFill>
                  <a:schemeClr val="accent1"/>
                </a:solidFill>
                <a:latin typeface="Century Gothic" panose="020B0502020202020204" pitchFamily="34" charset="0"/>
                <a:cs typeface="Arial" panose="020B0604020202020204" pitchFamily="34" charset="0"/>
              </a:rPr>
              <a:t> и клетка-матрикс так же как</a:t>
            </a:r>
            <a:r>
              <a:rPr lang="en-US" sz="1200" dirty="0">
                <a:solidFill>
                  <a:schemeClr val="accent1"/>
                </a:solidFill>
                <a:latin typeface="Century Gothic" panose="020B0502020202020204" pitchFamily="34" charset="0"/>
                <a:cs typeface="Arial" panose="020B0604020202020204" pitchFamily="34" charset="0"/>
              </a:rPr>
              <a:t> </a:t>
            </a:r>
            <a:r>
              <a:rPr lang="ru-RU" sz="1200" dirty="0">
                <a:solidFill>
                  <a:schemeClr val="accent1"/>
                </a:solidFill>
                <a:latin typeface="Century Gothic" panose="020B0502020202020204" pitchFamily="34" charset="0"/>
                <a:cs typeface="Arial" panose="020B0604020202020204" pitchFamily="34" charset="0"/>
              </a:rPr>
              <a:t>и в контроле роста волос</a:t>
            </a:r>
            <a:r>
              <a:rPr lang="en-US" sz="1400" dirty="0">
                <a:solidFill>
                  <a:schemeClr val="accent1"/>
                </a:solidFill>
                <a:latin typeface="Century Gothic" panose="020B0502020202020204" pitchFamily="34" charset="0"/>
                <a:cs typeface="Arial" panose="020B0604020202020204" pitchFamily="34" charset="0"/>
              </a:rPr>
              <a:t> </a:t>
            </a:r>
            <a:r>
              <a:rPr lang="en-US" sz="1200" dirty="0">
                <a:solidFill>
                  <a:schemeClr val="accent1"/>
                </a:solidFill>
                <a:latin typeface="Century Gothic" panose="020B0502020202020204" pitchFamily="34" charset="0"/>
                <a:cs typeface="Arial" panose="020B0604020202020204" pitchFamily="34" charset="0"/>
              </a:rPr>
              <a:t>(α3β1 </a:t>
            </a:r>
            <a:r>
              <a:rPr lang="ru-RU" sz="1200" dirty="0">
                <a:solidFill>
                  <a:schemeClr val="accent1"/>
                </a:solidFill>
                <a:latin typeface="Century Gothic" panose="020B0502020202020204" pitchFamily="34" charset="0"/>
                <a:cs typeface="Arial" panose="020B0604020202020204" pitchFamily="34" charset="0"/>
              </a:rPr>
              <a:t>рецептор ламинина</a:t>
            </a:r>
            <a:r>
              <a:rPr lang="en-US" sz="1200" dirty="0">
                <a:solidFill>
                  <a:schemeClr val="accent1"/>
                </a:solidFill>
                <a:latin typeface="Century Gothic" panose="020B0502020202020204" pitchFamily="34" charset="0"/>
                <a:cs typeface="Arial" panose="020B0604020202020204" pitchFamily="34" charset="0"/>
              </a:rPr>
              <a:t>-511)</a:t>
            </a:r>
          </a:p>
        </p:txBody>
      </p:sp>
      <p:sp>
        <p:nvSpPr>
          <p:cNvPr id="10" name="TextBox 9"/>
          <p:cNvSpPr txBox="1"/>
          <p:nvPr/>
        </p:nvSpPr>
        <p:spPr>
          <a:xfrm>
            <a:off x="3171348" y="1431322"/>
            <a:ext cx="5870693" cy="830997"/>
          </a:xfrm>
          <a:prstGeom prst="rect">
            <a:avLst/>
          </a:prstGeom>
          <a:noFill/>
        </p:spPr>
        <p:txBody>
          <a:bodyPr wrap="square" rtlCol="0">
            <a:spAutoFit/>
          </a:bodyPr>
          <a:lstStyle/>
          <a:p>
            <a:r>
              <a:rPr lang="ru-RU" sz="1200" dirty="0">
                <a:solidFill>
                  <a:schemeClr val="accent1"/>
                </a:solidFill>
                <a:latin typeface="Century Gothic" panose="020B0502020202020204" pitchFamily="34" charset="0"/>
              </a:rPr>
              <a:t>Клетки дермального гребня и матричные кератиноциты играют важную роль в циклическом процессе регенерации волос</a:t>
            </a:r>
            <a:r>
              <a:rPr lang="en-GB" sz="1200" dirty="0">
                <a:solidFill>
                  <a:schemeClr val="accent1"/>
                </a:solidFill>
                <a:latin typeface="Century Gothic" panose="020B0502020202020204" pitchFamily="34" charset="0"/>
              </a:rPr>
              <a:t>. </a:t>
            </a:r>
            <a:r>
              <a:rPr lang="ru-RU" sz="1200" dirty="0">
                <a:solidFill>
                  <a:schemeClr val="accent1"/>
                </a:solidFill>
                <a:latin typeface="Century Gothic" panose="020B0502020202020204" pitchFamily="34" charset="0"/>
              </a:rPr>
              <a:t>Дермальный сосочек </a:t>
            </a:r>
            <a:r>
              <a:rPr lang="en-GB" sz="1200" dirty="0">
                <a:solidFill>
                  <a:schemeClr val="accent1"/>
                </a:solidFill>
                <a:latin typeface="Century Gothic" panose="020B0502020202020204" pitchFamily="34" charset="0"/>
              </a:rPr>
              <a:t>(DP)</a:t>
            </a:r>
            <a:r>
              <a:rPr lang="ru-RU" sz="1200" dirty="0">
                <a:solidFill>
                  <a:schemeClr val="accent1"/>
                </a:solidFill>
                <a:latin typeface="Century Gothic" panose="020B0502020202020204" pitchFamily="34" charset="0"/>
              </a:rPr>
              <a:t> дает сигнал матричным кератиноцитам к размножению и дифференцированию для образования новых волосяных фолликулов. </a:t>
            </a:r>
            <a:endParaRPr lang="en-GB" sz="1200" dirty="0">
              <a:solidFill>
                <a:schemeClr val="accent1"/>
              </a:solidFill>
              <a:latin typeface="Century Gothic" panose="020B0502020202020204" pitchFamily="34" charset="0"/>
            </a:endParaRPr>
          </a:p>
        </p:txBody>
      </p:sp>
      <p:sp>
        <p:nvSpPr>
          <p:cNvPr id="5" name="Title 4"/>
          <p:cNvSpPr>
            <a:spLocks noGrp="1"/>
          </p:cNvSpPr>
          <p:nvPr>
            <p:ph type="title"/>
          </p:nvPr>
        </p:nvSpPr>
        <p:spPr/>
        <p:txBody>
          <a:bodyPr>
            <a:normAutofit/>
          </a:bodyPr>
          <a:lstStyle/>
          <a:p>
            <a:r>
              <a:rPr lang="en-US" sz="3200" dirty="0">
                <a:latin typeface="Century Gothic" panose="020B0502020202020204" pitchFamily="34" charset="0"/>
              </a:rPr>
              <a:t>Capauxein ™</a:t>
            </a:r>
            <a:r>
              <a:rPr lang="ru-RU" sz="3200" kern="0" dirty="0">
                <a:latin typeface="Century Gothic" panose="020B0502020202020204" pitchFamily="34" charset="0"/>
              </a:rPr>
              <a:t/>
            </a:r>
            <a:br>
              <a:rPr lang="ru-RU" sz="3200" kern="0" dirty="0">
                <a:latin typeface="Century Gothic" panose="020B0502020202020204" pitchFamily="34" charset="0"/>
              </a:rPr>
            </a:br>
            <a:r>
              <a:rPr lang="ru-RU" sz="2200" kern="0" dirty="0">
                <a:latin typeface="Century Gothic" panose="020B0502020202020204" pitchFamily="34" charset="0"/>
              </a:rPr>
              <a:t>На основе </a:t>
            </a:r>
            <a:r>
              <a:rPr lang="en-US" sz="2200" kern="0" dirty="0">
                <a:latin typeface="Century Gothic" panose="020B0502020202020204" pitchFamily="34" charset="0"/>
              </a:rPr>
              <a:t>“Hair Fullness System™” </a:t>
            </a:r>
            <a:r>
              <a:rPr lang="ru-RU" sz="2200" kern="0" dirty="0">
                <a:latin typeface="Century Gothic" panose="020B0502020202020204" pitchFamily="34" charset="0"/>
              </a:rPr>
              <a:t>связанной с плотностью волос</a:t>
            </a:r>
            <a:endParaRPr lang="en-GB" sz="2200" spc="-66" dirty="0">
              <a:latin typeface="Century Gothic" panose="020B0502020202020204" pitchFamily="34" charset="0"/>
            </a:endParaRPr>
          </a:p>
        </p:txBody>
      </p:sp>
      <p:sp>
        <p:nvSpPr>
          <p:cNvPr id="17" name="Rectangle 16"/>
          <p:cNvSpPr/>
          <p:nvPr/>
        </p:nvSpPr>
        <p:spPr bwMode="auto">
          <a:xfrm>
            <a:off x="907637" y="1447800"/>
            <a:ext cx="2124000" cy="4343400"/>
          </a:xfrm>
          <a:prstGeom prst="rect">
            <a:avLst/>
          </a:prstGeom>
          <a:noFill/>
          <a:ln w="57150" cap="flat" cmpd="sng" algn="ctr">
            <a:solidFill>
              <a:schemeClr val="accent1">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prstClr val="black"/>
              </a:solidFill>
              <a:latin typeface="Arial" charset="0"/>
              <a:ea typeface="ヒラギノ角ゴ Pro W3" pitchFamily="48" charset="-128"/>
              <a:cs typeface="Arial" charset="0"/>
            </a:endParaRPr>
          </a:p>
        </p:txBody>
      </p:sp>
      <p:pic>
        <p:nvPicPr>
          <p:cNvPr id="18" name="Picture 17" descr="Dessin cheveu.jpg"/>
          <p:cNvPicPr preferRelativeResize="0">
            <a:picLocks/>
          </p:cNvPicPr>
          <p:nvPr/>
        </p:nvPicPr>
        <p:blipFill>
          <a:blip r:embed="rId4" cstate="print">
            <a:grayscl/>
            <a:extLst>
              <a:ext uri="{28A0092B-C50C-407E-A947-70E740481C1C}">
                <a14:useLocalDpi xmlns:a14="http://schemas.microsoft.com/office/drawing/2010/main" val="0"/>
              </a:ext>
            </a:extLst>
          </a:blip>
          <a:stretch>
            <a:fillRect/>
          </a:stretch>
        </p:blipFill>
        <p:spPr>
          <a:xfrm>
            <a:off x="902638" y="1472874"/>
            <a:ext cx="2107287" cy="4291120"/>
          </a:xfrm>
          <a:prstGeom prst="roundRect">
            <a:avLst>
              <a:gd name="adj" fmla="val 0"/>
            </a:avLst>
          </a:prstGeom>
          <a:ln>
            <a:noFill/>
          </a:ln>
          <a:effectLst/>
        </p:spPr>
      </p:pic>
      <p:sp>
        <p:nvSpPr>
          <p:cNvPr id="19" name="Freeform 18"/>
          <p:cNvSpPr/>
          <p:nvPr/>
        </p:nvSpPr>
        <p:spPr>
          <a:xfrm>
            <a:off x="1373752" y="1755606"/>
            <a:ext cx="541303" cy="2990545"/>
          </a:xfrm>
          <a:custGeom>
            <a:avLst/>
            <a:gdLst>
              <a:gd name="connsiteX0" fmla="*/ 0 w 636494"/>
              <a:gd name="connsiteY0" fmla="*/ 3227294 h 3227294"/>
              <a:gd name="connsiteX1" fmla="*/ 367553 w 636494"/>
              <a:gd name="connsiteY1" fmla="*/ 2294964 h 3227294"/>
              <a:gd name="connsiteX2" fmla="*/ 636494 w 636494"/>
              <a:gd name="connsiteY2" fmla="*/ 0 h 3227294"/>
              <a:gd name="connsiteX0" fmla="*/ 0 w 622288"/>
              <a:gd name="connsiteY0" fmla="*/ 3166241 h 3166241"/>
              <a:gd name="connsiteX1" fmla="*/ 367553 w 622288"/>
              <a:gd name="connsiteY1" fmla="*/ 2233911 h 3166241"/>
              <a:gd name="connsiteX2" fmla="*/ 622288 w 622288"/>
              <a:gd name="connsiteY2" fmla="*/ 0 h 3166241"/>
            </a:gdLst>
            <a:ahLst/>
            <a:cxnLst>
              <a:cxn ang="0">
                <a:pos x="connsiteX0" y="connsiteY0"/>
              </a:cxn>
              <a:cxn ang="0">
                <a:pos x="connsiteX1" y="connsiteY1"/>
              </a:cxn>
              <a:cxn ang="0">
                <a:pos x="connsiteX2" y="connsiteY2"/>
              </a:cxn>
            </a:cxnLst>
            <a:rect l="l" t="t" r="r" b="b"/>
            <a:pathLst>
              <a:path w="622288" h="3166241">
                <a:moveTo>
                  <a:pt x="0" y="3166241"/>
                </a:moveTo>
                <a:cubicBezTo>
                  <a:pt x="130735" y="2969017"/>
                  <a:pt x="261471" y="2771793"/>
                  <a:pt x="367553" y="2233911"/>
                </a:cubicBezTo>
                <a:cubicBezTo>
                  <a:pt x="473635" y="1696029"/>
                  <a:pt x="540858" y="878541"/>
                  <a:pt x="622288" y="0"/>
                </a:cubicBezTo>
              </a:path>
            </a:pathLst>
          </a:custGeom>
          <a:noFill/>
          <a:ln>
            <a:prstDash val="dash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Freeform 19"/>
          <p:cNvSpPr/>
          <p:nvPr/>
        </p:nvSpPr>
        <p:spPr>
          <a:xfrm>
            <a:off x="1770568" y="2009764"/>
            <a:ext cx="148343" cy="2606717"/>
          </a:xfrm>
          <a:custGeom>
            <a:avLst/>
            <a:gdLst>
              <a:gd name="connsiteX0" fmla="*/ 99909 w 162662"/>
              <a:gd name="connsiteY0" fmla="*/ 3101788 h 3101788"/>
              <a:gd name="connsiteX1" fmla="*/ 1298 w 162662"/>
              <a:gd name="connsiteY1" fmla="*/ 1676400 h 3101788"/>
              <a:gd name="connsiteX2" fmla="*/ 162662 w 162662"/>
              <a:gd name="connsiteY2" fmla="*/ 0 h 3101788"/>
              <a:gd name="connsiteX0" fmla="*/ 117181 w 179934"/>
              <a:gd name="connsiteY0" fmla="*/ 3101788 h 3101788"/>
              <a:gd name="connsiteX1" fmla="*/ 18570 w 179934"/>
              <a:gd name="connsiteY1" fmla="*/ 1676400 h 3101788"/>
              <a:gd name="connsiteX2" fmla="*/ 179934 w 179934"/>
              <a:gd name="connsiteY2" fmla="*/ 0 h 3101788"/>
              <a:gd name="connsiteX0" fmla="*/ 117181 w 179934"/>
              <a:gd name="connsiteY0" fmla="*/ 3101788 h 3101788"/>
              <a:gd name="connsiteX1" fmla="*/ 18570 w 179934"/>
              <a:gd name="connsiteY1" fmla="*/ 1676400 h 3101788"/>
              <a:gd name="connsiteX2" fmla="*/ 179934 w 179934"/>
              <a:gd name="connsiteY2" fmla="*/ 0 h 3101788"/>
              <a:gd name="connsiteX0" fmla="*/ 26267 w 232322"/>
              <a:gd name="connsiteY0" fmla="*/ 2801537 h 2801537"/>
              <a:gd name="connsiteX1" fmla="*/ 70958 w 232322"/>
              <a:gd name="connsiteY1" fmla="*/ 1676400 h 2801537"/>
              <a:gd name="connsiteX2" fmla="*/ 232322 w 232322"/>
              <a:gd name="connsiteY2" fmla="*/ 0 h 2801537"/>
              <a:gd name="connsiteX0" fmla="*/ 0 w 206055"/>
              <a:gd name="connsiteY0" fmla="*/ 2801537 h 2801537"/>
              <a:gd name="connsiteX1" fmla="*/ 44691 w 206055"/>
              <a:gd name="connsiteY1" fmla="*/ 1676400 h 2801537"/>
              <a:gd name="connsiteX2" fmla="*/ 206055 w 206055"/>
              <a:gd name="connsiteY2" fmla="*/ 0 h 2801537"/>
              <a:gd name="connsiteX0" fmla="*/ 2016 w 208071"/>
              <a:gd name="connsiteY0" fmla="*/ 2801537 h 2801537"/>
              <a:gd name="connsiteX1" fmla="*/ 46707 w 208071"/>
              <a:gd name="connsiteY1" fmla="*/ 1676400 h 2801537"/>
              <a:gd name="connsiteX2" fmla="*/ 208071 w 208071"/>
              <a:gd name="connsiteY2" fmla="*/ 0 h 2801537"/>
              <a:gd name="connsiteX0" fmla="*/ 0 w 206055"/>
              <a:gd name="connsiteY0" fmla="*/ 2801537 h 2801537"/>
              <a:gd name="connsiteX1" fmla="*/ 71987 w 206055"/>
              <a:gd name="connsiteY1" fmla="*/ 1246495 h 2801537"/>
              <a:gd name="connsiteX2" fmla="*/ 206055 w 206055"/>
              <a:gd name="connsiteY2" fmla="*/ 0 h 2801537"/>
              <a:gd name="connsiteX0" fmla="*/ 0 w 206055"/>
              <a:gd name="connsiteY0" fmla="*/ 2801537 h 2801537"/>
              <a:gd name="connsiteX1" fmla="*/ 85634 w 206055"/>
              <a:gd name="connsiteY1" fmla="*/ 1219200 h 2801537"/>
              <a:gd name="connsiteX2" fmla="*/ 206055 w 206055"/>
              <a:gd name="connsiteY2" fmla="*/ 0 h 2801537"/>
              <a:gd name="connsiteX0" fmla="*/ 0 w 206055"/>
              <a:gd name="connsiteY0" fmla="*/ 2801537 h 2801537"/>
              <a:gd name="connsiteX1" fmla="*/ 113914 w 206055"/>
              <a:gd name="connsiteY1" fmla="*/ 1222342 h 2801537"/>
              <a:gd name="connsiteX2" fmla="*/ 206055 w 206055"/>
              <a:gd name="connsiteY2" fmla="*/ 0 h 2801537"/>
              <a:gd name="connsiteX0" fmla="*/ 0 w 206055"/>
              <a:gd name="connsiteY0" fmla="*/ 2801537 h 2801537"/>
              <a:gd name="connsiteX1" fmla="*/ 113914 w 206055"/>
              <a:gd name="connsiteY1" fmla="*/ 1222342 h 2801537"/>
              <a:gd name="connsiteX2" fmla="*/ 206055 w 206055"/>
              <a:gd name="connsiteY2" fmla="*/ 0 h 2801537"/>
              <a:gd name="connsiteX0" fmla="*/ 0 w 215482"/>
              <a:gd name="connsiteY0" fmla="*/ 2597290 h 2597290"/>
              <a:gd name="connsiteX1" fmla="*/ 113914 w 215482"/>
              <a:gd name="connsiteY1" fmla="*/ 1018095 h 2597290"/>
              <a:gd name="connsiteX2" fmla="*/ 215482 w 215482"/>
              <a:gd name="connsiteY2" fmla="*/ 0 h 2597290"/>
              <a:gd name="connsiteX0" fmla="*/ 1991 w 148343"/>
              <a:gd name="connsiteY0" fmla="*/ 2606717 h 2606717"/>
              <a:gd name="connsiteX1" fmla="*/ 46775 w 148343"/>
              <a:gd name="connsiteY1" fmla="*/ 1018095 h 2606717"/>
              <a:gd name="connsiteX2" fmla="*/ 148343 w 148343"/>
              <a:gd name="connsiteY2" fmla="*/ 0 h 2606717"/>
            </a:gdLst>
            <a:ahLst/>
            <a:cxnLst>
              <a:cxn ang="0">
                <a:pos x="connsiteX0" y="connsiteY0"/>
              </a:cxn>
              <a:cxn ang="0">
                <a:pos x="connsiteX1" y="connsiteY1"/>
              </a:cxn>
              <a:cxn ang="0">
                <a:pos x="connsiteX2" y="connsiteY2"/>
              </a:cxn>
            </a:cxnLst>
            <a:rect l="l" t="t" r="r" b="b"/>
            <a:pathLst>
              <a:path w="148343" h="2606717">
                <a:moveTo>
                  <a:pt x="1991" y="2606717"/>
                </a:moveTo>
                <a:cubicBezTo>
                  <a:pt x="2047" y="1702129"/>
                  <a:pt x="-14484" y="1611260"/>
                  <a:pt x="46775" y="1018095"/>
                </a:cubicBezTo>
                <a:cubicBezTo>
                  <a:pt x="108034" y="424930"/>
                  <a:pt x="98290" y="573367"/>
                  <a:pt x="148343" y="0"/>
                </a:cubicBezTo>
              </a:path>
            </a:pathLst>
          </a:custGeom>
          <a:noFill/>
          <a:ln w="28575">
            <a:solidFill>
              <a:srgbClr val="0070C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Freeform 20"/>
          <p:cNvSpPr/>
          <p:nvPr/>
        </p:nvSpPr>
        <p:spPr>
          <a:xfrm>
            <a:off x="1468795" y="1756813"/>
            <a:ext cx="421421" cy="2760967"/>
          </a:xfrm>
          <a:custGeom>
            <a:avLst/>
            <a:gdLst>
              <a:gd name="connsiteX0" fmla="*/ 0 w 470848"/>
              <a:gd name="connsiteY0" fmla="*/ 2756848 h 2756848"/>
              <a:gd name="connsiteX1" fmla="*/ 197893 w 470848"/>
              <a:gd name="connsiteY1" fmla="*/ 2176818 h 2756848"/>
              <a:gd name="connsiteX2" fmla="*/ 375314 w 470848"/>
              <a:gd name="connsiteY2" fmla="*/ 955344 h 2756848"/>
              <a:gd name="connsiteX3" fmla="*/ 470848 w 470848"/>
              <a:gd name="connsiteY3" fmla="*/ 0 h 2756848"/>
              <a:gd name="connsiteX0" fmla="*/ 0 w 421421"/>
              <a:gd name="connsiteY0" fmla="*/ 2760967 h 2760967"/>
              <a:gd name="connsiteX1" fmla="*/ 148466 w 421421"/>
              <a:gd name="connsiteY1" fmla="*/ 2176818 h 2760967"/>
              <a:gd name="connsiteX2" fmla="*/ 325887 w 421421"/>
              <a:gd name="connsiteY2" fmla="*/ 955344 h 2760967"/>
              <a:gd name="connsiteX3" fmla="*/ 421421 w 421421"/>
              <a:gd name="connsiteY3" fmla="*/ 0 h 2760967"/>
              <a:gd name="connsiteX0" fmla="*/ 0 w 421421"/>
              <a:gd name="connsiteY0" fmla="*/ 2760967 h 2760967"/>
              <a:gd name="connsiteX1" fmla="*/ 148466 w 421421"/>
              <a:gd name="connsiteY1" fmla="*/ 2176818 h 2760967"/>
              <a:gd name="connsiteX2" fmla="*/ 325887 w 421421"/>
              <a:gd name="connsiteY2" fmla="*/ 955344 h 2760967"/>
              <a:gd name="connsiteX3" fmla="*/ 421421 w 421421"/>
              <a:gd name="connsiteY3" fmla="*/ 0 h 2760967"/>
            </a:gdLst>
            <a:ahLst/>
            <a:cxnLst>
              <a:cxn ang="0">
                <a:pos x="connsiteX0" y="connsiteY0"/>
              </a:cxn>
              <a:cxn ang="0">
                <a:pos x="connsiteX1" y="connsiteY1"/>
              </a:cxn>
              <a:cxn ang="0">
                <a:pos x="connsiteX2" y="connsiteY2"/>
              </a:cxn>
              <a:cxn ang="0">
                <a:pos x="connsiteX3" y="connsiteY3"/>
              </a:cxn>
            </a:cxnLst>
            <a:rect l="l" t="t" r="r" b="b"/>
            <a:pathLst>
              <a:path w="421421" h="2760967">
                <a:moveTo>
                  <a:pt x="0" y="2760967"/>
                </a:moveTo>
                <a:cubicBezTo>
                  <a:pt x="67670" y="2518104"/>
                  <a:pt x="94152" y="2477755"/>
                  <a:pt x="148466" y="2176818"/>
                </a:cubicBezTo>
                <a:cubicBezTo>
                  <a:pt x="202780" y="1875881"/>
                  <a:pt x="280395" y="1318147"/>
                  <a:pt x="325887" y="955344"/>
                </a:cubicBezTo>
                <a:cubicBezTo>
                  <a:pt x="371379" y="592541"/>
                  <a:pt x="396400" y="296270"/>
                  <a:pt x="421421" y="0"/>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22" name="Freeform 21"/>
          <p:cNvSpPr/>
          <p:nvPr/>
        </p:nvSpPr>
        <p:spPr>
          <a:xfrm>
            <a:off x="1015147" y="2000280"/>
            <a:ext cx="802518" cy="2550874"/>
          </a:xfrm>
          <a:custGeom>
            <a:avLst/>
            <a:gdLst>
              <a:gd name="connsiteX0" fmla="*/ 0 w 429905"/>
              <a:gd name="connsiteY0" fmla="*/ 2429302 h 2429302"/>
              <a:gd name="connsiteX1" fmla="*/ 191069 w 429905"/>
              <a:gd name="connsiteY1" fmla="*/ 1828800 h 2429302"/>
              <a:gd name="connsiteX2" fmla="*/ 327546 w 429905"/>
              <a:gd name="connsiteY2" fmla="*/ 798394 h 2429302"/>
              <a:gd name="connsiteX3" fmla="*/ 429905 w 429905"/>
              <a:gd name="connsiteY3" fmla="*/ 0 h 2429302"/>
              <a:gd name="connsiteX0" fmla="*/ 0 w 384597"/>
              <a:gd name="connsiteY0" fmla="*/ 2425183 h 2425183"/>
              <a:gd name="connsiteX1" fmla="*/ 145761 w 384597"/>
              <a:gd name="connsiteY1" fmla="*/ 1828800 h 2425183"/>
              <a:gd name="connsiteX2" fmla="*/ 282238 w 384597"/>
              <a:gd name="connsiteY2" fmla="*/ 798394 h 2425183"/>
              <a:gd name="connsiteX3" fmla="*/ 384597 w 384597"/>
              <a:gd name="connsiteY3" fmla="*/ 0 h 2425183"/>
              <a:gd name="connsiteX0" fmla="*/ 0 w 384597"/>
              <a:gd name="connsiteY0" fmla="*/ 2425183 h 2425183"/>
              <a:gd name="connsiteX1" fmla="*/ 145761 w 384597"/>
              <a:gd name="connsiteY1" fmla="*/ 1828800 h 2425183"/>
              <a:gd name="connsiteX2" fmla="*/ 282238 w 384597"/>
              <a:gd name="connsiteY2" fmla="*/ 798394 h 2425183"/>
              <a:gd name="connsiteX3" fmla="*/ 384597 w 384597"/>
              <a:gd name="connsiteY3" fmla="*/ 0 h 2425183"/>
              <a:gd name="connsiteX0" fmla="*/ 0 w 780522"/>
              <a:gd name="connsiteY0" fmla="*/ 2469175 h 2469175"/>
              <a:gd name="connsiteX1" fmla="*/ 541686 w 780522"/>
              <a:gd name="connsiteY1" fmla="*/ 1828800 h 2469175"/>
              <a:gd name="connsiteX2" fmla="*/ 678163 w 780522"/>
              <a:gd name="connsiteY2" fmla="*/ 798394 h 2469175"/>
              <a:gd name="connsiteX3" fmla="*/ 780522 w 780522"/>
              <a:gd name="connsiteY3" fmla="*/ 0 h 2469175"/>
              <a:gd name="connsiteX0" fmla="*/ 0 w 780522"/>
              <a:gd name="connsiteY0" fmla="*/ 2469175 h 2469175"/>
              <a:gd name="connsiteX1" fmla="*/ 488267 w 780522"/>
              <a:gd name="connsiteY1" fmla="*/ 1762813 h 2469175"/>
              <a:gd name="connsiteX2" fmla="*/ 678163 w 780522"/>
              <a:gd name="connsiteY2" fmla="*/ 798394 h 2469175"/>
              <a:gd name="connsiteX3" fmla="*/ 780522 w 780522"/>
              <a:gd name="connsiteY3" fmla="*/ 0 h 2469175"/>
              <a:gd name="connsiteX0" fmla="*/ 0 w 802518"/>
              <a:gd name="connsiteY0" fmla="*/ 2550874 h 2550874"/>
              <a:gd name="connsiteX1" fmla="*/ 488267 w 802518"/>
              <a:gd name="connsiteY1" fmla="*/ 1844512 h 2550874"/>
              <a:gd name="connsiteX2" fmla="*/ 678163 w 802518"/>
              <a:gd name="connsiteY2" fmla="*/ 880093 h 2550874"/>
              <a:gd name="connsiteX3" fmla="*/ 802518 w 802518"/>
              <a:gd name="connsiteY3" fmla="*/ 0 h 2550874"/>
            </a:gdLst>
            <a:ahLst/>
            <a:cxnLst>
              <a:cxn ang="0">
                <a:pos x="connsiteX0" y="connsiteY0"/>
              </a:cxn>
              <a:cxn ang="0">
                <a:pos x="connsiteX1" y="connsiteY1"/>
              </a:cxn>
              <a:cxn ang="0">
                <a:pos x="connsiteX2" y="connsiteY2"/>
              </a:cxn>
              <a:cxn ang="0">
                <a:pos x="connsiteX3" y="connsiteY3"/>
              </a:cxn>
            </a:cxnLst>
            <a:rect l="l" t="t" r="r" b="b"/>
            <a:pathLst>
              <a:path w="802518" h="2550874">
                <a:moveTo>
                  <a:pt x="0" y="2550874"/>
                </a:moveTo>
                <a:cubicBezTo>
                  <a:pt x="105309" y="2221776"/>
                  <a:pt x="375240" y="2122976"/>
                  <a:pt x="488267" y="1844512"/>
                </a:cubicBezTo>
                <a:cubicBezTo>
                  <a:pt x="601294" y="1566049"/>
                  <a:pt x="638357" y="1184893"/>
                  <a:pt x="678163" y="880093"/>
                </a:cubicBezTo>
                <a:cubicBezTo>
                  <a:pt x="717969" y="575293"/>
                  <a:pt x="771241" y="246797"/>
                  <a:pt x="802518" y="0"/>
                </a:cubicBezTo>
              </a:path>
            </a:pathLst>
          </a:custGeom>
          <a:ln w="28575">
            <a:solidFill>
              <a:srgbClr val="0070C0"/>
            </a:solidFill>
            <a:prstDash val="sys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23" name="Freeform 22"/>
          <p:cNvSpPr/>
          <p:nvPr/>
        </p:nvSpPr>
        <p:spPr>
          <a:xfrm>
            <a:off x="1833379" y="2007823"/>
            <a:ext cx="109364" cy="2623275"/>
          </a:xfrm>
          <a:custGeom>
            <a:avLst/>
            <a:gdLst>
              <a:gd name="connsiteX0" fmla="*/ 27754 w 211999"/>
              <a:gd name="connsiteY0" fmla="*/ 2763672 h 2763672"/>
              <a:gd name="connsiteX1" fmla="*/ 7282 w 211999"/>
              <a:gd name="connsiteY1" fmla="*/ 1965278 h 2763672"/>
              <a:gd name="connsiteX2" fmla="*/ 136936 w 211999"/>
              <a:gd name="connsiteY2" fmla="*/ 723332 h 2763672"/>
              <a:gd name="connsiteX3" fmla="*/ 211999 w 211999"/>
              <a:gd name="connsiteY3" fmla="*/ 0 h 2763672"/>
              <a:gd name="connsiteX0" fmla="*/ 3676 w 187921"/>
              <a:gd name="connsiteY0" fmla="*/ 2763672 h 2763672"/>
              <a:gd name="connsiteX1" fmla="*/ 64903 w 187921"/>
              <a:gd name="connsiteY1" fmla="*/ 2008907 h 2763672"/>
              <a:gd name="connsiteX2" fmla="*/ 112858 w 187921"/>
              <a:gd name="connsiteY2" fmla="*/ 723332 h 2763672"/>
              <a:gd name="connsiteX3" fmla="*/ 187921 w 187921"/>
              <a:gd name="connsiteY3" fmla="*/ 0 h 2763672"/>
              <a:gd name="connsiteX0" fmla="*/ 90936 w 124352"/>
              <a:gd name="connsiteY0" fmla="*/ 2825998 h 2825998"/>
              <a:gd name="connsiteX1" fmla="*/ 1334 w 124352"/>
              <a:gd name="connsiteY1" fmla="*/ 2008907 h 2825998"/>
              <a:gd name="connsiteX2" fmla="*/ 49289 w 124352"/>
              <a:gd name="connsiteY2" fmla="*/ 723332 h 2825998"/>
              <a:gd name="connsiteX3" fmla="*/ 124352 w 124352"/>
              <a:gd name="connsiteY3" fmla="*/ 0 h 2825998"/>
              <a:gd name="connsiteX0" fmla="*/ 90936 w 102356"/>
              <a:gd name="connsiteY0" fmla="*/ 2598506 h 2598506"/>
              <a:gd name="connsiteX1" fmla="*/ 1334 w 102356"/>
              <a:gd name="connsiteY1" fmla="*/ 1781415 h 2598506"/>
              <a:gd name="connsiteX2" fmla="*/ 49289 w 102356"/>
              <a:gd name="connsiteY2" fmla="*/ 495840 h 2598506"/>
              <a:gd name="connsiteX3" fmla="*/ 102356 w 102356"/>
              <a:gd name="connsiteY3" fmla="*/ 0 h 2598506"/>
              <a:gd name="connsiteX0" fmla="*/ 90936 w 102356"/>
              <a:gd name="connsiteY0" fmla="*/ 2598506 h 2598506"/>
              <a:gd name="connsiteX1" fmla="*/ 1334 w 102356"/>
              <a:gd name="connsiteY1" fmla="*/ 1781415 h 2598506"/>
              <a:gd name="connsiteX2" fmla="*/ 49289 w 102356"/>
              <a:gd name="connsiteY2" fmla="*/ 495840 h 2598506"/>
              <a:gd name="connsiteX3" fmla="*/ 102356 w 102356"/>
              <a:gd name="connsiteY3" fmla="*/ 0 h 2598506"/>
              <a:gd name="connsiteX0" fmla="*/ 90936 w 102356"/>
              <a:gd name="connsiteY0" fmla="*/ 2598506 h 2598506"/>
              <a:gd name="connsiteX1" fmla="*/ 1334 w 102356"/>
              <a:gd name="connsiteY1" fmla="*/ 1781415 h 2598506"/>
              <a:gd name="connsiteX2" fmla="*/ 49289 w 102356"/>
              <a:gd name="connsiteY2" fmla="*/ 495840 h 2598506"/>
              <a:gd name="connsiteX3" fmla="*/ 102356 w 102356"/>
              <a:gd name="connsiteY3" fmla="*/ 0 h 2598506"/>
              <a:gd name="connsiteX0" fmla="*/ 90439 w 101859"/>
              <a:gd name="connsiteY0" fmla="*/ 2598506 h 2598506"/>
              <a:gd name="connsiteX1" fmla="*/ 837 w 101859"/>
              <a:gd name="connsiteY1" fmla="*/ 1781415 h 2598506"/>
              <a:gd name="connsiteX2" fmla="*/ 55077 w 101859"/>
              <a:gd name="connsiteY2" fmla="*/ 651656 h 2598506"/>
              <a:gd name="connsiteX3" fmla="*/ 101859 w 101859"/>
              <a:gd name="connsiteY3" fmla="*/ 0 h 2598506"/>
              <a:gd name="connsiteX0" fmla="*/ 91660 w 103080"/>
              <a:gd name="connsiteY0" fmla="*/ 2598506 h 2598506"/>
              <a:gd name="connsiteX1" fmla="*/ 2058 w 103080"/>
              <a:gd name="connsiteY1" fmla="*/ 1781415 h 2598506"/>
              <a:gd name="connsiteX2" fmla="*/ 43729 w 103080"/>
              <a:gd name="connsiteY2" fmla="*/ 654772 h 2598506"/>
              <a:gd name="connsiteX3" fmla="*/ 103080 w 103080"/>
              <a:gd name="connsiteY3" fmla="*/ 0 h 2598506"/>
              <a:gd name="connsiteX0" fmla="*/ 91660 w 109364"/>
              <a:gd name="connsiteY0" fmla="*/ 2601622 h 2601622"/>
              <a:gd name="connsiteX1" fmla="*/ 2058 w 109364"/>
              <a:gd name="connsiteY1" fmla="*/ 1784531 h 2601622"/>
              <a:gd name="connsiteX2" fmla="*/ 43729 w 109364"/>
              <a:gd name="connsiteY2" fmla="*/ 657888 h 2601622"/>
              <a:gd name="connsiteX3" fmla="*/ 109364 w 109364"/>
              <a:gd name="connsiteY3" fmla="*/ 0 h 2601622"/>
            </a:gdLst>
            <a:ahLst/>
            <a:cxnLst>
              <a:cxn ang="0">
                <a:pos x="connsiteX0" y="connsiteY0"/>
              </a:cxn>
              <a:cxn ang="0">
                <a:pos x="connsiteX1" y="connsiteY1"/>
              </a:cxn>
              <a:cxn ang="0">
                <a:pos x="connsiteX2" y="connsiteY2"/>
              </a:cxn>
              <a:cxn ang="0">
                <a:pos x="connsiteX3" y="connsiteY3"/>
              </a:cxn>
            </a:cxnLst>
            <a:rect l="l" t="t" r="r" b="b"/>
            <a:pathLst>
              <a:path w="109364" h="2601622">
                <a:moveTo>
                  <a:pt x="91660" y="2601622"/>
                </a:moveTo>
                <a:cubicBezTo>
                  <a:pt x="72325" y="2372453"/>
                  <a:pt x="10046" y="2108487"/>
                  <a:pt x="2058" y="1784531"/>
                </a:cubicBezTo>
                <a:cubicBezTo>
                  <a:pt x="-5930" y="1460575"/>
                  <a:pt x="9609" y="985434"/>
                  <a:pt x="43729" y="657888"/>
                </a:cubicBezTo>
                <a:cubicBezTo>
                  <a:pt x="77849" y="330342"/>
                  <a:pt x="70038" y="400455"/>
                  <a:pt x="109364" y="0"/>
                </a:cubicBezTo>
              </a:path>
            </a:pathLst>
          </a:cu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24" name="Freeform 23"/>
          <p:cNvSpPr/>
          <p:nvPr/>
        </p:nvSpPr>
        <p:spPr>
          <a:xfrm>
            <a:off x="1889336" y="2012274"/>
            <a:ext cx="215445" cy="2719914"/>
          </a:xfrm>
          <a:custGeom>
            <a:avLst/>
            <a:gdLst>
              <a:gd name="connsiteX0" fmla="*/ 13789 w 157091"/>
              <a:gd name="connsiteY0" fmla="*/ 2408830 h 2408830"/>
              <a:gd name="connsiteX1" fmla="*/ 13789 w 157091"/>
              <a:gd name="connsiteY1" fmla="*/ 1733266 h 2408830"/>
              <a:gd name="connsiteX2" fmla="*/ 157091 w 157091"/>
              <a:gd name="connsiteY2" fmla="*/ 0 h 2408830"/>
              <a:gd name="connsiteX0" fmla="*/ 1621 w 144923"/>
              <a:gd name="connsiteY0" fmla="*/ 2408830 h 2408830"/>
              <a:gd name="connsiteX1" fmla="*/ 70750 w 144923"/>
              <a:gd name="connsiteY1" fmla="*/ 1726981 h 2408830"/>
              <a:gd name="connsiteX2" fmla="*/ 144923 w 144923"/>
              <a:gd name="connsiteY2" fmla="*/ 0 h 2408830"/>
              <a:gd name="connsiteX0" fmla="*/ 215445 w 215445"/>
              <a:gd name="connsiteY0" fmla="*/ 2565943 h 2565943"/>
              <a:gd name="connsiteX1" fmla="*/ 1770 w 215445"/>
              <a:gd name="connsiteY1" fmla="*/ 1726981 h 2565943"/>
              <a:gd name="connsiteX2" fmla="*/ 75943 w 215445"/>
              <a:gd name="connsiteY2" fmla="*/ 0 h 2565943"/>
              <a:gd name="connsiteX0" fmla="*/ 215445 w 215445"/>
              <a:gd name="connsiteY0" fmla="*/ 2565943 h 2565943"/>
              <a:gd name="connsiteX1" fmla="*/ 1770 w 215445"/>
              <a:gd name="connsiteY1" fmla="*/ 1726981 h 2565943"/>
              <a:gd name="connsiteX2" fmla="*/ 75943 w 215445"/>
              <a:gd name="connsiteY2" fmla="*/ 0 h 2565943"/>
              <a:gd name="connsiteX0" fmla="*/ 215445 w 215445"/>
              <a:gd name="connsiteY0" fmla="*/ 2719914 h 2719914"/>
              <a:gd name="connsiteX1" fmla="*/ 1770 w 215445"/>
              <a:gd name="connsiteY1" fmla="*/ 1880952 h 2719914"/>
              <a:gd name="connsiteX2" fmla="*/ 91655 w 215445"/>
              <a:gd name="connsiteY2" fmla="*/ 0 h 2719914"/>
            </a:gdLst>
            <a:ahLst/>
            <a:cxnLst>
              <a:cxn ang="0">
                <a:pos x="connsiteX0" y="connsiteY0"/>
              </a:cxn>
              <a:cxn ang="0">
                <a:pos x="connsiteX1" y="connsiteY1"/>
              </a:cxn>
              <a:cxn ang="0">
                <a:pos x="connsiteX2" y="connsiteY2"/>
              </a:cxn>
            </a:cxnLst>
            <a:rect l="l" t="t" r="r" b="b"/>
            <a:pathLst>
              <a:path w="215445" h="2719914">
                <a:moveTo>
                  <a:pt x="215445" y="2719914"/>
                </a:moveTo>
                <a:cubicBezTo>
                  <a:pt x="203503" y="2582868"/>
                  <a:pt x="-22114" y="2282424"/>
                  <a:pt x="1770" y="1880952"/>
                </a:cubicBezTo>
                <a:cubicBezTo>
                  <a:pt x="25654" y="1479480"/>
                  <a:pt x="31946" y="665897"/>
                  <a:pt x="91655" y="0"/>
                </a:cubicBezTo>
              </a:path>
            </a:pathLst>
          </a:custGeom>
          <a:noFill/>
          <a:ln w="28575" cap="rnd">
            <a:solidFill>
              <a:srgbClr val="0070C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5" name="Freeform 24"/>
          <p:cNvSpPr/>
          <p:nvPr/>
        </p:nvSpPr>
        <p:spPr>
          <a:xfrm>
            <a:off x="906813" y="2117268"/>
            <a:ext cx="777899" cy="2424721"/>
          </a:xfrm>
          <a:custGeom>
            <a:avLst/>
            <a:gdLst>
              <a:gd name="connsiteX0" fmla="*/ 0 w 436729"/>
              <a:gd name="connsiteY0" fmla="*/ 2067635 h 2067635"/>
              <a:gd name="connsiteX1" fmla="*/ 225188 w 436729"/>
              <a:gd name="connsiteY1" fmla="*/ 1221474 h 2067635"/>
              <a:gd name="connsiteX2" fmla="*/ 436729 w 436729"/>
              <a:gd name="connsiteY2" fmla="*/ 0 h 2067635"/>
              <a:gd name="connsiteX0" fmla="*/ 0 w 370826"/>
              <a:gd name="connsiteY0" fmla="*/ 1985257 h 1985257"/>
              <a:gd name="connsiteX1" fmla="*/ 159285 w 370826"/>
              <a:gd name="connsiteY1" fmla="*/ 1221474 h 1985257"/>
              <a:gd name="connsiteX2" fmla="*/ 370826 w 370826"/>
              <a:gd name="connsiteY2" fmla="*/ 0 h 1985257"/>
              <a:gd name="connsiteX0" fmla="*/ 0 w 370826"/>
              <a:gd name="connsiteY0" fmla="*/ 1985257 h 1985257"/>
              <a:gd name="connsiteX1" fmla="*/ 175761 w 370826"/>
              <a:gd name="connsiteY1" fmla="*/ 1217355 h 1985257"/>
              <a:gd name="connsiteX2" fmla="*/ 370826 w 370826"/>
              <a:gd name="connsiteY2" fmla="*/ 0 h 1985257"/>
              <a:gd name="connsiteX0" fmla="*/ 0 w 826454"/>
              <a:gd name="connsiteY0" fmla="*/ 2007253 h 2007253"/>
              <a:gd name="connsiteX1" fmla="*/ 631389 w 826454"/>
              <a:gd name="connsiteY1" fmla="*/ 1217355 h 2007253"/>
              <a:gd name="connsiteX2" fmla="*/ 826454 w 826454"/>
              <a:gd name="connsiteY2" fmla="*/ 0 h 2007253"/>
              <a:gd name="connsiteX0" fmla="*/ 0 w 826454"/>
              <a:gd name="connsiteY0" fmla="*/ 2007253 h 2007253"/>
              <a:gd name="connsiteX1" fmla="*/ 515126 w 826454"/>
              <a:gd name="connsiteY1" fmla="*/ 1201644 h 2007253"/>
              <a:gd name="connsiteX2" fmla="*/ 826454 w 826454"/>
              <a:gd name="connsiteY2" fmla="*/ 0 h 2007253"/>
              <a:gd name="connsiteX0" fmla="*/ 0 w 788747"/>
              <a:gd name="connsiteY0" fmla="*/ 2079525 h 2079525"/>
              <a:gd name="connsiteX1" fmla="*/ 515126 w 788747"/>
              <a:gd name="connsiteY1" fmla="*/ 1273916 h 2079525"/>
              <a:gd name="connsiteX2" fmla="*/ 788747 w 788747"/>
              <a:gd name="connsiteY2" fmla="*/ 0 h 2079525"/>
              <a:gd name="connsiteX0" fmla="*/ 0 w 788747"/>
              <a:gd name="connsiteY0" fmla="*/ 2079525 h 2079525"/>
              <a:gd name="connsiteX1" fmla="*/ 515126 w 788747"/>
              <a:gd name="connsiteY1" fmla="*/ 1273916 h 2079525"/>
              <a:gd name="connsiteX2" fmla="*/ 788747 w 788747"/>
              <a:gd name="connsiteY2" fmla="*/ 0 h 2079525"/>
              <a:gd name="connsiteX0" fmla="*/ 0 w 788747"/>
              <a:gd name="connsiteY0" fmla="*/ 2079525 h 2079525"/>
              <a:gd name="connsiteX1" fmla="*/ 515126 w 788747"/>
              <a:gd name="connsiteY1" fmla="*/ 1273916 h 2079525"/>
              <a:gd name="connsiteX2" fmla="*/ 788747 w 788747"/>
              <a:gd name="connsiteY2" fmla="*/ 0 h 2079525"/>
              <a:gd name="connsiteX0" fmla="*/ 0 w 788747"/>
              <a:gd name="connsiteY0" fmla="*/ 2079525 h 2079525"/>
              <a:gd name="connsiteX1" fmla="*/ 549691 w 788747"/>
              <a:gd name="connsiteY1" fmla="*/ 1157652 h 2079525"/>
              <a:gd name="connsiteX2" fmla="*/ 788747 w 788747"/>
              <a:gd name="connsiteY2" fmla="*/ 0 h 2079525"/>
              <a:gd name="connsiteX0" fmla="*/ 0 w 788747"/>
              <a:gd name="connsiteY0" fmla="*/ 2079525 h 2079525"/>
              <a:gd name="connsiteX1" fmla="*/ 549691 w 788747"/>
              <a:gd name="connsiteY1" fmla="*/ 1157652 h 2079525"/>
              <a:gd name="connsiteX2" fmla="*/ 788747 w 788747"/>
              <a:gd name="connsiteY2" fmla="*/ 0 h 2079525"/>
              <a:gd name="connsiteX0" fmla="*/ 0 w 788747"/>
              <a:gd name="connsiteY0" fmla="*/ 2079525 h 2079525"/>
              <a:gd name="connsiteX1" fmla="*/ 549691 w 788747"/>
              <a:gd name="connsiteY1" fmla="*/ 1157652 h 2079525"/>
              <a:gd name="connsiteX2" fmla="*/ 788747 w 788747"/>
              <a:gd name="connsiteY2" fmla="*/ 0 h 2079525"/>
              <a:gd name="connsiteX0" fmla="*/ 0 w 788747"/>
              <a:gd name="connsiteY0" fmla="*/ 2079525 h 2079525"/>
              <a:gd name="connsiteX1" fmla="*/ 565402 w 788747"/>
              <a:gd name="connsiteY1" fmla="*/ 1091664 h 2079525"/>
              <a:gd name="connsiteX2" fmla="*/ 788747 w 788747"/>
              <a:gd name="connsiteY2" fmla="*/ 0 h 2079525"/>
              <a:gd name="connsiteX0" fmla="*/ 0 w 757324"/>
              <a:gd name="connsiteY0" fmla="*/ 1881562 h 1881562"/>
              <a:gd name="connsiteX1" fmla="*/ 565402 w 757324"/>
              <a:gd name="connsiteY1" fmla="*/ 893701 h 1881562"/>
              <a:gd name="connsiteX2" fmla="*/ 757324 w 757324"/>
              <a:gd name="connsiteY2" fmla="*/ 0 h 1881562"/>
              <a:gd name="connsiteX0" fmla="*/ 0 w 757324"/>
              <a:gd name="connsiteY0" fmla="*/ 1881562 h 1881562"/>
              <a:gd name="connsiteX1" fmla="*/ 565402 w 757324"/>
              <a:gd name="connsiteY1" fmla="*/ 893701 h 1881562"/>
              <a:gd name="connsiteX2" fmla="*/ 712438 w 757324"/>
              <a:gd name="connsiteY2" fmla="*/ 217492 h 1881562"/>
              <a:gd name="connsiteX3" fmla="*/ 757324 w 757324"/>
              <a:gd name="connsiteY3" fmla="*/ 0 h 1881562"/>
              <a:gd name="connsiteX0" fmla="*/ 0 w 713646"/>
              <a:gd name="connsiteY0" fmla="*/ 2424487 h 2424487"/>
              <a:gd name="connsiteX1" fmla="*/ 565402 w 713646"/>
              <a:gd name="connsiteY1" fmla="*/ 1436626 h 2424487"/>
              <a:gd name="connsiteX2" fmla="*/ 712438 w 713646"/>
              <a:gd name="connsiteY2" fmla="*/ 760417 h 2424487"/>
              <a:gd name="connsiteX3" fmla="*/ 138199 w 713646"/>
              <a:gd name="connsiteY3" fmla="*/ 0 h 2424487"/>
              <a:gd name="connsiteX0" fmla="*/ 0 w 712438"/>
              <a:gd name="connsiteY0" fmla="*/ 2424487 h 2424487"/>
              <a:gd name="connsiteX1" fmla="*/ 565402 w 712438"/>
              <a:gd name="connsiteY1" fmla="*/ 1436626 h 2424487"/>
              <a:gd name="connsiteX2" fmla="*/ 712438 w 712438"/>
              <a:gd name="connsiteY2" fmla="*/ 760417 h 2424487"/>
              <a:gd name="connsiteX3" fmla="*/ 436213 w 712438"/>
              <a:gd name="connsiteY3" fmla="*/ 322268 h 2424487"/>
              <a:gd name="connsiteX4" fmla="*/ 138199 w 712438"/>
              <a:gd name="connsiteY4" fmla="*/ 0 h 2424487"/>
              <a:gd name="connsiteX0" fmla="*/ 0 w 765953"/>
              <a:gd name="connsiteY0" fmla="*/ 2424487 h 2424487"/>
              <a:gd name="connsiteX1" fmla="*/ 565402 w 765953"/>
              <a:gd name="connsiteY1" fmla="*/ 1436626 h 2424487"/>
              <a:gd name="connsiteX2" fmla="*/ 712438 w 765953"/>
              <a:gd name="connsiteY2" fmla="*/ 760417 h 2424487"/>
              <a:gd name="connsiteX3" fmla="*/ 731488 w 765953"/>
              <a:gd name="connsiteY3" fmla="*/ 84143 h 2424487"/>
              <a:gd name="connsiteX4" fmla="*/ 138199 w 765953"/>
              <a:gd name="connsiteY4" fmla="*/ 0 h 2424487"/>
              <a:gd name="connsiteX0" fmla="*/ 0 w 765953"/>
              <a:gd name="connsiteY0" fmla="*/ 2424487 h 2424487"/>
              <a:gd name="connsiteX1" fmla="*/ 565402 w 765953"/>
              <a:gd name="connsiteY1" fmla="*/ 1436626 h 2424487"/>
              <a:gd name="connsiteX2" fmla="*/ 712438 w 765953"/>
              <a:gd name="connsiteY2" fmla="*/ 760417 h 2424487"/>
              <a:gd name="connsiteX3" fmla="*/ 731488 w 765953"/>
              <a:gd name="connsiteY3" fmla="*/ 84143 h 2424487"/>
              <a:gd name="connsiteX4" fmla="*/ 138199 w 765953"/>
              <a:gd name="connsiteY4" fmla="*/ 0 h 2424487"/>
              <a:gd name="connsiteX0" fmla="*/ 0 w 765953"/>
              <a:gd name="connsiteY0" fmla="*/ 2424487 h 2424487"/>
              <a:gd name="connsiteX1" fmla="*/ 565402 w 765953"/>
              <a:gd name="connsiteY1" fmla="*/ 1436626 h 2424487"/>
              <a:gd name="connsiteX2" fmla="*/ 712438 w 765953"/>
              <a:gd name="connsiteY2" fmla="*/ 760417 h 2424487"/>
              <a:gd name="connsiteX3" fmla="*/ 731488 w 765953"/>
              <a:gd name="connsiteY3" fmla="*/ 84143 h 2424487"/>
              <a:gd name="connsiteX4" fmla="*/ 138199 w 765953"/>
              <a:gd name="connsiteY4" fmla="*/ 0 h 2424487"/>
              <a:gd name="connsiteX0" fmla="*/ 0 w 772830"/>
              <a:gd name="connsiteY0" fmla="*/ 2424487 h 2424487"/>
              <a:gd name="connsiteX1" fmla="*/ 565402 w 772830"/>
              <a:gd name="connsiteY1" fmla="*/ 1436626 h 2424487"/>
              <a:gd name="connsiteX2" fmla="*/ 712438 w 772830"/>
              <a:gd name="connsiteY2" fmla="*/ 760417 h 2424487"/>
              <a:gd name="connsiteX3" fmla="*/ 731488 w 772830"/>
              <a:gd name="connsiteY3" fmla="*/ 84143 h 2424487"/>
              <a:gd name="connsiteX4" fmla="*/ 138199 w 772830"/>
              <a:gd name="connsiteY4" fmla="*/ 0 h 2424487"/>
              <a:gd name="connsiteX0" fmla="*/ 0 w 771718"/>
              <a:gd name="connsiteY0" fmla="*/ 2424487 h 2424487"/>
              <a:gd name="connsiteX1" fmla="*/ 565402 w 771718"/>
              <a:gd name="connsiteY1" fmla="*/ 1436626 h 2424487"/>
              <a:gd name="connsiteX2" fmla="*/ 664812 w 771718"/>
              <a:gd name="connsiteY2" fmla="*/ 1065218 h 2424487"/>
              <a:gd name="connsiteX3" fmla="*/ 712438 w 771718"/>
              <a:gd name="connsiteY3" fmla="*/ 760417 h 2424487"/>
              <a:gd name="connsiteX4" fmla="*/ 731488 w 771718"/>
              <a:gd name="connsiteY4" fmla="*/ 84143 h 2424487"/>
              <a:gd name="connsiteX5" fmla="*/ 138199 w 771718"/>
              <a:gd name="connsiteY5" fmla="*/ 0 h 2424487"/>
              <a:gd name="connsiteX0" fmla="*/ 0 w 774026"/>
              <a:gd name="connsiteY0" fmla="*/ 2424487 h 2424487"/>
              <a:gd name="connsiteX1" fmla="*/ 565402 w 774026"/>
              <a:gd name="connsiteY1" fmla="*/ 1436626 h 2424487"/>
              <a:gd name="connsiteX2" fmla="*/ 664812 w 774026"/>
              <a:gd name="connsiteY2" fmla="*/ 1065218 h 2424487"/>
              <a:gd name="connsiteX3" fmla="*/ 721963 w 774026"/>
              <a:gd name="connsiteY3" fmla="*/ 627067 h 2424487"/>
              <a:gd name="connsiteX4" fmla="*/ 731488 w 774026"/>
              <a:gd name="connsiteY4" fmla="*/ 84143 h 2424487"/>
              <a:gd name="connsiteX5" fmla="*/ 138199 w 774026"/>
              <a:gd name="connsiteY5" fmla="*/ 0 h 2424487"/>
              <a:gd name="connsiteX0" fmla="*/ 0 w 774026"/>
              <a:gd name="connsiteY0" fmla="*/ 2424487 h 2424487"/>
              <a:gd name="connsiteX1" fmla="*/ 565402 w 774026"/>
              <a:gd name="connsiteY1" fmla="*/ 1436626 h 2424487"/>
              <a:gd name="connsiteX2" fmla="*/ 721963 w 774026"/>
              <a:gd name="connsiteY2" fmla="*/ 627067 h 2424487"/>
              <a:gd name="connsiteX3" fmla="*/ 731488 w 774026"/>
              <a:gd name="connsiteY3" fmla="*/ 84143 h 2424487"/>
              <a:gd name="connsiteX4" fmla="*/ 138199 w 774026"/>
              <a:gd name="connsiteY4" fmla="*/ 0 h 2424487"/>
              <a:gd name="connsiteX0" fmla="*/ 0 w 774026"/>
              <a:gd name="connsiteY0" fmla="*/ 2424487 h 2424487"/>
              <a:gd name="connsiteX1" fmla="*/ 565402 w 774026"/>
              <a:gd name="connsiteY1" fmla="*/ 1436626 h 2424487"/>
              <a:gd name="connsiteX2" fmla="*/ 721963 w 774026"/>
              <a:gd name="connsiteY2" fmla="*/ 741367 h 2424487"/>
              <a:gd name="connsiteX3" fmla="*/ 731488 w 774026"/>
              <a:gd name="connsiteY3" fmla="*/ 84143 h 2424487"/>
              <a:gd name="connsiteX4" fmla="*/ 138199 w 774026"/>
              <a:gd name="connsiteY4" fmla="*/ 0 h 2424487"/>
              <a:gd name="connsiteX0" fmla="*/ 0 w 783654"/>
              <a:gd name="connsiteY0" fmla="*/ 2424487 h 2424487"/>
              <a:gd name="connsiteX1" fmla="*/ 565402 w 783654"/>
              <a:gd name="connsiteY1" fmla="*/ 1436626 h 2424487"/>
              <a:gd name="connsiteX2" fmla="*/ 721963 w 783654"/>
              <a:gd name="connsiteY2" fmla="*/ 741367 h 2424487"/>
              <a:gd name="connsiteX3" fmla="*/ 731488 w 783654"/>
              <a:gd name="connsiteY3" fmla="*/ 84143 h 2424487"/>
              <a:gd name="connsiteX4" fmla="*/ 138199 w 783654"/>
              <a:gd name="connsiteY4" fmla="*/ 0 h 2424487"/>
              <a:gd name="connsiteX0" fmla="*/ 0 w 781007"/>
              <a:gd name="connsiteY0" fmla="*/ 2424487 h 2424487"/>
              <a:gd name="connsiteX1" fmla="*/ 565402 w 781007"/>
              <a:gd name="connsiteY1" fmla="*/ 1436626 h 2424487"/>
              <a:gd name="connsiteX2" fmla="*/ 721963 w 781007"/>
              <a:gd name="connsiteY2" fmla="*/ 741367 h 2424487"/>
              <a:gd name="connsiteX3" fmla="*/ 731488 w 781007"/>
              <a:gd name="connsiteY3" fmla="*/ 84143 h 2424487"/>
              <a:gd name="connsiteX4" fmla="*/ 138199 w 781007"/>
              <a:gd name="connsiteY4" fmla="*/ 0 h 2424487"/>
              <a:gd name="connsiteX0" fmla="*/ 0 w 781007"/>
              <a:gd name="connsiteY0" fmla="*/ 2424487 h 2424487"/>
              <a:gd name="connsiteX1" fmla="*/ 565402 w 781007"/>
              <a:gd name="connsiteY1" fmla="*/ 1436626 h 2424487"/>
              <a:gd name="connsiteX2" fmla="*/ 721963 w 781007"/>
              <a:gd name="connsiteY2" fmla="*/ 741367 h 2424487"/>
              <a:gd name="connsiteX3" fmla="*/ 731488 w 781007"/>
              <a:gd name="connsiteY3" fmla="*/ 84143 h 2424487"/>
              <a:gd name="connsiteX4" fmla="*/ 52474 w 781007"/>
              <a:gd name="connsiteY4" fmla="*/ 0 h 2424487"/>
              <a:gd name="connsiteX0" fmla="*/ 0 w 781007"/>
              <a:gd name="connsiteY0" fmla="*/ 2424721 h 2424721"/>
              <a:gd name="connsiteX1" fmla="*/ 565402 w 781007"/>
              <a:gd name="connsiteY1" fmla="*/ 1436860 h 2424721"/>
              <a:gd name="connsiteX2" fmla="*/ 721963 w 781007"/>
              <a:gd name="connsiteY2" fmla="*/ 741601 h 2424721"/>
              <a:gd name="connsiteX3" fmla="*/ 731488 w 781007"/>
              <a:gd name="connsiteY3" fmla="*/ 84377 h 2424721"/>
              <a:gd name="connsiteX4" fmla="*/ 52474 w 781007"/>
              <a:gd name="connsiteY4" fmla="*/ 234 h 2424721"/>
              <a:gd name="connsiteX0" fmla="*/ 0 w 774904"/>
              <a:gd name="connsiteY0" fmla="*/ 2424721 h 2424721"/>
              <a:gd name="connsiteX1" fmla="*/ 565402 w 774904"/>
              <a:gd name="connsiteY1" fmla="*/ 1436860 h 2424721"/>
              <a:gd name="connsiteX2" fmla="*/ 700862 w 774904"/>
              <a:gd name="connsiteY2" fmla="*/ 727534 h 2424721"/>
              <a:gd name="connsiteX3" fmla="*/ 731488 w 774904"/>
              <a:gd name="connsiteY3" fmla="*/ 84377 h 2424721"/>
              <a:gd name="connsiteX4" fmla="*/ 52474 w 774904"/>
              <a:gd name="connsiteY4" fmla="*/ 234 h 2424721"/>
              <a:gd name="connsiteX0" fmla="*/ 0 w 774904"/>
              <a:gd name="connsiteY0" fmla="*/ 2424721 h 2424721"/>
              <a:gd name="connsiteX1" fmla="*/ 565402 w 774904"/>
              <a:gd name="connsiteY1" fmla="*/ 1436860 h 2424721"/>
              <a:gd name="connsiteX2" fmla="*/ 700862 w 774904"/>
              <a:gd name="connsiteY2" fmla="*/ 727534 h 2424721"/>
              <a:gd name="connsiteX3" fmla="*/ 731488 w 774904"/>
              <a:gd name="connsiteY3" fmla="*/ 84377 h 2424721"/>
              <a:gd name="connsiteX4" fmla="*/ 52474 w 774904"/>
              <a:gd name="connsiteY4" fmla="*/ 234 h 2424721"/>
              <a:gd name="connsiteX0" fmla="*/ 0 w 781007"/>
              <a:gd name="connsiteY0" fmla="*/ 2424721 h 2424721"/>
              <a:gd name="connsiteX1" fmla="*/ 565402 w 781007"/>
              <a:gd name="connsiteY1" fmla="*/ 1436860 h 2424721"/>
              <a:gd name="connsiteX2" fmla="*/ 721964 w 781007"/>
              <a:gd name="connsiteY2" fmla="*/ 657196 h 2424721"/>
              <a:gd name="connsiteX3" fmla="*/ 731488 w 781007"/>
              <a:gd name="connsiteY3" fmla="*/ 84377 h 2424721"/>
              <a:gd name="connsiteX4" fmla="*/ 52474 w 781007"/>
              <a:gd name="connsiteY4" fmla="*/ 234 h 2424721"/>
              <a:gd name="connsiteX0" fmla="*/ 0 w 777391"/>
              <a:gd name="connsiteY0" fmla="*/ 2424721 h 2424721"/>
              <a:gd name="connsiteX1" fmla="*/ 565402 w 777391"/>
              <a:gd name="connsiteY1" fmla="*/ 1436860 h 2424721"/>
              <a:gd name="connsiteX2" fmla="*/ 721964 w 777391"/>
              <a:gd name="connsiteY2" fmla="*/ 657196 h 2424721"/>
              <a:gd name="connsiteX3" fmla="*/ 731488 w 777391"/>
              <a:gd name="connsiteY3" fmla="*/ 84377 h 2424721"/>
              <a:gd name="connsiteX4" fmla="*/ 52474 w 777391"/>
              <a:gd name="connsiteY4" fmla="*/ 234 h 2424721"/>
              <a:gd name="connsiteX0" fmla="*/ 0 w 777899"/>
              <a:gd name="connsiteY0" fmla="*/ 2424721 h 2424721"/>
              <a:gd name="connsiteX1" fmla="*/ 565402 w 777899"/>
              <a:gd name="connsiteY1" fmla="*/ 1436860 h 2424721"/>
              <a:gd name="connsiteX2" fmla="*/ 721964 w 777899"/>
              <a:gd name="connsiteY2" fmla="*/ 657196 h 2424721"/>
              <a:gd name="connsiteX3" fmla="*/ 731488 w 777899"/>
              <a:gd name="connsiteY3" fmla="*/ 84377 h 2424721"/>
              <a:gd name="connsiteX4" fmla="*/ 52474 w 777899"/>
              <a:gd name="connsiteY4" fmla="*/ 234 h 2424721"/>
              <a:gd name="connsiteX0" fmla="*/ 0 w 777899"/>
              <a:gd name="connsiteY0" fmla="*/ 2424721 h 2424721"/>
              <a:gd name="connsiteX1" fmla="*/ 565402 w 777899"/>
              <a:gd name="connsiteY1" fmla="*/ 1436860 h 2424721"/>
              <a:gd name="connsiteX2" fmla="*/ 721964 w 777899"/>
              <a:gd name="connsiteY2" fmla="*/ 657196 h 2424721"/>
              <a:gd name="connsiteX3" fmla="*/ 731488 w 777899"/>
              <a:gd name="connsiteY3" fmla="*/ 84377 h 2424721"/>
              <a:gd name="connsiteX4" fmla="*/ 52474 w 777899"/>
              <a:gd name="connsiteY4" fmla="*/ 234 h 242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7899" h="2424721">
                <a:moveTo>
                  <a:pt x="0" y="2424721"/>
                </a:moveTo>
                <a:cubicBezTo>
                  <a:pt x="76200" y="2173943"/>
                  <a:pt x="431761" y="1783470"/>
                  <a:pt x="565402" y="1436860"/>
                </a:cubicBezTo>
                <a:cubicBezTo>
                  <a:pt x="643526" y="1137290"/>
                  <a:pt x="694283" y="882610"/>
                  <a:pt x="721964" y="657196"/>
                </a:cubicBezTo>
                <a:cubicBezTo>
                  <a:pt x="749645" y="431782"/>
                  <a:pt x="827195" y="211113"/>
                  <a:pt x="731488" y="84377"/>
                </a:cubicBezTo>
                <a:cubicBezTo>
                  <a:pt x="635782" y="-42359"/>
                  <a:pt x="302168" y="15845"/>
                  <a:pt x="52474" y="234"/>
                </a:cubicBezTo>
              </a:path>
            </a:pathLst>
          </a:custGeom>
          <a:ln w="28575">
            <a:solidFill>
              <a:srgbClr val="0070C0"/>
            </a:solidFill>
            <a:prstDash val="sys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26" name="Freeform 25"/>
          <p:cNvSpPr/>
          <p:nvPr/>
        </p:nvSpPr>
        <p:spPr>
          <a:xfrm>
            <a:off x="2009666" y="2168533"/>
            <a:ext cx="1022121" cy="2658909"/>
          </a:xfrm>
          <a:custGeom>
            <a:avLst/>
            <a:gdLst>
              <a:gd name="connsiteX0" fmla="*/ 19301 w 101188"/>
              <a:gd name="connsiteY0" fmla="*/ 2340591 h 2340591"/>
              <a:gd name="connsiteX1" fmla="*/ 5653 w 101188"/>
              <a:gd name="connsiteY1" fmla="*/ 1685499 h 2340591"/>
              <a:gd name="connsiteX2" fmla="*/ 101188 w 101188"/>
              <a:gd name="connsiteY2" fmla="*/ 0 h 2340591"/>
              <a:gd name="connsiteX0" fmla="*/ 19301 w 104331"/>
              <a:gd name="connsiteY0" fmla="*/ 1862966 h 1862966"/>
              <a:gd name="connsiteX1" fmla="*/ 5653 w 104331"/>
              <a:gd name="connsiteY1" fmla="*/ 1207874 h 1862966"/>
              <a:gd name="connsiteX2" fmla="*/ 104331 w 104331"/>
              <a:gd name="connsiteY2" fmla="*/ 0 h 1862966"/>
              <a:gd name="connsiteX0" fmla="*/ 19301 w 108820"/>
              <a:gd name="connsiteY0" fmla="*/ 1862966 h 1862966"/>
              <a:gd name="connsiteX1" fmla="*/ 5653 w 108820"/>
              <a:gd name="connsiteY1" fmla="*/ 1207874 h 1862966"/>
              <a:gd name="connsiteX2" fmla="*/ 104331 w 108820"/>
              <a:gd name="connsiteY2" fmla="*/ 0 h 1862966"/>
              <a:gd name="connsiteX0" fmla="*/ 1498 w 102192"/>
              <a:gd name="connsiteY0" fmla="*/ 1862966 h 1862966"/>
              <a:gd name="connsiteX1" fmla="*/ 85260 w 102192"/>
              <a:gd name="connsiteY1" fmla="*/ 1251866 h 1862966"/>
              <a:gd name="connsiteX2" fmla="*/ 86528 w 102192"/>
              <a:gd name="connsiteY2" fmla="*/ 0 h 1862966"/>
              <a:gd name="connsiteX0" fmla="*/ 1498 w 97145"/>
              <a:gd name="connsiteY0" fmla="*/ 1862966 h 1862966"/>
              <a:gd name="connsiteX1" fmla="*/ 85260 w 97145"/>
              <a:gd name="connsiteY1" fmla="*/ 1251866 h 1862966"/>
              <a:gd name="connsiteX2" fmla="*/ 86528 w 97145"/>
              <a:gd name="connsiteY2" fmla="*/ 0 h 1862966"/>
              <a:gd name="connsiteX0" fmla="*/ 1498 w 87012"/>
              <a:gd name="connsiteY0" fmla="*/ 1862966 h 1862966"/>
              <a:gd name="connsiteX1" fmla="*/ 85260 w 87012"/>
              <a:gd name="connsiteY1" fmla="*/ 1251866 h 1862966"/>
              <a:gd name="connsiteX2" fmla="*/ 86528 w 87012"/>
              <a:gd name="connsiteY2" fmla="*/ 0 h 1862966"/>
              <a:gd name="connsiteX0" fmla="*/ 421898 w 421898"/>
              <a:gd name="connsiteY0" fmla="*/ 2142628 h 2142628"/>
              <a:gd name="connsiteX1" fmla="*/ 2897 w 421898"/>
              <a:gd name="connsiteY1" fmla="*/ 1251866 h 2142628"/>
              <a:gd name="connsiteX2" fmla="*/ 4165 w 421898"/>
              <a:gd name="connsiteY2" fmla="*/ 0 h 2142628"/>
              <a:gd name="connsiteX0" fmla="*/ 417733 w 417733"/>
              <a:gd name="connsiteY0" fmla="*/ 2142628 h 2142628"/>
              <a:gd name="connsiteX1" fmla="*/ 99285 w 417733"/>
              <a:gd name="connsiteY1" fmla="*/ 1277004 h 2142628"/>
              <a:gd name="connsiteX2" fmla="*/ 0 w 417733"/>
              <a:gd name="connsiteY2" fmla="*/ 0 h 2142628"/>
              <a:gd name="connsiteX0" fmla="*/ 417733 w 417733"/>
              <a:gd name="connsiteY0" fmla="*/ 2142628 h 2142628"/>
              <a:gd name="connsiteX1" fmla="*/ 99285 w 417733"/>
              <a:gd name="connsiteY1" fmla="*/ 1277004 h 2142628"/>
              <a:gd name="connsiteX2" fmla="*/ 0 w 417733"/>
              <a:gd name="connsiteY2" fmla="*/ 0 h 2142628"/>
              <a:gd name="connsiteX0" fmla="*/ 417733 w 417733"/>
              <a:gd name="connsiteY0" fmla="*/ 2142628 h 2142628"/>
              <a:gd name="connsiteX1" fmla="*/ 99285 w 417733"/>
              <a:gd name="connsiteY1" fmla="*/ 1277004 h 2142628"/>
              <a:gd name="connsiteX2" fmla="*/ 0 w 417733"/>
              <a:gd name="connsiteY2" fmla="*/ 0 h 2142628"/>
              <a:gd name="connsiteX0" fmla="*/ 392595 w 392595"/>
              <a:gd name="connsiteY0" fmla="*/ 2158339 h 2158339"/>
              <a:gd name="connsiteX1" fmla="*/ 74147 w 392595"/>
              <a:gd name="connsiteY1" fmla="*/ 1292715 h 2158339"/>
              <a:gd name="connsiteX2" fmla="*/ 0 w 392595"/>
              <a:gd name="connsiteY2" fmla="*/ 0 h 2158339"/>
              <a:gd name="connsiteX0" fmla="*/ 392595 w 392595"/>
              <a:gd name="connsiteY0" fmla="*/ 2158339 h 2158339"/>
              <a:gd name="connsiteX1" fmla="*/ 74147 w 392595"/>
              <a:gd name="connsiteY1" fmla="*/ 1292715 h 2158339"/>
              <a:gd name="connsiteX2" fmla="*/ 16214 w 392595"/>
              <a:gd name="connsiteY2" fmla="*/ 218342 h 2158339"/>
              <a:gd name="connsiteX3" fmla="*/ 0 w 392595"/>
              <a:gd name="connsiteY3" fmla="*/ 0 h 2158339"/>
              <a:gd name="connsiteX0" fmla="*/ 377616 w 377616"/>
              <a:gd name="connsiteY0" fmla="*/ 2777464 h 2777464"/>
              <a:gd name="connsiteX1" fmla="*/ 59168 w 377616"/>
              <a:gd name="connsiteY1" fmla="*/ 1911840 h 2777464"/>
              <a:gd name="connsiteX2" fmla="*/ 1235 w 377616"/>
              <a:gd name="connsiteY2" fmla="*/ 837467 h 2777464"/>
              <a:gd name="connsiteX3" fmla="*/ 70746 w 377616"/>
              <a:gd name="connsiteY3" fmla="*/ 0 h 2777464"/>
              <a:gd name="connsiteX0" fmla="*/ 376438 w 376438"/>
              <a:gd name="connsiteY0" fmla="*/ 2777464 h 2777464"/>
              <a:gd name="connsiteX1" fmla="*/ 57990 w 376438"/>
              <a:gd name="connsiteY1" fmla="*/ 1911840 h 2777464"/>
              <a:gd name="connsiteX2" fmla="*/ 57 w 376438"/>
              <a:gd name="connsiteY2" fmla="*/ 837467 h 2777464"/>
              <a:gd name="connsiteX3" fmla="*/ 47681 w 376438"/>
              <a:gd name="connsiteY3" fmla="*/ 256442 h 2777464"/>
              <a:gd name="connsiteX4" fmla="*/ 69568 w 376438"/>
              <a:gd name="connsiteY4" fmla="*/ 0 h 2777464"/>
              <a:gd name="connsiteX0" fmla="*/ 376438 w 1022068"/>
              <a:gd name="connsiteY0" fmla="*/ 2653639 h 2653639"/>
              <a:gd name="connsiteX1" fmla="*/ 57990 w 1022068"/>
              <a:gd name="connsiteY1" fmla="*/ 1788015 h 2653639"/>
              <a:gd name="connsiteX2" fmla="*/ 57 w 1022068"/>
              <a:gd name="connsiteY2" fmla="*/ 713642 h 2653639"/>
              <a:gd name="connsiteX3" fmla="*/ 47681 w 1022068"/>
              <a:gd name="connsiteY3" fmla="*/ 132617 h 2653639"/>
              <a:gd name="connsiteX4" fmla="*/ 1022068 w 1022068"/>
              <a:gd name="connsiteY4" fmla="*/ 0 h 2653639"/>
              <a:gd name="connsiteX0" fmla="*/ 376491 w 1022121"/>
              <a:gd name="connsiteY0" fmla="*/ 2658909 h 2658909"/>
              <a:gd name="connsiteX1" fmla="*/ 58043 w 1022121"/>
              <a:gd name="connsiteY1" fmla="*/ 1793285 h 2658909"/>
              <a:gd name="connsiteX2" fmla="*/ 110 w 1022121"/>
              <a:gd name="connsiteY2" fmla="*/ 718912 h 2658909"/>
              <a:gd name="connsiteX3" fmla="*/ 28684 w 1022121"/>
              <a:gd name="connsiteY3" fmla="*/ 71212 h 2658909"/>
              <a:gd name="connsiteX4" fmla="*/ 1022121 w 1022121"/>
              <a:gd name="connsiteY4" fmla="*/ 5270 h 2658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2121" h="2658909">
                <a:moveTo>
                  <a:pt x="376491" y="2658909"/>
                </a:moveTo>
                <a:cubicBezTo>
                  <a:pt x="362843" y="2526412"/>
                  <a:pt x="100956" y="2151960"/>
                  <a:pt x="58043" y="1793285"/>
                </a:cubicBezTo>
                <a:cubicBezTo>
                  <a:pt x="-4687" y="1469952"/>
                  <a:pt x="12468" y="934364"/>
                  <a:pt x="110" y="718912"/>
                </a:cubicBezTo>
                <a:cubicBezTo>
                  <a:pt x="-1608" y="443012"/>
                  <a:pt x="17099" y="210790"/>
                  <a:pt x="28684" y="71212"/>
                </a:cubicBezTo>
                <a:cubicBezTo>
                  <a:pt x="40269" y="-68366"/>
                  <a:pt x="1018473" y="48010"/>
                  <a:pt x="1022121" y="5270"/>
                </a:cubicBezTo>
              </a:path>
            </a:pathLst>
          </a:custGeom>
          <a:noFill/>
          <a:ln w="28575" cap="rnd">
            <a:solidFill>
              <a:srgbClr val="0070C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7" name="Isosceles Triangle 26"/>
          <p:cNvSpPr/>
          <p:nvPr/>
        </p:nvSpPr>
        <p:spPr>
          <a:xfrm rot="348671">
            <a:off x="1825915" y="1633468"/>
            <a:ext cx="205239" cy="370820"/>
          </a:xfrm>
          <a:prstGeom prst="triangle">
            <a:avLst/>
          </a:prstGeom>
          <a:solidFill>
            <a:srgbClr val="0070C0"/>
          </a:solidFill>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nvGrpSpPr>
          <p:cNvPr id="28" name="Group 27"/>
          <p:cNvGrpSpPr/>
          <p:nvPr/>
        </p:nvGrpSpPr>
        <p:grpSpPr>
          <a:xfrm>
            <a:off x="2152197" y="1632069"/>
            <a:ext cx="832022" cy="864112"/>
            <a:chOff x="1694997" y="1287800"/>
            <a:chExt cx="832022" cy="864112"/>
          </a:xfrm>
        </p:grpSpPr>
        <p:grpSp>
          <p:nvGrpSpPr>
            <p:cNvPr id="29" name="Group 28"/>
            <p:cNvGrpSpPr/>
            <p:nvPr/>
          </p:nvGrpSpPr>
          <p:grpSpPr>
            <a:xfrm>
              <a:off x="1694997" y="1287800"/>
              <a:ext cx="832022" cy="864112"/>
              <a:chOff x="476577" y="3061254"/>
              <a:chExt cx="952016" cy="815361"/>
            </a:xfrm>
          </p:grpSpPr>
          <p:sp>
            <p:nvSpPr>
              <p:cNvPr id="32" name="Oval 31"/>
              <p:cNvSpPr/>
              <p:nvPr/>
            </p:nvSpPr>
            <p:spPr>
              <a:xfrm>
                <a:off x="476577" y="3061254"/>
                <a:ext cx="952016" cy="815361"/>
              </a:xfrm>
              <a:prstGeom prst="ellipse">
                <a:avLst/>
              </a:prstGeom>
              <a:solidFill>
                <a:srgbClr val="005295"/>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extrusionH="190500">
                <a:bevelT w="666750" h="69850"/>
                <a:extrusionClr>
                  <a:schemeClr val="tx1"/>
                </a:extrusionClr>
              </a:sp3d>
            </p:spPr>
            <p:txBody>
              <a:bodyPr vert="horz" wrap="square" lIns="91440" tIns="45720" rIns="91440" bIns="45720" numCol="1" rtlCol="0" anchor="t" anchorCtr="0" compatLnSpc="1">
                <a:prstTxWarp prst="textNoShape">
                  <a:avLst/>
                </a:prstTxWarp>
              </a:bodyPr>
              <a:lstStyle/>
              <a:p>
                <a:pPr eaLnBrk="0" hangingPunct="0"/>
                <a:endParaRPr lang="en-US" sz="2800">
                  <a:latin typeface="Arial" charset="0"/>
                  <a:ea typeface="ヒラギノ角ゴ Pro W3" pitchFamily="48" charset="-128"/>
                  <a:cs typeface="Arial" charset="0"/>
                </a:endParaRPr>
              </a:p>
            </p:txBody>
          </p:sp>
          <p:grpSp>
            <p:nvGrpSpPr>
              <p:cNvPr id="33" name="Group 32"/>
              <p:cNvGrpSpPr/>
              <p:nvPr/>
            </p:nvGrpSpPr>
            <p:grpSpPr>
              <a:xfrm>
                <a:off x="558862" y="3387325"/>
                <a:ext cx="784096" cy="249218"/>
                <a:chOff x="1709847" y="3489691"/>
                <a:chExt cx="1044819" cy="249218"/>
              </a:xfrm>
            </p:grpSpPr>
            <p:sp>
              <p:nvSpPr>
                <p:cNvPr id="34" name="Freeform 33"/>
                <p:cNvSpPr/>
                <p:nvPr/>
              </p:nvSpPr>
              <p:spPr>
                <a:xfrm>
                  <a:off x="1709847" y="3489691"/>
                  <a:ext cx="1044819" cy="249218"/>
                </a:xfrm>
                <a:custGeom>
                  <a:avLst/>
                  <a:gdLst>
                    <a:gd name="connsiteX0" fmla="*/ 986652 w 1044821"/>
                    <a:gd name="connsiteY0" fmla="*/ 250734 h 250745"/>
                    <a:gd name="connsiteX1" fmla="*/ 643147 w 1044821"/>
                    <a:gd name="connsiteY1" fmla="*/ 144295 h 250745"/>
                    <a:gd name="connsiteX2" fmla="*/ 333509 w 1044821"/>
                    <a:gd name="connsiteY2" fmla="*/ 93495 h 250745"/>
                    <a:gd name="connsiteX3" fmla="*/ 11776 w 1044821"/>
                    <a:gd name="connsiteY3" fmla="*/ 120105 h 250745"/>
                    <a:gd name="connsiteX4" fmla="*/ 130309 w 1044821"/>
                    <a:gd name="connsiteY4" fmla="*/ 86238 h 250745"/>
                    <a:gd name="connsiteX5" fmla="*/ 181109 w 1044821"/>
                    <a:gd name="connsiteY5" fmla="*/ 59629 h 250745"/>
                    <a:gd name="connsiteX6" fmla="*/ 52900 w 1044821"/>
                    <a:gd name="connsiteY6" fmla="*/ 28181 h 250745"/>
                    <a:gd name="connsiteX7" fmla="*/ 9357 w 1044821"/>
                    <a:gd name="connsiteY7" fmla="*/ 8829 h 250745"/>
                    <a:gd name="connsiteX8" fmla="*/ 224652 w 1044821"/>
                    <a:gd name="connsiteY8" fmla="*/ 28181 h 250745"/>
                    <a:gd name="connsiteX9" fmla="*/ 454462 w 1044821"/>
                    <a:gd name="connsiteY9" fmla="*/ 20924 h 250745"/>
                    <a:gd name="connsiteX10" fmla="*/ 551224 w 1044821"/>
                    <a:gd name="connsiteY10" fmla="*/ 1572 h 250745"/>
                    <a:gd name="connsiteX11" fmla="*/ 667338 w 1044821"/>
                    <a:gd name="connsiteY11" fmla="*/ 66886 h 250745"/>
                    <a:gd name="connsiteX12" fmla="*/ 778614 w 1044821"/>
                    <a:gd name="connsiteY12" fmla="*/ 141876 h 250745"/>
                    <a:gd name="connsiteX13" fmla="*/ 1044709 w 1044821"/>
                    <a:gd name="connsiteY13" fmla="*/ 231381 h 250745"/>
                    <a:gd name="connsiteX14" fmla="*/ 744747 w 1044821"/>
                    <a:gd name="connsiteY14" fmla="*/ 151553 h 250745"/>
                    <a:gd name="connsiteX15" fmla="*/ 986652 w 1044821"/>
                    <a:gd name="connsiteY15" fmla="*/ 250734 h 250745"/>
                    <a:gd name="connsiteX0" fmla="*/ 986652 w 1044821"/>
                    <a:gd name="connsiteY0" fmla="*/ 251012 h 251023"/>
                    <a:gd name="connsiteX1" fmla="*/ 643147 w 1044821"/>
                    <a:gd name="connsiteY1" fmla="*/ 144573 h 251023"/>
                    <a:gd name="connsiteX2" fmla="*/ 333509 w 1044821"/>
                    <a:gd name="connsiteY2" fmla="*/ 93773 h 251023"/>
                    <a:gd name="connsiteX3" fmla="*/ 11776 w 1044821"/>
                    <a:gd name="connsiteY3" fmla="*/ 120383 h 251023"/>
                    <a:gd name="connsiteX4" fmla="*/ 130309 w 1044821"/>
                    <a:gd name="connsiteY4" fmla="*/ 86516 h 251023"/>
                    <a:gd name="connsiteX5" fmla="*/ 181109 w 1044821"/>
                    <a:gd name="connsiteY5" fmla="*/ 59907 h 251023"/>
                    <a:gd name="connsiteX6" fmla="*/ 52900 w 1044821"/>
                    <a:gd name="connsiteY6" fmla="*/ 28459 h 251023"/>
                    <a:gd name="connsiteX7" fmla="*/ 9357 w 1044821"/>
                    <a:gd name="connsiteY7" fmla="*/ 9107 h 251023"/>
                    <a:gd name="connsiteX8" fmla="*/ 224652 w 1044821"/>
                    <a:gd name="connsiteY8" fmla="*/ 28459 h 251023"/>
                    <a:gd name="connsiteX9" fmla="*/ 442556 w 1044821"/>
                    <a:gd name="connsiteY9" fmla="*/ 18820 h 251023"/>
                    <a:gd name="connsiteX10" fmla="*/ 551224 w 1044821"/>
                    <a:gd name="connsiteY10" fmla="*/ 1850 h 251023"/>
                    <a:gd name="connsiteX11" fmla="*/ 667338 w 1044821"/>
                    <a:gd name="connsiteY11" fmla="*/ 67164 h 251023"/>
                    <a:gd name="connsiteX12" fmla="*/ 778614 w 1044821"/>
                    <a:gd name="connsiteY12" fmla="*/ 142154 h 251023"/>
                    <a:gd name="connsiteX13" fmla="*/ 1044709 w 1044821"/>
                    <a:gd name="connsiteY13" fmla="*/ 231659 h 251023"/>
                    <a:gd name="connsiteX14" fmla="*/ 744747 w 1044821"/>
                    <a:gd name="connsiteY14" fmla="*/ 151831 h 251023"/>
                    <a:gd name="connsiteX15" fmla="*/ 986652 w 1044821"/>
                    <a:gd name="connsiteY15" fmla="*/ 251012 h 251023"/>
                    <a:gd name="connsiteX0" fmla="*/ 986652 w 1044821"/>
                    <a:gd name="connsiteY0" fmla="*/ 251012 h 251023"/>
                    <a:gd name="connsiteX1" fmla="*/ 643147 w 1044821"/>
                    <a:gd name="connsiteY1" fmla="*/ 144573 h 251023"/>
                    <a:gd name="connsiteX2" fmla="*/ 333509 w 1044821"/>
                    <a:gd name="connsiteY2" fmla="*/ 93773 h 251023"/>
                    <a:gd name="connsiteX3" fmla="*/ 11776 w 1044821"/>
                    <a:gd name="connsiteY3" fmla="*/ 120383 h 251023"/>
                    <a:gd name="connsiteX4" fmla="*/ 130309 w 1044821"/>
                    <a:gd name="connsiteY4" fmla="*/ 86516 h 251023"/>
                    <a:gd name="connsiteX5" fmla="*/ 181109 w 1044821"/>
                    <a:gd name="connsiteY5" fmla="*/ 59907 h 251023"/>
                    <a:gd name="connsiteX6" fmla="*/ 52900 w 1044821"/>
                    <a:gd name="connsiteY6" fmla="*/ 28459 h 251023"/>
                    <a:gd name="connsiteX7" fmla="*/ 9357 w 1044821"/>
                    <a:gd name="connsiteY7" fmla="*/ 9107 h 251023"/>
                    <a:gd name="connsiteX8" fmla="*/ 224652 w 1044821"/>
                    <a:gd name="connsiteY8" fmla="*/ 28459 h 251023"/>
                    <a:gd name="connsiteX9" fmla="*/ 442556 w 1044821"/>
                    <a:gd name="connsiteY9" fmla="*/ 18820 h 251023"/>
                    <a:gd name="connsiteX10" fmla="*/ 551224 w 1044821"/>
                    <a:gd name="connsiteY10" fmla="*/ 1850 h 251023"/>
                    <a:gd name="connsiteX11" fmla="*/ 667338 w 1044821"/>
                    <a:gd name="connsiteY11" fmla="*/ 67164 h 251023"/>
                    <a:gd name="connsiteX12" fmla="*/ 778614 w 1044821"/>
                    <a:gd name="connsiteY12" fmla="*/ 142154 h 251023"/>
                    <a:gd name="connsiteX13" fmla="*/ 1044709 w 1044821"/>
                    <a:gd name="connsiteY13" fmla="*/ 231659 h 251023"/>
                    <a:gd name="connsiteX14" fmla="*/ 744747 w 1044821"/>
                    <a:gd name="connsiteY14" fmla="*/ 151831 h 251023"/>
                    <a:gd name="connsiteX15" fmla="*/ 986652 w 1044821"/>
                    <a:gd name="connsiteY15" fmla="*/ 251012 h 251023"/>
                    <a:gd name="connsiteX0" fmla="*/ 986652 w 1044821"/>
                    <a:gd name="connsiteY0" fmla="*/ 249207 h 249218"/>
                    <a:gd name="connsiteX1" fmla="*/ 643147 w 1044821"/>
                    <a:gd name="connsiteY1" fmla="*/ 142768 h 249218"/>
                    <a:gd name="connsiteX2" fmla="*/ 333509 w 1044821"/>
                    <a:gd name="connsiteY2" fmla="*/ 91968 h 249218"/>
                    <a:gd name="connsiteX3" fmla="*/ 11776 w 1044821"/>
                    <a:gd name="connsiteY3" fmla="*/ 118578 h 249218"/>
                    <a:gd name="connsiteX4" fmla="*/ 130309 w 1044821"/>
                    <a:gd name="connsiteY4" fmla="*/ 84711 h 249218"/>
                    <a:gd name="connsiteX5" fmla="*/ 181109 w 1044821"/>
                    <a:gd name="connsiteY5" fmla="*/ 58102 h 249218"/>
                    <a:gd name="connsiteX6" fmla="*/ 52900 w 1044821"/>
                    <a:gd name="connsiteY6" fmla="*/ 26654 h 249218"/>
                    <a:gd name="connsiteX7" fmla="*/ 9357 w 1044821"/>
                    <a:gd name="connsiteY7" fmla="*/ 7302 h 249218"/>
                    <a:gd name="connsiteX8" fmla="*/ 224652 w 1044821"/>
                    <a:gd name="connsiteY8" fmla="*/ 26654 h 249218"/>
                    <a:gd name="connsiteX9" fmla="*/ 442556 w 1044821"/>
                    <a:gd name="connsiteY9" fmla="*/ 17015 h 249218"/>
                    <a:gd name="connsiteX10" fmla="*/ 551224 w 1044821"/>
                    <a:gd name="connsiteY10" fmla="*/ 45 h 249218"/>
                    <a:gd name="connsiteX11" fmla="*/ 667338 w 1044821"/>
                    <a:gd name="connsiteY11" fmla="*/ 65359 h 249218"/>
                    <a:gd name="connsiteX12" fmla="*/ 778614 w 1044821"/>
                    <a:gd name="connsiteY12" fmla="*/ 140349 h 249218"/>
                    <a:gd name="connsiteX13" fmla="*/ 1044709 w 1044821"/>
                    <a:gd name="connsiteY13" fmla="*/ 229854 h 249218"/>
                    <a:gd name="connsiteX14" fmla="*/ 744747 w 1044821"/>
                    <a:gd name="connsiteY14" fmla="*/ 150026 h 249218"/>
                    <a:gd name="connsiteX15" fmla="*/ 986652 w 1044821"/>
                    <a:gd name="connsiteY15" fmla="*/ 249207 h 249218"/>
                    <a:gd name="connsiteX0" fmla="*/ 986652 w 1044821"/>
                    <a:gd name="connsiteY0" fmla="*/ 249207 h 249218"/>
                    <a:gd name="connsiteX1" fmla="*/ 643147 w 1044821"/>
                    <a:gd name="connsiteY1" fmla="*/ 142768 h 249218"/>
                    <a:gd name="connsiteX2" fmla="*/ 333509 w 1044821"/>
                    <a:gd name="connsiteY2" fmla="*/ 91968 h 249218"/>
                    <a:gd name="connsiteX3" fmla="*/ 11776 w 1044821"/>
                    <a:gd name="connsiteY3" fmla="*/ 118578 h 249218"/>
                    <a:gd name="connsiteX4" fmla="*/ 130309 w 1044821"/>
                    <a:gd name="connsiteY4" fmla="*/ 84711 h 249218"/>
                    <a:gd name="connsiteX5" fmla="*/ 181109 w 1044821"/>
                    <a:gd name="connsiteY5" fmla="*/ 58102 h 249218"/>
                    <a:gd name="connsiteX6" fmla="*/ 52900 w 1044821"/>
                    <a:gd name="connsiteY6" fmla="*/ 26654 h 249218"/>
                    <a:gd name="connsiteX7" fmla="*/ 9357 w 1044821"/>
                    <a:gd name="connsiteY7" fmla="*/ 7302 h 249218"/>
                    <a:gd name="connsiteX8" fmla="*/ 224652 w 1044821"/>
                    <a:gd name="connsiteY8" fmla="*/ 26654 h 249218"/>
                    <a:gd name="connsiteX9" fmla="*/ 442556 w 1044821"/>
                    <a:gd name="connsiteY9" fmla="*/ 17015 h 249218"/>
                    <a:gd name="connsiteX10" fmla="*/ 551224 w 1044821"/>
                    <a:gd name="connsiteY10" fmla="*/ 45 h 249218"/>
                    <a:gd name="connsiteX11" fmla="*/ 667338 w 1044821"/>
                    <a:gd name="connsiteY11" fmla="*/ 65359 h 249218"/>
                    <a:gd name="connsiteX12" fmla="*/ 778614 w 1044821"/>
                    <a:gd name="connsiteY12" fmla="*/ 140349 h 249218"/>
                    <a:gd name="connsiteX13" fmla="*/ 1044709 w 1044821"/>
                    <a:gd name="connsiteY13" fmla="*/ 229854 h 249218"/>
                    <a:gd name="connsiteX14" fmla="*/ 744747 w 1044821"/>
                    <a:gd name="connsiteY14" fmla="*/ 150026 h 249218"/>
                    <a:gd name="connsiteX15" fmla="*/ 986652 w 1044821"/>
                    <a:gd name="connsiteY15" fmla="*/ 249207 h 249218"/>
                    <a:gd name="connsiteX0" fmla="*/ 986652 w 1044819"/>
                    <a:gd name="connsiteY0" fmla="*/ 249207 h 249218"/>
                    <a:gd name="connsiteX1" fmla="*/ 643147 w 1044819"/>
                    <a:gd name="connsiteY1" fmla="*/ 142768 h 249218"/>
                    <a:gd name="connsiteX2" fmla="*/ 333509 w 1044819"/>
                    <a:gd name="connsiteY2" fmla="*/ 91968 h 249218"/>
                    <a:gd name="connsiteX3" fmla="*/ 11776 w 1044819"/>
                    <a:gd name="connsiteY3" fmla="*/ 118578 h 249218"/>
                    <a:gd name="connsiteX4" fmla="*/ 130309 w 1044819"/>
                    <a:gd name="connsiteY4" fmla="*/ 84711 h 249218"/>
                    <a:gd name="connsiteX5" fmla="*/ 181109 w 1044819"/>
                    <a:gd name="connsiteY5" fmla="*/ 58102 h 249218"/>
                    <a:gd name="connsiteX6" fmla="*/ 52900 w 1044819"/>
                    <a:gd name="connsiteY6" fmla="*/ 26654 h 249218"/>
                    <a:gd name="connsiteX7" fmla="*/ 9357 w 1044819"/>
                    <a:gd name="connsiteY7" fmla="*/ 7302 h 249218"/>
                    <a:gd name="connsiteX8" fmla="*/ 224652 w 1044819"/>
                    <a:gd name="connsiteY8" fmla="*/ 26654 h 249218"/>
                    <a:gd name="connsiteX9" fmla="*/ 442556 w 1044819"/>
                    <a:gd name="connsiteY9" fmla="*/ 17015 h 249218"/>
                    <a:gd name="connsiteX10" fmla="*/ 551224 w 1044819"/>
                    <a:gd name="connsiteY10" fmla="*/ 45 h 249218"/>
                    <a:gd name="connsiteX11" fmla="*/ 684007 w 1044819"/>
                    <a:gd name="connsiteY11" fmla="*/ 86790 h 249218"/>
                    <a:gd name="connsiteX12" fmla="*/ 778614 w 1044819"/>
                    <a:gd name="connsiteY12" fmla="*/ 140349 h 249218"/>
                    <a:gd name="connsiteX13" fmla="*/ 1044709 w 1044819"/>
                    <a:gd name="connsiteY13" fmla="*/ 229854 h 249218"/>
                    <a:gd name="connsiteX14" fmla="*/ 744747 w 1044819"/>
                    <a:gd name="connsiteY14" fmla="*/ 150026 h 249218"/>
                    <a:gd name="connsiteX15" fmla="*/ 986652 w 1044819"/>
                    <a:gd name="connsiteY15" fmla="*/ 249207 h 249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44819" h="249218">
                      <a:moveTo>
                        <a:pt x="986652" y="249207"/>
                      </a:moveTo>
                      <a:cubicBezTo>
                        <a:pt x="969719" y="247997"/>
                        <a:pt x="752004" y="168974"/>
                        <a:pt x="643147" y="142768"/>
                      </a:cubicBezTo>
                      <a:cubicBezTo>
                        <a:pt x="534290" y="116562"/>
                        <a:pt x="438737" y="96000"/>
                        <a:pt x="333509" y="91968"/>
                      </a:cubicBezTo>
                      <a:cubicBezTo>
                        <a:pt x="228281" y="87936"/>
                        <a:pt x="45643" y="119787"/>
                        <a:pt x="11776" y="118578"/>
                      </a:cubicBezTo>
                      <a:cubicBezTo>
                        <a:pt x="-22091" y="117369"/>
                        <a:pt x="102087" y="94790"/>
                        <a:pt x="130309" y="84711"/>
                      </a:cubicBezTo>
                      <a:cubicBezTo>
                        <a:pt x="158531" y="74632"/>
                        <a:pt x="194010" y="67778"/>
                        <a:pt x="181109" y="58102"/>
                      </a:cubicBezTo>
                      <a:cubicBezTo>
                        <a:pt x="168207" y="48426"/>
                        <a:pt x="81525" y="35121"/>
                        <a:pt x="52900" y="26654"/>
                      </a:cubicBezTo>
                      <a:cubicBezTo>
                        <a:pt x="24275" y="18187"/>
                        <a:pt x="-19268" y="7302"/>
                        <a:pt x="9357" y="7302"/>
                      </a:cubicBezTo>
                      <a:cubicBezTo>
                        <a:pt x="37982" y="7302"/>
                        <a:pt x="152452" y="25035"/>
                        <a:pt x="224652" y="26654"/>
                      </a:cubicBezTo>
                      <a:cubicBezTo>
                        <a:pt x="296852" y="28273"/>
                        <a:pt x="388127" y="21450"/>
                        <a:pt x="442556" y="17015"/>
                      </a:cubicBezTo>
                      <a:cubicBezTo>
                        <a:pt x="496985" y="12580"/>
                        <a:pt x="506616" y="-868"/>
                        <a:pt x="551224" y="45"/>
                      </a:cubicBezTo>
                      <a:cubicBezTo>
                        <a:pt x="629170" y="8102"/>
                        <a:pt x="646109" y="63406"/>
                        <a:pt x="684007" y="86790"/>
                      </a:cubicBezTo>
                      <a:cubicBezTo>
                        <a:pt x="721905" y="110174"/>
                        <a:pt x="718497" y="116505"/>
                        <a:pt x="778614" y="140349"/>
                      </a:cubicBezTo>
                      <a:cubicBezTo>
                        <a:pt x="838731" y="164193"/>
                        <a:pt x="1050354" y="228241"/>
                        <a:pt x="1044709" y="229854"/>
                      </a:cubicBezTo>
                      <a:cubicBezTo>
                        <a:pt x="1039064" y="231467"/>
                        <a:pt x="754020" y="146800"/>
                        <a:pt x="744747" y="150026"/>
                      </a:cubicBezTo>
                      <a:cubicBezTo>
                        <a:pt x="735474" y="153252"/>
                        <a:pt x="1003585" y="250417"/>
                        <a:pt x="986652" y="249207"/>
                      </a:cubicBezTo>
                      <a:close/>
                    </a:path>
                  </a:pathLst>
                </a:custGeom>
                <a:gradFill flip="none" rotWithShape="1">
                  <a:gsLst>
                    <a:gs pos="0">
                      <a:schemeClr val="accent4">
                        <a:lumMod val="5000"/>
                        <a:lumOff val="95000"/>
                      </a:schemeClr>
                    </a:gs>
                    <a:gs pos="5000">
                      <a:schemeClr val="accent1">
                        <a:lumMod val="75000"/>
                      </a:schemeClr>
                    </a:gs>
                    <a:gs pos="52000">
                      <a:schemeClr val="tx2">
                        <a:lumMod val="40000"/>
                        <a:lumOff val="60000"/>
                      </a:schemeClr>
                    </a:gs>
                    <a:gs pos="100000">
                      <a:schemeClr val="accent1">
                        <a:lumMod val="40000"/>
                        <a:lumOff val="60000"/>
                      </a:schemeClr>
                    </a:gs>
                  </a:gsLst>
                  <a:path path="circle">
                    <a:fillToRect l="50000" t="50000" r="50000" b="50000"/>
                  </a:path>
                  <a:tileRect/>
                </a:gradFill>
                <a:ln>
                  <a:noFill/>
                </a:ln>
                <a:effectLst>
                  <a:glow>
                    <a:schemeClr val="accent4">
                      <a:lumMod val="20000"/>
                      <a:lumOff val="80000"/>
                    </a:schemeClr>
                  </a:glow>
                  <a:outerShdw blurRad="40000" dist="23000" dir="5400000" rotWithShape="0">
                    <a:srgbClr val="000000">
                      <a:alpha val="35000"/>
                    </a:srgbClr>
                  </a:outerShdw>
                  <a:softEdge rad="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Oval 34"/>
                <p:cNvSpPr/>
                <p:nvPr/>
              </p:nvSpPr>
              <p:spPr>
                <a:xfrm rot="390836">
                  <a:off x="2176708" y="3530019"/>
                  <a:ext cx="111098" cy="65314"/>
                </a:xfrm>
                <a:prstGeom prst="ellipse">
                  <a:avLst/>
                </a:prstGeom>
                <a:blipFill dpi="0" rotWithShape="1">
                  <a:blip r:embed="rId5">
                    <a:alphaModFix amt="50000"/>
                  </a:blip>
                  <a:srcRect/>
                  <a:tile tx="0" ty="0" sx="26000" sy="26000" flip="none" algn="tl"/>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sp>
          <p:nvSpPr>
            <p:cNvPr id="30" name="Rectangle 29"/>
            <p:cNvSpPr/>
            <p:nvPr/>
          </p:nvSpPr>
          <p:spPr>
            <a:xfrm>
              <a:off x="1800291" y="1390775"/>
              <a:ext cx="644728" cy="338554"/>
            </a:xfrm>
            <a:prstGeom prst="rect">
              <a:avLst/>
            </a:prstGeom>
            <a:noFill/>
          </p:spPr>
          <p:txBody>
            <a:bodyPr wrap="none" lIns="91440" tIns="45720" rIns="91440" bIns="45720">
              <a:spAutoFit/>
            </a:bodyPr>
            <a:lstStyle/>
            <a:p>
              <a:pPr algn="ctr"/>
              <a:r>
                <a:rPr lang="en-US" sz="1600" b="1" dirty="0">
                  <a:ln w="0"/>
                  <a:solidFill>
                    <a:schemeClr val="bg1"/>
                  </a:solidFill>
                  <a:effectLst>
                    <a:outerShdw blurRad="38100" dist="25400" dir="5400000" algn="ctr" rotWithShape="0">
                      <a:srgbClr val="6E747A">
                        <a:alpha val="43000"/>
                      </a:srgbClr>
                    </a:outerShdw>
                  </a:effectLst>
                </a:rPr>
                <a:t>+41%</a:t>
              </a:r>
            </a:p>
          </p:txBody>
        </p:sp>
        <p:sp>
          <p:nvSpPr>
            <p:cNvPr id="31" name="TextBox 30"/>
            <p:cNvSpPr txBox="1"/>
            <p:nvPr/>
          </p:nvSpPr>
          <p:spPr>
            <a:xfrm>
              <a:off x="1800191" y="1812957"/>
              <a:ext cx="465192" cy="276999"/>
            </a:xfrm>
            <a:prstGeom prst="rect">
              <a:avLst/>
            </a:prstGeom>
            <a:noFill/>
          </p:spPr>
          <p:txBody>
            <a:bodyPr wrap="none" rtlCol="0">
              <a:spAutoFit/>
            </a:bodyPr>
            <a:lstStyle/>
            <a:p>
              <a:r>
                <a:rPr lang="fr-FR" sz="1200" b="1" dirty="0">
                  <a:solidFill>
                    <a:schemeClr val="bg1"/>
                  </a:solidFill>
                </a:rPr>
                <a:t>Ki67</a:t>
              </a:r>
              <a:endParaRPr lang="en-US" sz="1200" b="1" dirty="0">
                <a:solidFill>
                  <a:schemeClr val="bg1"/>
                </a:solidFill>
              </a:endParaRPr>
            </a:p>
          </p:txBody>
        </p:sp>
      </p:grpSp>
      <p:pic>
        <p:nvPicPr>
          <p:cNvPr id="36" name="Picture 35"/>
          <p:cNvPicPr>
            <a:picLocks noChangeAspect="1"/>
          </p:cNvPicPr>
          <p:nvPr/>
        </p:nvPicPr>
        <p:blipFill rotWithShape="1">
          <a:blip r:embed="rId6">
            <a:clrChange>
              <a:clrFrom>
                <a:srgbClr val="FFFFFF"/>
              </a:clrFrom>
              <a:clrTo>
                <a:srgbClr val="FFFFFF">
                  <a:alpha val="0"/>
                </a:srgbClr>
              </a:clrTo>
            </a:clrChange>
            <a:duotone>
              <a:schemeClr val="bg2">
                <a:shade val="45000"/>
                <a:satMod val="135000"/>
              </a:schemeClr>
              <a:prstClr val="white"/>
            </a:duotone>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rcRect t="18767" r="41027"/>
          <a:stretch/>
        </p:blipFill>
        <p:spPr>
          <a:xfrm rot="386084">
            <a:off x="691123" y="3713841"/>
            <a:ext cx="1960085" cy="1960535"/>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sp>
        <p:nvSpPr>
          <p:cNvPr id="37" name="Freeform 36"/>
          <p:cNvSpPr/>
          <p:nvPr/>
        </p:nvSpPr>
        <p:spPr bwMode="auto">
          <a:xfrm rot="334217">
            <a:off x="1338774" y="3953296"/>
            <a:ext cx="644765" cy="1553245"/>
          </a:xfrm>
          <a:custGeom>
            <a:avLst/>
            <a:gdLst>
              <a:gd name="connsiteX0" fmla="*/ 118937 w 1223178"/>
              <a:gd name="connsiteY0" fmla="*/ 4214 h 1843402"/>
              <a:gd name="connsiteX1" fmla="*/ 6970 w 1223178"/>
              <a:gd name="connsiteY1" fmla="*/ 685349 h 1843402"/>
              <a:gd name="connsiteX2" fmla="*/ 72284 w 1223178"/>
              <a:gd name="connsiteY2" fmla="*/ 1375814 h 1843402"/>
              <a:gd name="connsiteX3" fmla="*/ 557476 w 1223178"/>
              <a:gd name="connsiteY3" fmla="*/ 1814353 h 1843402"/>
              <a:gd name="connsiteX4" fmla="*/ 818733 w 1223178"/>
              <a:gd name="connsiteY4" fmla="*/ 1749038 h 1843402"/>
              <a:gd name="connsiteX5" fmla="*/ 1154635 w 1223178"/>
              <a:gd name="connsiteY5" fmla="*/ 1319830 h 1843402"/>
              <a:gd name="connsiteX6" fmla="*/ 1219950 w 1223178"/>
              <a:gd name="connsiteY6" fmla="*/ 787985 h 1843402"/>
              <a:gd name="connsiteX7" fmla="*/ 1098652 w 1223178"/>
              <a:gd name="connsiteY7" fmla="*/ 4214 h 1843402"/>
              <a:gd name="connsiteX8" fmla="*/ 1117313 w 1223178"/>
              <a:gd name="connsiteY8" fmla="*/ 498736 h 1843402"/>
              <a:gd name="connsiteX9" fmla="*/ 1117313 w 1223178"/>
              <a:gd name="connsiteY9" fmla="*/ 993259 h 1843402"/>
              <a:gd name="connsiteX10" fmla="*/ 958692 w 1223178"/>
              <a:gd name="connsiteY10" fmla="*/ 1431798 h 1843402"/>
              <a:gd name="connsiteX11" fmla="*/ 762750 w 1223178"/>
              <a:gd name="connsiteY11" fmla="*/ 1665063 h 1843402"/>
              <a:gd name="connsiteX12" fmla="*/ 641452 w 1223178"/>
              <a:gd name="connsiteY12" fmla="*/ 1693055 h 1843402"/>
              <a:gd name="connsiteX13" fmla="*/ 632121 w 1223178"/>
              <a:gd name="connsiteY13" fmla="*/ 1525104 h 1843402"/>
              <a:gd name="connsiteX14" fmla="*/ 734758 w 1223178"/>
              <a:gd name="connsiteY14" fmla="*/ 1291838 h 1843402"/>
              <a:gd name="connsiteX15" fmla="*/ 706766 w 1223178"/>
              <a:gd name="connsiteY15" fmla="*/ 1077234 h 1843402"/>
              <a:gd name="connsiteX16" fmla="*/ 594799 w 1223178"/>
              <a:gd name="connsiteY16" fmla="*/ 666687 h 1843402"/>
              <a:gd name="connsiteX17" fmla="*/ 445509 w 1223178"/>
              <a:gd name="connsiteY17" fmla="*/ 1039912 h 1843402"/>
              <a:gd name="connsiteX18" fmla="*/ 436178 w 1223178"/>
              <a:gd name="connsiteY18" fmla="*/ 1375814 h 1843402"/>
              <a:gd name="connsiteX19" fmla="*/ 529484 w 1223178"/>
              <a:gd name="connsiteY19" fmla="*/ 1553096 h 1843402"/>
              <a:gd name="connsiteX20" fmla="*/ 548145 w 1223178"/>
              <a:gd name="connsiteY20" fmla="*/ 1683724 h 1843402"/>
              <a:gd name="connsiteX21" fmla="*/ 249566 w 1223178"/>
              <a:gd name="connsiteY21" fmla="*/ 1487781 h 1843402"/>
              <a:gd name="connsiteX22" fmla="*/ 100276 w 1223178"/>
              <a:gd name="connsiteY22" fmla="*/ 1049242 h 1843402"/>
              <a:gd name="connsiteX23" fmla="*/ 146929 w 1223178"/>
              <a:gd name="connsiteY23" fmla="*/ 508067 h 1843402"/>
              <a:gd name="connsiteX24" fmla="*/ 174921 w 1223178"/>
              <a:gd name="connsiteY24" fmla="*/ 13545 h 1843402"/>
              <a:gd name="connsiteX25" fmla="*/ 174921 w 1223178"/>
              <a:gd name="connsiteY25" fmla="*/ 13545 h 1843402"/>
              <a:gd name="connsiteX0" fmla="*/ 118937 w 1223178"/>
              <a:gd name="connsiteY0" fmla="*/ 38655 h 1877843"/>
              <a:gd name="connsiteX1" fmla="*/ 6970 w 1223178"/>
              <a:gd name="connsiteY1" fmla="*/ 719790 h 1877843"/>
              <a:gd name="connsiteX2" fmla="*/ 72284 w 1223178"/>
              <a:gd name="connsiteY2" fmla="*/ 1410255 h 1877843"/>
              <a:gd name="connsiteX3" fmla="*/ 557476 w 1223178"/>
              <a:gd name="connsiteY3" fmla="*/ 1848794 h 1877843"/>
              <a:gd name="connsiteX4" fmla="*/ 818733 w 1223178"/>
              <a:gd name="connsiteY4" fmla="*/ 1783479 h 1877843"/>
              <a:gd name="connsiteX5" fmla="*/ 1154635 w 1223178"/>
              <a:gd name="connsiteY5" fmla="*/ 1354271 h 1877843"/>
              <a:gd name="connsiteX6" fmla="*/ 1219950 w 1223178"/>
              <a:gd name="connsiteY6" fmla="*/ 822426 h 1877843"/>
              <a:gd name="connsiteX7" fmla="*/ 1098652 w 1223178"/>
              <a:gd name="connsiteY7" fmla="*/ 38655 h 1877843"/>
              <a:gd name="connsiteX8" fmla="*/ 1117313 w 1223178"/>
              <a:gd name="connsiteY8" fmla="*/ 533177 h 1877843"/>
              <a:gd name="connsiteX9" fmla="*/ 1117313 w 1223178"/>
              <a:gd name="connsiteY9" fmla="*/ 1027700 h 1877843"/>
              <a:gd name="connsiteX10" fmla="*/ 958692 w 1223178"/>
              <a:gd name="connsiteY10" fmla="*/ 1466239 h 1877843"/>
              <a:gd name="connsiteX11" fmla="*/ 762750 w 1223178"/>
              <a:gd name="connsiteY11" fmla="*/ 1699504 h 1877843"/>
              <a:gd name="connsiteX12" fmla="*/ 641452 w 1223178"/>
              <a:gd name="connsiteY12" fmla="*/ 1727496 h 1877843"/>
              <a:gd name="connsiteX13" fmla="*/ 632121 w 1223178"/>
              <a:gd name="connsiteY13" fmla="*/ 1559545 h 1877843"/>
              <a:gd name="connsiteX14" fmla="*/ 734758 w 1223178"/>
              <a:gd name="connsiteY14" fmla="*/ 1326279 h 1877843"/>
              <a:gd name="connsiteX15" fmla="*/ 706766 w 1223178"/>
              <a:gd name="connsiteY15" fmla="*/ 1111675 h 1877843"/>
              <a:gd name="connsiteX16" fmla="*/ 594799 w 1223178"/>
              <a:gd name="connsiteY16" fmla="*/ 701128 h 1877843"/>
              <a:gd name="connsiteX17" fmla="*/ 445509 w 1223178"/>
              <a:gd name="connsiteY17" fmla="*/ 1074353 h 1877843"/>
              <a:gd name="connsiteX18" fmla="*/ 436178 w 1223178"/>
              <a:gd name="connsiteY18" fmla="*/ 1410255 h 1877843"/>
              <a:gd name="connsiteX19" fmla="*/ 529484 w 1223178"/>
              <a:gd name="connsiteY19" fmla="*/ 1587537 h 1877843"/>
              <a:gd name="connsiteX20" fmla="*/ 548145 w 1223178"/>
              <a:gd name="connsiteY20" fmla="*/ 1718165 h 1877843"/>
              <a:gd name="connsiteX21" fmla="*/ 249566 w 1223178"/>
              <a:gd name="connsiteY21" fmla="*/ 1522222 h 1877843"/>
              <a:gd name="connsiteX22" fmla="*/ 100276 w 1223178"/>
              <a:gd name="connsiteY22" fmla="*/ 1083683 h 1877843"/>
              <a:gd name="connsiteX23" fmla="*/ 146929 w 1223178"/>
              <a:gd name="connsiteY23" fmla="*/ 542508 h 1877843"/>
              <a:gd name="connsiteX24" fmla="*/ 174921 w 1223178"/>
              <a:gd name="connsiteY24" fmla="*/ 47986 h 1877843"/>
              <a:gd name="connsiteX25" fmla="*/ 118937 w 1223178"/>
              <a:gd name="connsiteY25" fmla="*/ 10663 h 1877843"/>
              <a:gd name="connsiteX0" fmla="*/ 118937 w 1223178"/>
              <a:gd name="connsiteY0" fmla="*/ 38655 h 1877843"/>
              <a:gd name="connsiteX1" fmla="*/ 6970 w 1223178"/>
              <a:gd name="connsiteY1" fmla="*/ 719790 h 1877843"/>
              <a:gd name="connsiteX2" fmla="*/ 72284 w 1223178"/>
              <a:gd name="connsiteY2" fmla="*/ 1410255 h 1877843"/>
              <a:gd name="connsiteX3" fmla="*/ 557476 w 1223178"/>
              <a:gd name="connsiteY3" fmla="*/ 1848794 h 1877843"/>
              <a:gd name="connsiteX4" fmla="*/ 818733 w 1223178"/>
              <a:gd name="connsiteY4" fmla="*/ 1783479 h 1877843"/>
              <a:gd name="connsiteX5" fmla="*/ 1154635 w 1223178"/>
              <a:gd name="connsiteY5" fmla="*/ 1354271 h 1877843"/>
              <a:gd name="connsiteX6" fmla="*/ 1219950 w 1223178"/>
              <a:gd name="connsiteY6" fmla="*/ 822426 h 1877843"/>
              <a:gd name="connsiteX7" fmla="*/ 1098652 w 1223178"/>
              <a:gd name="connsiteY7" fmla="*/ 38655 h 1877843"/>
              <a:gd name="connsiteX8" fmla="*/ 1117313 w 1223178"/>
              <a:gd name="connsiteY8" fmla="*/ 533177 h 1877843"/>
              <a:gd name="connsiteX9" fmla="*/ 1117313 w 1223178"/>
              <a:gd name="connsiteY9" fmla="*/ 1027700 h 1877843"/>
              <a:gd name="connsiteX10" fmla="*/ 958692 w 1223178"/>
              <a:gd name="connsiteY10" fmla="*/ 1466239 h 1877843"/>
              <a:gd name="connsiteX11" fmla="*/ 762750 w 1223178"/>
              <a:gd name="connsiteY11" fmla="*/ 1699504 h 1877843"/>
              <a:gd name="connsiteX12" fmla="*/ 641452 w 1223178"/>
              <a:gd name="connsiteY12" fmla="*/ 1727496 h 1877843"/>
              <a:gd name="connsiteX13" fmla="*/ 632121 w 1223178"/>
              <a:gd name="connsiteY13" fmla="*/ 1559545 h 1877843"/>
              <a:gd name="connsiteX14" fmla="*/ 734758 w 1223178"/>
              <a:gd name="connsiteY14" fmla="*/ 1326279 h 1877843"/>
              <a:gd name="connsiteX15" fmla="*/ 706766 w 1223178"/>
              <a:gd name="connsiteY15" fmla="*/ 1111675 h 1877843"/>
              <a:gd name="connsiteX16" fmla="*/ 594799 w 1223178"/>
              <a:gd name="connsiteY16" fmla="*/ 701128 h 1877843"/>
              <a:gd name="connsiteX17" fmla="*/ 445509 w 1223178"/>
              <a:gd name="connsiteY17" fmla="*/ 1074353 h 1877843"/>
              <a:gd name="connsiteX18" fmla="*/ 436178 w 1223178"/>
              <a:gd name="connsiteY18" fmla="*/ 1410255 h 1877843"/>
              <a:gd name="connsiteX19" fmla="*/ 529484 w 1223178"/>
              <a:gd name="connsiteY19" fmla="*/ 1587537 h 1877843"/>
              <a:gd name="connsiteX20" fmla="*/ 548145 w 1223178"/>
              <a:gd name="connsiteY20" fmla="*/ 1718165 h 1877843"/>
              <a:gd name="connsiteX21" fmla="*/ 249566 w 1223178"/>
              <a:gd name="connsiteY21" fmla="*/ 1522222 h 1877843"/>
              <a:gd name="connsiteX22" fmla="*/ 100276 w 1223178"/>
              <a:gd name="connsiteY22" fmla="*/ 1083683 h 1877843"/>
              <a:gd name="connsiteX23" fmla="*/ 146929 w 1223178"/>
              <a:gd name="connsiteY23" fmla="*/ 542508 h 1877843"/>
              <a:gd name="connsiteX24" fmla="*/ 174921 w 1223178"/>
              <a:gd name="connsiteY24" fmla="*/ 47986 h 1877843"/>
              <a:gd name="connsiteX25" fmla="*/ 118937 w 1223178"/>
              <a:gd name="connsiteY25" fmla="*/ 10663 h 1877843"/>
              <a:gd name="connsiteX26" fmla="*/ 118937 w 1223178"/>
              <a:gd name="connsiteY26" fmla="*/ 38655 h 1877843"/>
              <a:gd name="connsiteX0" fmla="*/ 118937 w 1223178"/>
              <a:gd name="connsiteY0" fmla="*/ 10663 h 1877843"/>
              <a:gd name="connsiteX1" fmla="*/ 6970 w 1223178"/>
              <a:gd name="connsiteY1" fmla="*/ 719790 h 1877843"/>
              <a:gd name="connsiteX2" fmla="*/ 72284 w 1223178"/>
              <a:gd name="connsiteY2" fmla="*/ 1410255 h 1877843"/>
              <a:gd name="connsiteX3" fmla="*/ 557476 w 1223178"/>
              <a:gd name="connsiteY3" fmla="*/ 1848794 h 1877843"/>
              <a:gd name="connsiteX4" fmla="*/ 818733 w 1223178"/>
              <a:gd name="connsiteY4" fmla="*/ 1783479 h 1877843"/>
              <a:gd name="connsiteX5" fmla="*/ 1154635 w 1223178"/>
              <a:gd name="connsiteY5" fmla="*/ 1354271 h 1877843"/>
              <a:gd name="connsiteX6" fmla="*/ 1219950 w 1223178"/>
              <a:gd name="connsiteY6" fmla="*/ 822426 h 1877843"/>
              <a:gd name="connsiteX7" fmla="*/ 1098652 w 1223178"/>
              <a:gd name="connsiteY7" fmla="*/ 38655 h 1877843"/>
              <a:gd name="connsiteX8" fmla="*/ 1117313 w 1223178"/>
              <a:gd name="connsiteY8" fmla="*/ 533177 h 1877843"/>
              <a:gd name="connsiteX9" fmla="*/ 1117313 w 1223178"/>
              <a:gd name="connsiteY9" fmla="*/ 1027700 h 1877843"/>
              <a:gd name="connsiteX10" fmla="*/ 958692 w 1223178"/>
              <a:gd name="connsiteY10" fmla="*/ 1466239 h 1877843"/>
              <a:gd name="connsiteX11" fmla="*/ 762750 w 1223178"/>
              <a:gd name="connsiteY11" fmla="*/ 1699504 h 1877843"/>
              <a:gd name="connsiteX12" fmla="*/ 641452 w 1223178"/>
              <a:gd name="connsiteY12" fmla="*/ 1727496 h 1877843"/>
              <a:gd name="connsiteX13" fmla="*/ 632121 w 1223178"/>
              <a:gd name="connsiteY13" fmla="*/ 1559545 h 1877843"/>
              <a:gd name="connsiteX14" fmla="*/ 734758 w 1223178"/>
              <a:gd name="connsiteY14" fmla="*/ 1326279 h 1877843"/>
              <a:gd name="connsiteX15" fmla="*/ 706766 w 1223178"/>
              <a:gd name="connsiteY15" fmla="*/ 1111675 h 1877843"/>
              <a:gd name="connsiteX16" fmla="*/ 594799 w 1223178"/>
              <a:gd name="connsiteY16" fmla="*/ 701128 h 1877843"/>
              <a:gd name="connsiteX17" fmla="*/ 445509 w 1223178"/>
              <a:gd name="connsiteY17" fmla="*/ 1074353 h 1877843"/>
              <a:gd name="connsiteX18" fmla="*/ 436178 w 1223178"/>
              <a:gd name="connsiteY18" fmla="*/ 1410255 h 1877843"/>
              <a:gd name="connsiteX19" fmla="*/ 529484 w 1223178"/>
              <a:gd name="connsiteY19" fmla="*/ 1587537 h 1877843"/>
              <a:gd name="connsiteX20" fmla="*/ 548145 w 1223178"/>
              <a:gd name="connsiteY20" fmla="*/ 1718165 h 1877843"/>
              <a:gd name="connsiteX21" fmla="*/ 249566 w 1223178"/>
              <a:gd name="connsiteY21" fmla="*/ 1522222 h 1877843"/>
              <a:gd name="connsiteX22" fmla="*/ 100276 w 1223178"/>
              <a:gd name="connsiteY22" fmla="*/ 1083683 h 1877843"/>
              <a:gd name="connsiteX23" fmla="*/ 146929 w 1223178"/>
              <a:gd name="connsiteY23" fmla="*/ 542508 h 1877843"/>
              <a:gd name="connsiteX24" fmla="*/ 174921 w 1223178"/>
              <a:gd name="connsiteY24" fmla="*/ 47986 h 1877843"/>
              <a:gd name="connsiteX25" fmla="*/ 118937 w 1223178"/>
              <a:gd name="connsiteY25" fmla="*/ 10663 h 1877843"/>
              <a:gd name="connsiteX0" fmla="*/ 118937 w 1223178"/>
              <a:gd name="connsiteY0" fmla="*/ 13287 h 1880467"/>
              <a:gd name="connsiteX1" fmla="*/ 6970 w 1223178"/>
              <a:gd name="connsiteY1" fmla="*/ 722414 h 1880467"/>
              <a:gd name="connsiteX2" fmla="*/ 72284 w 1223178"/>
              <a:gd name="connsiteY2" fmla="*/ 1412879 h 1880467"/>
              <a:gd name="connsiteX3" fmla="*/ 557476 w 1223178"/>
              <a:gd name="connsiteY3" fmla="*/ 1851418 h 1880467"/>
              <a:gd name="connsiteX4" fmla="*/ 818733 w 1223178"/>
              <a:gd name="connsiteY4" fmla="*/ 1786103 h 1880467"/>
              <a:gd name="connsiteX5" fmla="*/ 1154635 w 1223178"/>
              <a:gd name="connsiteY5" fmla="*/ 1356895 h 1880467"/>
              <a:gd name="connsiteX6" fmla="*/ 1219950 w 1223178"/>
              <a:gd name="connsiteY6" fmla="*/ 825050 h 1880467"/>
              <a:gd name="connsiteX7" fmla="*/ 1098652 w 1223178"/>
              <a:gd name="connsiteY7" fmla="*/ 41279 h 1880467"/>
              <a:gd name="connsiteX8" fmla="*/ 1117313 w 1223178"/>
              <a:gd name="connsiteY8" fmla="*/ 535801 h 1880467"/>
              <a:gd name="connsiteX9" fmla="*/ 1117313 w 1223178"/>
              <a:gd name="connsiteY9" fmla="*/ 1030324 h 1880467"/>
              <a:gd name="connsiteX10" fmla="*/ 958692 w 1223178"/>
              <a:gd name="connsiteY10" fmla="*/ 1468863 h 1880467"/>
              <a:gd name="connsiteX11" fmla="*/ 762750 w 1223178"/>
              <a:gd name="connsiteY11" fmla="*/ 1702128 h 1880467"/>
              <a:gd name="connsiteX12" fmla="*/ 641452 w 1223178"/>
              <a:gd name="connsiteY12" fmla="*/ 1730120 h 1880467"/>
              <a:gd name="connsiteX13" fmla="*/ 632121 w 1223178"/>
              <a:gd name="connsiteY13" fmla="*/ 1562169 h 1880467"/>
              <a:gd name="connsiteX14" fmla="*/ 734758 w 1223178"/>
              <a:gd name="connsiteY14" fmla="*/ 1328903 h 1880467"/>
              <a:gd name="connsiteX15" fmla="*/ 706766 w 1223178"/>
              <a:gd name="connsiteY15" fmla="*/ 1114299 h 1880467"/>
              <a:gd name="connsiteX16" fmla="*/ 594799 w 1223178"/>
              <a:gd name="connsiteY16" fmla="*/ 703752 h 1880467"/>
              <a:gd name="connsiteX17" fmla="*/ 445509 w 1223178"/>
              <a:gd name="connsiteY17" fmla="*/ 1076977 h 1880467"/>
              <a:gd name="connsiteX18" fmla="*/ 436178 w 1223178"/>
              <a:gd name="connsiteY18" fmla="*/ 1412879 h 1880467"/>
              <a:gd name="connsiteX19" fmla="*/ 529484 w 1223178"/>
              <a:gd name="connsiteY19" fmla="*/ 1590161 h 1880467"/>
              <a:gd name="connsiteX20" fmla="*/ 548145 w 1223178"/>
              <a:gd name="connsiteY20" fmla="*/ 1720789 h 1880467"/>
              <a:gd name="connsiteX21" fmla="*/ 249566 w 1223178"/>
              <a:gd name="connsiteY21" fmla="*/ 1524846 h 1880467"/>
              <a:gd name="connsiteX22" fmla="*/ 100276 w 1223178"/>
              <a:gd name="connsiteY22" fmla="*/ 1086307 h 1880467"/>
              <a:gd name="connsiteX23" fmla="*/ 118937 w 1223178"/>
              <a:gd name="connsiteY23" fmla="*/ 582455 h 1880467"/>
              <a:gd name="connsiteX24" fmla="*/ 174921 w 1223178"/>
              <a:gd name="connsiteY24" fmla="*/ 50610 h 1880467"/>
              <a:gd name="connsiteX25" fmla="*/ 118937 w 1223178"/>
              <a:gd name="connsiteY25" fmla="*/ 13287 h 1880467"/>
              <a:gd name="connsiteX0" fmla="*/ 118937 w 1223178"/>
              <a:gd name="connsiteY0" fmla="*/ 948 h 1868128"/>
              <a:gd name="connsiteX1" fmla="*/ 6970 w 1223178"/>
              <a:gd name="connsiteY1" fmla="*/ 710075 h 1868128"/>
              <a:gd name="connsiteX2" fmla="*/ 72284 w 1223178"/>
              <a:gd name="connsiteY2" fmla="*/ 1400540 h 1868128"/>
              <a:gd name="connsiteX3" fmla="*/ 557476 w 1223178"/>
              <a:gd name="connsiteY3" fmla="*/ 1839079 h 1868128"/>
              <a:gd name="connsiteX4" fmla="*/ 818733 w 1223178"/>
              <a:gd name="connsiteY4" fmla="*/ 1773764 h 1868128"/>
              <a:gd name="connsiteX5" fmla="*/ 1154635 w 1223178"/>
              <a:gd name="connsiteY5" fmla="*/ 1344556 h 1868128"/>
              <a:gd name="connsiteX6" fmla="*/ 1219950 w 1223178"/>
              <a:gd name="connsiteY6" fmla="*/ 812711 h 1868128"/>
              <a:gd name="connsiteX7" fmla="*/ 1098652 w 1223178"/>
              <a:gd name="connsiteY7" fmla="*/ 28940 h 1868128"/>
              <a:gd name="connsiteX8" fmla="*/ 1117313 w 1223178"/>
              <a:gd name="connsiteY8" fmla="*/ 523462 h 1868128"/>
              <a:gd name="connsiteX9" fmla="*/ 1117313 w 1223178"/>
              <a:gd name="connsiteY9" fmla="*/ 1017985 h 1868128"/>
              <a:gd name="connsiteX10" fmla="*/ 958692 w 1223178"/>
              <a:gd name="connsiteY10" fmla="*/ 1456524 h 1868128"/>
              <a:gd name="connsiteX11" fmla="*/ 762750 w 1223178"/>
              <a:gd name="connsiteY11" fmla="*/ 1689789 h 1868128"/>
              <a:gd name="connsiteX12" fmla="*/ 641452 w 1223178"/>
              <a:gd name="connsiteY12" fmla="*/ 1717781 h 1868128"/>
              <a:gd name="connsiteX13" fmla="*/ 632121 w 1223178"/>
              <a:gd name="connsiteY13" fmla="*/ 1549830 h 1868128"/>
              <a:gd name="connsiteX14" fmla="*/ 734758 w 1223178"/>
              <a:gd name="connsiteY14" fmla="*/ 1316564 h 1868128"/>
              <a:gd name="connsiteX15" fmla="*/ 706766 w 1223178"/>
              <a:gd name="connsiteY15" fmla="*/ 1101960 h 1868128"/>
              <a:gd name="connsiteX16" fmla="*/ 594799 w 1223178"/>
              <a:gd name="connsiteY16" fmla="*/ 691413 h 1868128"/>
              <a:gd name="connsiteX17" fmla="*/ 445509 w 1223178"/>
              <a:gd name="connsiteY17" fmla="*/ 1064638 h 1868128"/>
              <a:gd name="connsiteX18" fmla="*/ 436178 w 1223178"/>
              <a:gd name="connsiteY18" fmla="*/ 1400540 h 1868128"/>
              <a:gd name="connsiteX19" fmla="*/ 529484 w 1223178"/>
              <a:gd name="connsiteY19" fmla="*/ 1577822 h 1868128"/>
              <a:gd name="connsiteX20" fmla="*/ 548145 w 1223178"/>
              <a:gd name="connsiteY20" fmla="*/ 1708450 h 1868128"/>
              <a:gd name="connsiteX21" fmla="*/ 249566 w 1223178"/>
              <a:gd name="connsiteY21" fmla="*/ 1512507 h 1868128"/>
              <a:gd name="connsiteX22" fmla="*/ 100276 w 1223178"/>
              <a:gd name="connsiteY22" fmla="*/ 1073968 h 1868128"/>
              <a:gd name="connsiteX23" fmla="*/ 118937 w 1223178"/>
              <a:gd name="connsiteY23" fmla="*/ 570116 h 1868128"/>
              <a:gd name="connsiteX24" fmla="*/ 118937 w 1223178"/>
              <a:gd name="connsiteY24" fmla="*/ 948 h 1868128"/>
              <a:gd name="connsiteX0" fmla="*/ 118937 w 1223178"/>
              <a:gd name="connsiteY0" fmla="*/ 823 h 1868003"/>
              <a:gd name="connsiteX1" fmla="*/ 6970 w 1223178"/>
              <a:gd name="connsiteY1" fmla="*/ 709950 h 1868003"/>
              <a:gd name="connsiteX2" fmla="*/ 72284 w 1223178"/>
              <a:gd name="connsiteY2" fmla="*/ 1400415 h 1868003"/>
              <a:gd name="connsiteX3" fmla="*/ 557476 w 1223178"/>
              <a:gd name="connsiteY3" fmla="*/ 1838954 h 1868003"/>
              <a:gd name="connsiteX4" fmla="*/ 818733 w 1223178"/>
              <a:gd name="connsiteY4" fmla="*/ 1773639 h 1868003"/>
              <a:gd name="connsiteX5" fmla="*/ 1154635 w 1223178"/>
              <a:gd name="connsiteY5" fmla="*/ 1344431 h 1868003"/>
              <a:gd name="connsiteX6" fmla="*/ 1219950 w 1223178"/>
              <a:gd name="connsiteY6" fmla="*/ 812586 h 1868003"/>
              <a:gd name="connsiteX7" fmla="*/ 1098652 w 1223178"/>
              <a:gd name="connsiteY7" fmla="*/ 28815 h 1868003"/>
              <a:gd name="connsiteX8" fmla="*/ 1117313 w 1223178"/>
              <a:gd name="connsiteY8" fmla="*/ 523337 h 1868003"/>
              <a:gd name="connsiteX9" fmla="*/ 1117313 w 1223178"/>
              <a:gd name="connsiteY9" fmla="*/ 1017860 h 1868003"/>
              <a:gd name="connsiteX10" fmla="*/ 958692 w 1223178"/>
              <a:gd name="connsiteY10" fmla="*/ 1456399 h 1868003"/>
              <a:gd name="connsiteX11" fmla="*/ 762750 w 1223178"/>
              <a:gd name="connsiteY11" fmla="*/ 1689664 h 1868003"/>
              <a:gd name="connsiteX12" fmla="*/ 641452 w 1223178"/>
              <a:gd name="connsiteY12" fmla="*/ 1717656 h 1868003"/>
              <a:gd name="connsiteX13" fmla="*/ 632121 w 1223178"/>
              <a:gd name="connsiteY13" fmla="*/ 1549705 h 1868003"/>
              <a:gd name="connsiteX14" fmla="*/ 734758 w 1223178"/>
              <a:gd name="connsiteY14" fmla="*/ 1316439 h 1868003"/>
              <a:gd name="connsiteX15" fmla="*/ 706766 w 1223178"/>
              <a:gd name="connsiteY15" fmla="*/ 1101835 h 1868003"/>
              <a:gd name="connsiteX16" fmla="*/ 594799 w 1223178"/>
              <a:gd name="connsiteY16" fmla="*/ 691288 h 1868003"/>
              <a:gd name="connsiteX17" fmla="*/ 445509 w 1223178"/>
              <a:gd name="connsiteY17" fmla="*/ 1064513 h 1868003"/>
              <a:gd name="connsiteX18" fmla="*/ 436178 w 1223178"/>
              <a:gd name="connsiteY18" fmla="*/ 1400415 h 1868003"/>
              <a:gd name="connsiteX19" fmla="*/ 529484 w 1223178"/>
              <a:gd name="connsiteY19" fmla="*/ 1577697 h 1868003"/>
              <a:gd name="connsiteX20" fmla="*/ 548145 w 1223178"/>
              <a:gd name="connsiteY20" fmla="*/ 1708325 h 1868003"/>
              <a:gd name="connsiteX21" fmla="*/ 249566 w 1223178"/>
              <a:gd name="connsiteY21" fmla="*/ 1512382 h 1868003"/>
              <a:gd name="connsiteX22" fmla="*/ 100276 w 1223178"/>
              <a:gd name="connsiteY22" fmla="*/ 1073843 h 1868003"/>
              <a:gd name="connsiteX23" fmla="*/ 90945 w 1223178"/>
              <a:gd name="connsiteY23" fmla="*/ 635305 h 1868003"/>
              <a:gd name="connsiteX24" fmla="*/ 118937 w 1223178"/>
              <a:gd name="connsiteY24" fmla="*/ 823 h 1868003"/>
              <a:gd name="connsiteX0" fmla="*/ 118937 w 1223178"/>
              <a:gd name="connsiteY0" fmla="*/ 823 h 1868003"/>
              <a:gd name="connsiteX1" fmla="*/ 6970 w 1223178"/>
              <a:gd name="connsiteY1" fmla="*/ 709950 h 1868003"/>
              <a:gd name="connsiteX2" fmla="*/ 72284 w 1223178"/>
              <a:gd name="connsiteY2" fmla="*/ 1400415 h 1868003"/>
              <a:gd name="connsiteX3" fmla="*/ 557476 w 1223178"/>
              <a:gd name="connsiteY3" fmla="*/ 1838954 h 1868003"/>
              <a:gd name="connsiteX4" fmla="*/ 818733 w 1223178"/>
              <a:gd name="connsiteY4" fmla="*/ 1773639 h 1868003"/>
              <a:gd name="connsiteX5" fmla="*/ 1154635 w 1223178"/>
              <a:gd name="connsiteY5" fmla="*/ 1344431 h 1868003"/>
              <a:gd name="connsiteX6" fmla="*/ 1219950 w 1223178"/>
              <a:gd name="connsiteY6" fmla="*/ 812586 h 1868003"/>
              <a:gd name="connsiteX7" fmla="*/ 1098652 w 1223178"/>
              <a:gd name="connsiteY7" fmla="*/ 28815 h 1868003"/>
              <a:gd name="connsiteX8" fmla="*/ 1117313 w 1223178"/>
              <a:gd name="connsiteY8" fmla="*/ 523337 h 1868003"/>
              <a:gd name="connsiteX9" fmla="*/ 1117313 w 1223178"/>
              <a:gd name="connsiteY9" fmla="*/ 1017860 h 1868003"/>
              <a:gd name="connsiteX10" fmla="*/ 958692 w 1223178"/>
              <a:gd name="connsiteY10" fmla="*/ 1456399 h 1868003"/>
              <a:gd name="connsiteX11" fmla="*/ 762750 w 1223178"/>
              <a:gd name="connsiteY11" fmla="*/ 1689664 h 1868003"/>
              <a:gd name="connsiteX12" fmla="*/ 641452 w 1223178"/>
              <a:gd name="connsiteY12" fmla="*/ 1717656 h 1868003"/>
              <a:gd name="connsiteX13" fmla="*/ 632121 w 1223178"/>
              <a:gd name="connsiteY13" fmla="*/ 1549705 h 1868003"/>
              <a:gd name="connsiteX14" fmla="*/ 734758 w 1223178"/>
              <a:gd name="connsiteY14" fmla="*/ 1316439 h 1868003"/>
              <a:gd name="connsiteX15" fmla="*/ 706766 w 1223178"/>
              <a:gd name="connsiteY15" fmla="*/ 1101835 h 1868003"/>
              <a:gd name="connsiteX16" fmla="*/ 594799 w 1223178"/>
              <a:gd name="connsiteY16" fmla="*/ 691288 h 1868003"/>
              <a:gd name="connsiteX17" fmla="*/ 445509 w 1223178"/>
              <a:gd name="connsiteY17" fmla="*/ 1064513 h 1868003"/>
              <a:gd name="connsiteX18" fmla="*/ 436178 w 1223178"/>
              <a:gd name="connsiteY18" fmla="*/ 1400415 h 1868003"/>
              <a:gd name="connsiteX19" fmla="*/ 529484 w 1223178"/>
              <a:gd name="connsiteY19" fmla="*/ 1577697 h 1868003"/>
              <a:gd name="connsiteX20" fmla="*/ 548145 w 1223178"/>
              <a:gd name="connsiteY20" fmla="*/ 1708325 h 1868003"/>
              <a:gd name="connsiteX21" fmla="*/ 249566 w 1223178"/>
              <a:gd name="connsiteY21" fmla="*/ 1512382 h 1868003"/>
              <a:gd name="connsiteX22" fmla="*/ 90945 w 1223178"/>
              <a:gd name="connsiteY22" fmla="*/ 635305 h 1868003"/>
              <a:gd name="connsiteX23" fmla="*/ 118937 w 1223178"/>
              <a:gd name="connsiteY23" fmla="*/ 823 h 1868003"/>
              <a:gd name="connsiteX0" fmla="*/ 118937 w 1223178"/>
              <a:gd name="connsiteY0" fmla="*/ 1 h 1867181"/>
              <a:gd name="connsiteX1" fmla="*/ 6970 w 1223178"/>
              <a:gd name="connsiteY1" fmla="*/ 709128 h 1867181"/>
              <a:gd name="connsiteX2" fmla="*/ 72284 w 1223178"/>
              <a:gd name="connsiteY2" fmla="*/ 1399593 h 1867181"/>
              <a:gd name="connsiteX3" fmla="*/ 557476 w 1223178"/>
              <a:gd name="connsiteY3" fmla="*/ 1838132 h 1867181"/>
              <a:gd name="connsiteX4" fmla="*/ 818733 w 1223178"/>
              <a:gd name="connsiteY4" fmla="*/ 1772817 h 1867181"/>
              <a:gd name="connsiteX5" fmla="*/ 1154635 w 1223178"/>
              <a:gd name="connsiteY5" fmla="*/ 1343609 h 1867181"/>
              <a:gd name="connsiteX6" fmla="*/ 1219950 w 1223178"/>
              <a:gd name="connsiteY6" fmla="*/ 811764 h 1867181"/>
              <a:gd name="connsiteX7" fmla="*/ 1098652 w 1223178"/>
              <a:gd name="connsiteY7" fmla="*/ 27993 h 1867181"/>
              <a:gd name="connsiteX8" fmla="*/ 1117313 w 1223178"/>
              <a:gd name="connsiteY8" fmla="*/ 522515 h 1867181"/>
              <a:gd name="connsiteX9" fmla="*/ 1117313 w 1223178"/>
              <a:gd name="connsiteY9" fmla="*/ 1017038 h 1867181"/>
              <a:gd name="connsiteX10" fmla="*/ 958692 w 1223178"/>
              <a:gd name="connsiteY10" fmla="*/ 1455577 h 1867181"/>
              <a:gd name="connsiteX11" fmla="*/ 762750 w 1223178"/>
              <a:gd name="connsiteY11" fmla="*/ 1688842 h 1867181"/>
              <a:gd name="connsiteX12" fmla="*/ 641452 w 1223178"/>
              <a:gd name="connsiteY12" fmla="*/ 1716834 h 1867181"/>
              <a:gd name="connsiteX13" fmla="*/ 632121 w 1223178"/>
              <a:gd name="connsiteY13" fmla="*/ 1548883 h 1867181"/>
              <a:gd name="connsiteX14" fmla="*/ 734758 w 1223178"/>
              <a:gd name="connsiteY14" fmla="*/ 1315617 h 1867181"/>
              <a:gd name="connsiteX15" fmla="*/ 706766 w 1223178"/>
              <a:gd name="connsiteY15" fmla="*/ 1101013 h 1867181"/>
              <a:gd name="connsiteX16" fmla="*/ 594799 w 1223178"/>
              <a:gd name="connsiteY16" fmla="*/ 690466 h 1867181"/>
              <a:gd name="connsiteX17" fmla="*/ 445509 w 1223178"/>
              <a:gd name="connsiteY17" fmla="*/ 1063691 h 1867181"/>
              <a:gd name="connsiteX18" fmla="*/ 436178 w 1223178"/>
              <a:gd name="connsiteY18" fmla="*/ 1399593 h 1867181"/>
              <a:gd name="connsiteX19" fmla="*/ 529484 w 1223178"/>
              <a:gd name="connsiteY19" fmla="*/ 1576875 h 1867181"/>
              <a:gd name="connsiteX20" fmla="*/ 548145 w 1223178"/>
              <a:gd name="connsiteY20" fmla="*/ 1707503 h 1867181"/>
              <a:gd name="connsiteX21" fmla="*/ 249566 w 1223178"/>
              <a:gd name="connsiteY21" fmla="*/ 1511560 h 1867181"/>
              <a:gd name="connsiteX22" fmla="*/ 118937 w 1223178"/>
              <a:gd name="connsiteY22" fmla="*/ 1 h 1867181"/>
              <a:gd name="connsiteX0" fmla="*/ 259218 w 1232830"/>
              <a:gd name="connsiteY0" fmla="*/ 1487782 h 1843403"/>
              <a:gd name="connsiteX1" fmla="*/ 16622 w 1232830"/>
              <a:gd name="connsiteY1" fmla="*/ 685350 h 1843403"/>
              <a:gd name="connsiteX2" fmla="*/ 81936 w 1232830"/>
              <a:gd name="connsiteY2" fmla="*/ 1375815 h 1843403"/>
              <a:gd name="connsiteX3" fmla="*/ 567128 w 1232830"/>
              <a:gd name="connsiteY3" fmla="*/ 1814354 h 1843403"/>
              <a:gd name="connsiteX4" fmla="*/ 828385 w 1232830"/>
              <a:gd name="connsiteY4" fmla="*/ 1749039 h 1843403"/>
              <a:gd name="connsiteX5" fmla="*/ 1164287 w 1232830"/>
              <a:gd name="connsiteY5" fmla="*/ 1319831 h 1843403"/>
              <a:gd name="connsiteX6" fmla="*/ 1229602 w 1232830"/>
              <a:gd name="connsiteY6" fmla="*/ 787986 h 1843403"/>
              <a:gd name="connsiteX7" fmla="*/ 1108304 w 1232830"/>
              <a:gd name="connsiteY7" fmla="*/ 4215 h 1843403"/>
              <a:gd name="connsiteX8" fmla="*/ 1126965 w 1232830"/>
              <a:gd name="connsiteY8" fmla="*/ 498737 h 1843403"/>
              <a:gd name="connsiteX9" fmla="*/ 1126965 w 1232830"/>
              <a:gd name="connsiteY9" fmla="*/ 993260 h 1843403"/>
              <a:gd name="connsiteX10" fmla="*/ 968344 w 1232830"/>
              <a:gd name="connsiteY10" fmla="*/ 1431799 h 1843403"/>
              <a:gd name="connsiteX11" fmla="*/ 772402 w 1232830"/>
              <a:gd name="connsiteY11" fmla="*/ 1665064 h 1843403"/>
              <a:gd name="connsiteX12" fmla="*/ 651104 w 1232830"/>
              <a:gd name="connsiteY12" fmla="*/ 1693056 h 1843403"/>
              <a:gd name="connsiteX13" fmla="*/ 641773 w 1232830"/>
              <a:gd name="connsiteY13" fmla="*/ 1525105 h 1843403"/>
              <a:gd name="connsiteX14" fmla="*/ 744410 w 1232830"/>
              <a:gd name="connsiteY14" fmla="*/ 1291839 h 1843403"/>
              <a:gd name="connsiteX15" fmla="*/ 716418 w 1232830"/>
              <a:gd name="connsiteY15" fmla="*/ 1077235 h 1843403"/>
              <a:gd name="connsiteX16" fmla="*/ 604451 w 1232830"/>
              <a:gd name="connsiteY16" fmla="*/ 666688 h 1843403"/>
              <a:gd name="connsiteX17" fmla="*/ 455161 w 1232830"/>
              <a:gd name="connsiteY17" fmla="*/ 1039913 h 1843403"/>
              <a:gd name="connsiteX18" fmla="*/ 445830 w 1232830"/>
              <a:gd name="connsiteY18" fmla="*/ 1375815 h 1843403"/>
              <a:gd name="connsiteX19" fmla="*/ 539136 w 1232830"/>
              <a:gd name="connsiteY19" fmla="*/ 1553097 h 1843403"/>
              <a:gd name="connsiteX20" fmla="*/ 557797 w 1232830"/>
              <a:gd name="connsiteY20" fmla="*/ 1683725 h 1843403"/>
              <a:gd name="connsiteX21" fmla="*/ 259218 w 1232830"/>
              <a:gd name="connsiteY21" fmla="*/ 1487782 h 1843403"/>
              <a:gd name="connsiteX0" fmla="*/ 187783 w 1161395"/>
              <a:gd name="connsiteY0" fmla="*/ 1487782 h 1843403"/>
              <a:gd name="connsiteX1" fmla="*/ 10501 w 1161395"/>
              <a:gd name="connsiteY1" fmla="*/ 1375815 h 1843403"/>
              <a:gd name="connsiteX2" fmla="*/ 495693 w 1161395"/>
              <a:gd name="connsiteY2" fmla="*/ 1814354 h 1843403"/>
              <a:gd name="connsiteX3" fmla="*/ 756950 w 1161395"/>
              <a:gd name="connsiteY3" fmla="*/ 1749039 h 1843403"/>
              <a:gd name="connsiteX4" fmla="*/ 1092852 w 1161395"/>
              <a:gd name="connsiteY4" fmla="*/ 1319831 h 1843403"/>
              <a:gd name="connsiteX5" fmla="*/ 1158167 w 1161395"/>
              <a:gd name="connsiteY5" fmla="*/ 787986 h 1843403"/>
              <a:gd name="connsiteX6" fmla="*/ 1036869 w 1161395"/>
              <a:gd name="connsiteY6" fmla="*/ 4215 h 1843403"/>
              <a:gd name="connsiteX7" fmla="*/ 1055530 w 1161395"/>
              <a:gd name="connsiteY7" fmla="*/ 498737 h 1843403"/>
              <a:gd name="connsiteX8" fmla="*/ 1055530 w 1161395"/>
              <a:gd name="connsiteY8" fmla="*/ 993260 h 1843403"/>
              <a:gd name="connsiteX9" fmla="*/ 896909 w 1161395"/>
              <a:gd name="connsiteY9" fmla="*/ 1431799 h 1843403"/>
              <a:gd name="connsiteX10" fmla="*/ 700967 w 1161395"/>
              <a:gd name="connsiteY10" fmla="*/ 1665064 h 1843403"/>
              <a:gd name="connsiteX11" fmla="*/ 579669 w 1161395"/>
              <a:gd name="connsiteY11" fmla="*/ 1693056 h 1843403"/>
              <a:gd name="connsiteX12" fmla="*/ 570338 w 1161395"/>
              <a:gd name="connsiteY12" fmla="*/ 1525105 h 1843403"/>
              <a:gd name="connsiteX13" fmla="*/ 672975 w 1161395"/>
              <a:gd name="connsiteY13" fmla="*/ 1291839 h 1843403"/>
              <a:gd name="connsiteX14" fmla="*/ 644983 w 1161395"/>
              <a:gd name="connsiteY14" fmla="*/ 1077235 h 1843403"/>
              <a:gd name="connsiteX15" fmla="*/ 533016 w 1161395"/>
              <a:gd name="connsiteY15" fmla="*/ 666688 h 1843403"/>
              <a:gd name="connsiteX16" fmla="*/ 383726 w 1161395"/>
              <a:gd name="connsiteY16" fmla="*/ 1039913 h 1843403"/>
              <a:gd name="connsiteX17" fmla="*/ 374395 w 1161395"/>
              <a:gd name="connsiteY17" fmla="*/ 1375815 h 1843403"/>
              <a:gd name="connsiteX18" fmla="*/ 467701 w 1161395"/>
              <a:gd name="connsiteY18" fmla="*/ 1553097 h 1843403"/>
              <a:gd name="connsiteX19" fmla="*/ 486362 w 1161395"/>
              <a:gd name="connsiteY19" fmla="*/ 1683725 h 1843403"/>
              <a:gd name="connsiteX20" fmla="*/ 187783 w 1161395"/>
              <a:gd name="connsiteY20" fmla="*/ 1487782 h 1843403"/>
              <a:gd name="connsiteX0" fmla="*/ 187783 w 1160184"/>
              <a:gd name="connsiteY0" fmla="*/ 993157 h 1348778"/>
              <a:gd name="connsiteX1" fmla="*/ 10501 w 1160184"/>
              <a:gd name="connsiteY1" fmla="*/ 881190 h 1348778"/>
              <a:gd name="connsiteX2" fmla="*/ 495693 w 1160184"/>
              <a:gd name="connsiteY2" fmla="*/ 1319729 h 1348778"/>
              <a:gd name="connsiteX3" fmla="*/ 756950 w 1160184"/>
              <a:gd name="connsiteY3" fmla="*/ 1254414 h 1348778"/>
              <a:gd name="connsiteX4" fmla="*/ 1092852 w 1160184"/>
              <a:gd name="connsiteY4" fmla="*/ 825206 h 1348778"/>
              <a:gd name="connsiteX5" fmla="*/ 1158167 w 1160184"/>
              <a:gd name="connsiteY5" fmla="*/ 293361 h 1348778"/>
              <a:gd name="connsiteX6" fmla="*/ 1055530 w 1160184"/>
              <a:gd name="connsiteY6" fmla="*/ 4112 h 1348778"/>
              <a:gd name="connsiteX7" fmla="*/ 1055530 w 1160184"/>
              <a:gd name="connsiteY7" fmla="*/ 498635 h 1348778"/>
              <a:gd name="connsiteX8" fmla="*/ 896909 w 1160184"/>
              <a:gd name="connsiteY8" fmla="*/ 937174 h 1348778"/>
              <a:gd name="connsiteX9" fmla="*/ 700967 w 1160184"/>
              <a:gd name="connsiteY9" fmla="*/ 1170439 h 1348778"/>
              <a:gd name="connsiteX10" fmla="*/ 579669 w 1160184"/>
              <a:gd name="connsiteY10" fmla="*/ 1198431 h 1348778"/>
              <a:gd name="connsiteX11" fmla="*/ 570338 w 1160184"/>
              <a:gd name="connsiteY11" fmla="*/ 1030480 h 1348778"/>
              <a:gd name="connsiteX12" fmla="*/ 672975 w 1160184"/>
              <a:gd name="connsiteY12" fmla="*/ 797214 h 1348778"/>
              <a:gd name="connsiteX13" fmla="*/ 644983 w 1160184"/>
              <a:gd name="connsiteY13" fmla="*/ 582610 h 1348778"/>
              <a:gd name="connsiteX14" fmla="*/ 533016 w 1160184"/>
              <a:gd name="connsiteY14" fmla="*/ 172063 h 1348778"/>
              <a:gd name="connsiteX15" fmla="*/ 383726 w 1160184"/>
              <a:gd name="connsiteY15" fmla="*/ 545288 h 1348778"/>
              <a:gd name="connsiteX16" fmla="*/ 374395 w 1160184"/>
              <a:gd name="connsiteY16" fmla="*/ 881190 h 1348778"/>
              <a:gd name="connsiteX17" fmla="*/ 467701 w 1160184"/>
              <a:gd name="connsiteY17" fmla="*/ 1058472 h 1348778"/>
              <a:gd name="connsiteX18" fmla="*/ 486362 w 1160184"/>
              <a:gd name="connsiteY18" fmla="*/ 1189100 h 1348778"/>
              <a:gd name="connsiteX19" fmla="*/ 187783 w 1160184"/>
              <a:gd name="connsiteY19" fmla="*/ 993157 h 1348778"/>
              <a:gd name="connsiteX0" fmla="*/ 187783 w 1160184"/>
              <a:gd name="connsiteY0" fmla="*/ 821205 h 1176826"/>
              <a:gd name="connsiteX1" fmla="*/ 10501 w 1160184"/>
              <a:gd name="connsiteY1" fmla="*/ 709238 h 1176826"/>
              <a:gd name="connsiteX2" fmla="*/ 495693 w 1160184"/>
              <a:gd name="connsiteY2" fmla="*/ 1147777 h 1176826"/>
              <a:gd name="connsiteX3" fmla="*/ 756950 w 1160184"/>
              <a:gd name="connsiteY3" fmla="*/ 1082462 h 1176826"/>
              <a:gd name="connsiteX4" fmla="*/ 1092852 w 1160184"/>
              <a:gd name="connsiteY4" fmla="*/ 653254 h 1176826"/>
              <a:gd name="connsiteX5" fmla="*/ 1158167 w 1160184"/>
              <a:gd name="connsiteY5" fmla="*/ 121409 h 1176826"/>
              <a:gd name="connsiteX6" fmla="*/ 1055530 w 1160184"/>
              <a:gd name="connsiteY6" fmla="*/ 326683 h 1176826"/>
              <a:gd name="connsiteX7" fmla="*/ 896909 w 1160184"/>
              <a:gd name="connsiteY7" fmla="*/ 765222 h 1176826"/>
              <a:gd name="connsiteX8" fmla="*/ 700967 w 1160184"/>
              <a:gd name="connsiteY8" fmla="*/ 998487 h 1176826"/>
              <a:gd name="connsiteX9" fmla="*/ 579669 w 1160184"/>
              <a:gd name="connsiteY9" fmla="*/ 1026479 h 1176826"/>
              <a:gd name="connsiteX10" fmla="*/ 570338 w 1160184"/>
              <a:gd name="connsiteY10" fmla="*/ 858528 h 1176826"/>
              <a:gd name="connsiteX11" fmla="*/ 672975 w 1160184"/>
              <a:gd name="connsiteY11" fmla="*/ 625262 h 1176826"/>
              <a:gd name="connsiteX12" fmla="*/ 644983 w 1160184"/>
              <a:gd name="connsiteY12" fmla="*/ 410658 h 1176826"/>
              <a:gd name="connsiteX13" fmla="*/ 533016 w 1160184"/>
              <a:gd name="connsiteY13" fmla="*/ 111 h 1176826"/>
              <a:gd name="connsiteX14" fmla="*/ 383726 w 1160184"/>
              <a:gd name="connsiteY14" fmla="*/ 373336 h 1176826"/>
              <a:gd name="connsiteX15" fmla="*/ 374395 w 1160184"/>
              <a:gd name="connsiteY15" fmla="*/ 709238 h 1176826"/>
              <a:gd name="connsiteX16" fmla="*/ 467701 w 1160184"/>
              <a:gd name="connsiteY16" fmla="*/ 886520 h 1176826"/>
              <a:gd name="connsiteX17" fmla="*/ 486362 w 1160184"/>
              <a:gd name="connsiteY17" fmla="*/ 1017148 h 1176826"/>
              <a:gd name="connsiteX18" fmla="*/ 187783 w 1160184"/>
              <a:gd name="connsiteY18" fmla="*/ 821205 h 1176826"/>
              <a:gd name="connsiteX0" fmla="*/ 187783 w 1112929"/>
              <a:gd name="connsiteY0" fmla="*/ 821205 h 1176826"/>
              <a:gd name="connsiteX1" fmla="*/ 10501 w 1112929"/>
              <a:gd name="connsiteY1" fmla="*/ 709238 h 1176826"/>
              <a:gd name="connsiteX2" fmla="*/ 495693 w 1112929"/>
              <a:gd name="connsiteY2" fmla="*/ 1147777 h 1176826"/>
              <a:gd name="connsiteX3" fmla="*/ 756950 w 1112929"/>
              <a:gd name="connsiteY3" fmla="*/ 1082462 h 1176826"/>
              <a:gd name="connsiteX4" fmla="*/ 1092852 w 1112929"/>
              <a:gd name="connsiteY4" fmla="*/ 653254 h 1176826"/>
              <a:gd name="connsiteX5" fmla="*/ 1055530 w 1112929"/>
              <a:gd name="connsiteY5" fmla="*/ 326683 h 1176826"/>
              <a:gd name="connsiteX6" fmla="*/ 896909 w 1112929"/>
              <a:gd name="connsiteY6" fmla="*/ 765222 h 1176826"/>
              <a:gd name="connsiteX7" fmla="*/ 700967 w 1112929"/>
              <a:gd name="connsiteY7" fmla="*/ 998487 h 1176826"/>
              <a:gd name="connsiteX8" fmla="*/ 579669 w 1112929"/>
              <a:gd name="connsiteY8" fmla="*/ 1026479 h 1176826"/>
              <a:gd name="connsiteX9" fmla="*/ 570338 w 1112929"/>
              <a:gd name="connsiteY9" fmla="*/ 858528 h 1176826"/>
              <a:gd name="connsiteX10" fmla="*/ 672975 w 1112929"/>
              <a:gd name="connsiteY10" fmla="*/ 625262 h 1176826"/>
              <a:gd name="connsiteX11" fmla="*/ 644983 w 1112929"/>
              <a:gd name="connsiteY11" fmla="*/ 410658 h 1176826"/>
              <a:gd name="connsiteX12" fmla="*/ 533016 w 1112929"/>
              <a:gd name="connsiteY12" fmla="*/ 111 h 1176826"/>
              <a:gd name="connsiteX13" fmla="*/ 383726 w 1112929"/>
              <a:gd name="connsiteY13" fmla="*/ 373336 h 1176826"/>
              <a:gd name="connsiteX14" fmla="*/ 374395 w 1112929"/>
              <a:gd name="connsiteY14" fmla="*/ 709238 h 1176826"/>
              <a:gd name="connsiteX15" fmla="*/ 467701 w 1112929"/>
              <a:gd name="connsiteY15" fmla="*/ 886520 h 1176826"/>
              <a:gd name="connsiteX16" fmla="*/ 486362 w 1112929"/>
              <a:gd name="connsiteY16" fmla="*/ 1017148 h 1176826"/>
              <a:gd name="connsiteX17" fmla="*/ 187783 w 1112929"/>
              <a:gd name="connsiteY17" fmla="*/ 821205 h 1176826"/>
              <a:gd name="connsiteX0" fmla="*/ 187783 w 1095236"/>
              <a:gd name="connsiteY0" fmla="*/ 821205 h 1176826"/>
              <a:gd name="connsiteX1" fmla="*/ 10501 w 1095236"/>
              <a:gd name="connsiteY1" fmla="*/ 709238 h 1176826"/>
              <a:gd name="connsiteX2" fmla="*/ 495693 w 1095236"/>
              <a:gd name="connsiteY2" fmla="*/ 1147777 h 1176826"/>
              <a:gd name="connsiteX3" fmla="*/ 756950 w 1095236"/>
              <a:gd name="connsiteY3" fmla="*/ 1082462 h 1176826"/>
              <a:gd name="connsiteX4" fmla="*/ 1092852 w 1095236"/>
              <a:gd name="connsiteY4" fmla="*/ 653254 h 1176826"/>
              <a:gd name="connsiteX5" fmla="*/ 896909 w 1095236"/>
              <a:gd name="connsiteY5" fmla="*/ 765222 h 1176826"/>
              <a:gd name="connsiteX6" fmla="*/ 700967 w 1095236"/>
              <a:gd name="connsiteY6" fmla="*/ 998487 h 1176826"/>
              <a:gd name="connsiteX7" fmla="*/ 579669 w 1095236"/>
              <a:gd name="connsiteY7" fmla="*/ 1026479 h 1176826"/>
              <a:gd name="connsiteX8" fmla="*/ 570338 w 1095236"/>
              <a:gd name="connsiteY8" fmla="*/ 858528 h 1176826"/>
              <a:gd name="connsiteX9" fmla="*/ 672975 w 1095236"/>
              <a:gd name="connsiteY9" fmla="*/ 625262 h 1176826"/>
              <a:gd name="connsiteX10" fmla="*/ 644983 w 1095236"/>
              <a:gd name="connsiteY10" fmla="*/ 410658 h 1176826"/>
              <a:gd name="connsiteX11" fmla="*/ 533016 w 1095236"/>
              <a:gd name="connsiteY11" fmla="*/ 111 h 1176826"/>
              <a:gd name="connsiteX12" fmla="*/ 383726 w 1095236"/>
              <a:gd name="connsiteY12" fmla="*/ 373336 h 1176826"/>
              <a:gd name="connsiteX13" fmla="*/ 374395 w 1095236"/>
              <a:gd name="connsiteY13" fmla="*/ 709238 h 1176826"/>
              <a:gd name="connsiteX14" fmla="*/ 467701 w 1095236"/>
              <a:gd name="connsiteY14" fmla="*/ 886520 h 1176826"/>
              <a:gd name="connsiteX15" fmla="*/ 486362 w 1095236"/>
              <a:gd name="connsiteY15" fmla="*/ 1017148 h 1176826"/>
              <a:gd name="connsiteX16" fmla="*/ 187783 w 1095236"/>
              <a:gd name="connsiteY16" fmla="*/ 821205 h 1176826"/>
              <a:gd name="connsiteX0" fmla="*/ 187783 w 897635"/>
              <a:gd name="connsiteY0" fmla="*/ 821205 h 1173185"/>
              <a:gd name="connsiteX1" fmla="*/ 10501 w 897635"/>
              <a:gd name="connsiteY1" fmla="*/ 709238 h 1173185"/>
              <a:gd name="connsiteX2" fmla="*/ 495693 w 897635"/>
              <a:gd name="connsiteY2" fmla="*/ 1147777 h 1173185"/>
              <a:gd name="connsiteX3" fmla="*/ 756950 w 897635"/>
              <a:gd name="connsiteY3" fmla="*/ 1082462 h 1173185"/>
              <a:gd name="connsiteX4" fmla="*/ 896909 w 897635"/>
              <a:gd name="connsiteY4" fmla="*/ 765222 h 1173185"/>
              <a:gd name="connsiteX5" fmla="*/ 700967 w 897635"/>
              <a:gd name="connsiteY5" fmla="*/ 998487 h 1173185"/>
              <a:gd name="connsiteX6" fmla="*/ 579669 w 897635"/>
              <a:gd name="connsiteY6" fmla="*/ 1026479 h 1173185"/>
              <a:gd name="connsiteX7" fmla="*/ 570338 w 897635"/>
              <a:gd name="connsiteY7" fmla="*/ 858528 h 1173185"/>
              <a:gd name="connsiteX8" fmla="*/ 672975 w 897635"/>
              <a:gd name="connsiteY8" fmla="*/ 625262 h 1173185"/>
              <a:gd name="connsiteX9" fmla="*/ 644983 w 897635"/>
              <a:gd name="connsiteY9" fmla="*/ 410658 h 1173185"/>
              <a:gd name="connsiteX10" fmla="*/ 533016 w 897635"/>
              <a:gd name="connsiteY10" fmla="*/ 111 h 1173185"/>
              <a:gd name="connsiteX11" fmla="*/ 383726 w 897635"/>
              <a:gd name="connsiteY11" fmla="*/ 373336 h 1173185"/>
              <a:gd name="connsiteX12" fmla="*/ 374395 w 897635"/>
              <a:gd name="connsiteY12" fmla="*/ 709238 h 1173185"/>
              <a:gd name="connsiteX13" fmla="*/ 467701 w 897635"/>
              <a:gd name="connsiteY13" fmla="*/ 886520 h 1173185"/>
              <a:gd name="connsiteX14" fmla="*/ 486362 w 897635"/>
              <a:gd name="connsiteY14" fmla="*/ 1017148 h 1173185"/>
              <a:gd name="connsiteX15" fmla="*/ 187783 w 897635"/>
              <a:gd name="connsiteY15" fmla="*/ 821205 h 1173185"/>
              <a:gd name="connsiteX0" fmla="*/ 187783 w 767120"/>
              <a:gd name="connsiteY0" fmla="*/ 821205 h 1167492"/>
              <a:gd name="connsiteX1" fmla="*/ 10501 w 767120"/>
              <a:gd name="connsiteY1" fmla="*/ 709238 h 1167492"/>
              <a:gd name="connsiteX2" fmla="*/ 495693 w 767120"/>
              <a:gd name="connsiteY2" fmla="*/ 1147777 h 1167492"/>
              <a:gd name="connsiteX3" fmla="*/ 756950 w 767120"/>
              <a:gd name="connsiteY3" fmla="*/ 1082462 h 1167492"/>
              <a:gd name="connsiteX4" fmla="*/ 700967 w 767120"/>
              <a:gd name="connsiteY4" fmla="*/ 998487 h 1167492"/>
              <a:gd name="connsiteX5" fmla="*/ 579669 w 767120"/>
              <a:gd name="connsiteY5" fmla="*/ 1026479 h 1167492"/>
              <a:gd name="connsiteX6" fmla="*/ 570338 w 767120"/>
              <a:gd name="connsiteY6" fmla="*/ 858528 h 1167492"/>
              <a:gd name="connsiteX7" fmla="*/ 672975 w 767120"/>
              <a:gd name="connsiteY7" fmla="*/ 625262 h 1167492"/>
              <a:gd name="connsiteX8" fmla="*/ 644983 w 767120"/>
              <a:gd name="connsiteY8" fmla="*/ 410658 h 1167492"/>
              <a:gd name="connsiteX9" fmla="*/ 533016 w 767120"/>
              <a:gd name="connsiteY9" fmla="*/ 111 h 1167492"/>
              <a:gd name="connsiteX10" fmla="*/ 383726 w 767120"/>
              <a:gd name="connsiteY10" fmla="*/ 373336 h 1167492"/>
              <a:gd name="connsiteX11" fmla="*/ 374395 w 767120"/>
              <a:gd name="connsiteY11" fmla="*/ 709238 h 1167492"/>
              <a:gd name="connsiteX12" fmla="*/ 467701 w 767120"/>
              <a:gd name="connsiteY12" fmla="*/ 886520 h 1167492"/>
              <a:gd name="connsiteX13" fmla="*/ 486362 w 767120"/>
              <a:gd name="connsiteY13" fmla="*/ 1017148 h 1167492"/>
              <a:gd name="connsiteX14" fmla="*/ 187783 w 767120"/>
              <a:gd name="connsiteY14" fmla="*/ 821205 h 1167492"/>
              <a:gd name="connsiteX0" fmla="*/ 475867 w 756625"/>
              <a:gd name="connsiteY0" fmla="*/ 1017148 h 1167492"/>
              <a:gd name="connsiteX1" fmla="*/ 6 w 756625"/>
              <a:gd name="connsiteY1" fmla="*/ 709238 h 1167492"/>
              <a:gd name="connsiteX2" fmla="*/ 485198 w 756625"/>
              <a:gd name="connsiteY2" fmla="*/ 1147777 h 1167492"/>
              <a:gd name="connsiteX3" fmla="*/ 746455 w 756625"/>
              <a:gd name="connsiteY3" fmla="*/ 1082462 h 1167492"/>
              <a:gd name="connsiteX4" fmla="*/ 690472 w 756625"/>
              <a:gd name="connsiteY4" fmla="*/ 998487 h 1167492"/>
              <a:gd name="connsiteX5" fmla="*/ 569174 w 756625"/>
              <a:gd name="connsiteY5" fmla="*/ 1026479 h 1167492"/>
              <a:gd name="connsiteX6" fmla="*/ 559843 w 756625"/>
              <a:gd name="connsiteY6" fmla="*/ 858528 h 1167492"/>
              <a:gd name="connsiteX7" fmla="*/ 662480 w 756625"/>
              <a:gd name="connsiteY7" fmla="*/ 625262 h 1167492"/>
              <a:gd name="connsiteX8" fmla="*/ 634488 w 756625"/>
              <a:gd name="connsiteY8" fmla="*/ 410658 h 1167492"/>
              <a:gd name="connsiteX9" fmla="*/ 522521 w 756625"/>
              <a:gd name="connsiteY9" fmla="*/ 111 h 1167492"/>
              <a:gd name="connsiteX10" fmla="*/ 373231 w 756625"/>
              <a:gd name="connsiteY10" fmla="*/ 373336 h 1167492"/>
              <a:gd name="connsiteX11" fmla="*/ 363900 w 756625"/>
              <a:gd name="connsiteY11" fmla="*/ 709238 h 1167492"/>
              <a:gd name="connsiteX12" fmla="*/ 457206 w 756625"/>
              <a:gd name="connsiteY12" fmla="*/ 886520 h 1167492"/>
              <a:gd name="connsiteX13" fmla="*/ 475867 w 756625"/>
              <a:gd name="connsiteY13" fmla="*/ 1017148 h 1167492"/>
              <a:gd name="connsiteX0" fmla="*/ 122556 w 403314"/>
              <a:gd name="connsiteY0" fmla="*/ 1017148 h 1149270"/>
              <a:gd name="connsiteX1" fmla="*/ 131887 w 403314"/>
              <a:gd name="connsiteY1" fmla="*/ 1147777 h 1149270"/>
              <a:gd name="connsiteX2" fmla="*/ 393144 w 403314"/>
              <a:gd name="connsiteY2" fmla="*/ 1082462 h 1149270"/>
              <a:gd name="connsiteX3" fmla="*/ 337161 w 403314"/>
              <a:gd name="connsiteY3" fmla="*/ 998487 h 1149270"/>
              <a:gd name="connsiteX4" fmla="*/ 215863 w 403314"/>
              <a:gd name="connsiteY4" fmla="*/ 1026479 h 1149270"/>
              <a:gd name="connsiteX5" fmla="*/ 206532 w 403314"/>
              <a:gd name="connsiteY5" fmla="*/ 858528 h 1149270"/>
              <a:gd name="connsiteX6" fmla="*/ 309169 w 403314"/>
              <a:gd name="connsiteY6" fmla="*/ 625262 h 1149270"/>
              <a:gd name="connsiteX7" fmla="*/ 281177 w 403314"/>
              <a:gd name="connsiteY7" fmla="*/ 410658 h 1149270"/>
              <a:gd name="connsiteX8" fmla="*/ 169210 w 403314"/>
              <a:gd name="connsiteY8" fmla="*/ 111 h 1149270"/>
              <a:gd name="connsiteX9" fmla="*/ 19920 w 403314"/>
              <a:gd name="connsiteY9" fmla="*/ 373336 h 1149270"/>
              <a:gd name="connsiteX10" fmla="*/ 10589 w 403314"/>
              <a:gd name="connsiteY10" fmla="*/ 709238 h 1149270"/>
              <a:gd name="connsiteX11" fmla="*/ 103895 w 403314"/>
              <a:gd name="connsiteY11" fmla="*/ 886520 h 1149270"/>
              <a:gd name="connsiteX12" fmla="*/ 122556 w 403314"/>
              <a:gd name="connsiteY12" fmla="*/ 1017148 h 1149270"/>
              <a:gd name="connsiteX0" fmla="*/ 122556 w 394007"/>
              <a:gd name="connsiteY0" fmla="*/ 1017148 h 1149166"/>
              <a:gd name="connsiteX1" fmla="*/ 131887 w 394007"/>
              <a:gd name="connsiteY1" fmla="*/ 1147777 h 1149166"/>
              <a:gd name="connsiteX2" fmla="*/ 393144 w 394007"/>
              <a:gd name="connsiteY2" fmla="*/ 1082462 h 1149166"/>
              <a:gd name="connsiteX3" fmla="*/ 215863 w 394007"/>
              <a:gd name="connsiteY3" fmla="*/ 1026479 h 1149166"/>
              <a:gd name="connsiteX4" fmla="*/ 206532 w 394007"/>
              <a:gd name="connsiteY4" fmla="*/ 858528 h 1149166"/>
              <a:gd name="connsiteX5" fmla="*/ 309169 w 394007"/>
              <a:gd name="connsiteY5" fmla="*/ 625262 h 1149166"/>
              <a:gd name="connsiteX6" fmla="*/ 281177 w 394007"/>
              <a:gd name="connsiteY6" fmla="*/ 410658 h 1149166"/>
              <a:gd name="connsiteX7" fmla="*/ 169210 w 394007"/>
              <a:gd name="connsiteY7" fmla="*/ 111 h 1149166"/>
              <a:gd name="connsiteX8" fmla="*/ 19920 w 394007"/>
              <a:gd name="connsiteY8" fmla="*/ 373336 h 1149166"/>
              <a:gd name="connsiteX9" fmla="*/ 10589 w 394007"/>
              <a:gd name="connsiteY9" fmla="*/ 709238 h 1149166"/>
              <a:gd name="connsiteX10" fmla="*/ 103895 w 394007"/>
              <a:gd name="connsiteY10" fmla="*/ 886520 h 1149166"/>
              <a:gd name="connsiteX11" fmla="*/ 122556 w 394007"/>
              <a:gd name="connsiteY11" fmla="*/ 1017148 h 1149166"/>
              <a:gd name="connsiteX0" fmla="*/ 122556 w 313346"/>
              <a:gd name="connsiteY0" fmla="*/ 1017148 h 1147800"/>
              <a:gd name="connsiteX1" fmla="*/ 131887 w 313346"/>
              <a:gd name="connsiteY1" fmla="*/ 1147777 h 1147800"/>
              <a:gd name="connsiteX2" fmla="*/ 215863 w 313346"/>
              <a:gd name="connsiteY2" fmla="*/ 1026479 h 1147800"/>
              <a:gd name="connsiteX3" fmla="*/ 206532 w 313346"/>
              <a:gd name="connsiteY3" fmla="*/ 858528 h 1147800"/>
              <a:gd name="connsiteX4" fmla="*/ 309169 w 313346"/>
              <a:gd name="connsiteY4" fmla="*/ 625262 h 1147800"/>
              <a:gd name="connsiteX5" fmla="*/ 281177 w 313346"/>
              <a:gd name="connsiteY5" fmla="*/ 410658 h 1147800"/>
              <a:gd name="connsiteX6" fmla="*/ 169210 w 313346"/>
              <a:gd name="connsiteY6" fmla="*/ 111 h 1147800"/>
              <a:gd name="connsiteX7" fmla="*/ 19920 w 313346"/>
              <a:gd name="connsiteY7" fmla="*/ 373336 h 1147800"/>
              <a:gd name="connsiteX8" fmla="*/ 10589 w 313346"/>
              <a:gd name="connsiteY8" fmla="*/ 709238 h 1147800"/>
              <a:gd name="connsiteX9" fmla="*/ 103895 w 313346"/>
              <a:gd name="connsiteY9" fmla="*/ 886520 h 1147800"/>
              <a:gd name="connsiteX10" fmla="*/ 122556 w 313346"/>
              <a:gd name="connsiteY10" fmla="*/ 1017148 h 1147800"/>
              <a:gd name="connsiteX0" fmla="*/ 122555 w 313347"/>
              <a:gd name="connsiteY0" fmla="*/ 1017146 h 1041332"/>
              <a:gd name="connsiteX1" fmla="*/ 215862 w 313347"/>
              <a:gd name="connsiteY1" fmla="*/ 1026477 h 1041332"/>
              <a:gd name="connsiteX2" fmla="*/ 206531 w 313347"/>
              <a:gd name="connsiteY2" fmla="*/ 858526 h 1041332"/>
              <a:gd name="connsiteX3" fmla="*/ 309168 w 313347"/>
              <a:gd name="connsiteY3" fmla="*/ 625260 h 1041332"/>
              <a:gd name="connsiteX4" fmla="*/ 281176 w 313347"/>
              <a:gd name="connsiteY4" fmla="*/ 410656 h 1041332"/>
              <a:gd name="connsiteX5" fmla="*/ 169209 w 313347"/>
              <a:gd name="connsiteY5" fmla="*/ 109 h 1041332"/>
              <a:gd name="connsiteX6" fmla="*/ 19919 w 313347"/>
              <a:gd name="connsiteY6" fmla="*/ 373334 h 1041332"/>
              <a:gd name="connsiteX7" fmla="*/ 10588 w 313347"/>
              <a:gd name="connsiteY7" fmla="*/ 709236 h 1041332"/>
              <a:gd name="connsiteX8" fmla="*/ 103894 w 313347"/>
              <a:gd name="connsiteY8" fmla="*/ 886518 h 1041332"/>
              <a:gd name="connsiteX9" fmla="*/ 122555 w 313347"/>
              <a:gd name="connsiteY9" fmla="*/ 1017146 h 1041332"/>
              <a:gd name="connsiteX0" fmla="*/ 122555 w 313347"/>
              <a:gd name="connsiteY0" fmla="*/ 1017146 h 1042574"/>
              <a:gd name="connsiteX1" fmla="*/ 215862 w 313347"/>
              <a:gd name="connsiteY1" fmla="*/ 1026477 h 1042574"/>
              <a:gd name="connsiteX2" fmla="*/ 206531 w 313347"/>
              <a:gd name="connsiteY2" fmla="*/ 858526 h 1042574"/>
              <a:gd name="connsiteX3" fmla="*/ 309168 w 313347"/>
              <a:gd name="connsiteY3" fmla="*/ 625260 h 1042574"/>
              <a:gd name="connsiteX4" fmla="*/ 281176 w 313347"/>
              <a:gd name="connsiteY4" fmla="*/ 410656 h 1042574"/>
              <a:gd name="connsiteX5" fmla="*/ 169209 w 313347"/>
              <a:gd name="connsiteY5" fmla="*/ 109 h 1042574"/>
              <a:gd name="connsiteX6" fmla="*/ 19919 w 313347"/>
              <a:gd name="connsiteY6" fmla="*/ 373334 h 1042574"/>
              <a:gd name="connsiteX7" fmla="*/ 10588 w 313347"/>
              <a:gd name="connsiteY7" fmla="*/ 709236 h 1042574"/>
              <a:gd name="connsiteX8" fmla="*/ 103894 w 313347"/>
              <a:gd name="connsiteY8" fmla="*/ 886518 h 1042574"/>
              <a:gd name="connsiteX9" fmla="*/ 122555 w 313347"/>
              <a:gd name="connsiteY9" fmla="*/ 1017146 h 1042574"/>
              <a:gd name="connsiteX0" fmla="*/ 91699 w 313347"/>
              <a:gd name="connsiteY0" fmla="*/ 1080058 h 1088652"/>
              <a:gd name="connsiteX1" fmla="*/ 215862 w 313347"/>
              <a:gd name="connsiteY1" fmla="*/ 1026477 h 1088652"/>
              <a:gd name="connsiteX2" fmla="*/ 206531 w 313347"/>
              <a:gd name="connsiteY2" fmla="*/ 858526 h 1088652"/>
              <a:gd name="connsiteX3" fmla="*/ 309168 w 313347"/>
              <a:gd name="connsiteY3" fmla="*/ 625260 h 1088652"/>
              <a:gd name="connsiteX4" fmla="*/ 281176 w 313347"/>
              <a:gd name="connsiteY4" fmla="*/ 410656 h 1088652"/>
              <a:gd name="connsiteX5" fmla="*/ 169209 w 313347"/>
              <a:gd name="connsiteY5" fmla="*/ 109 h 1088652"/>
              <a:gd name="connsiteX6" fmla="*/ 19919 w 313347"/>
              <a:gd name="connsiteY6" fmla="*/ 373334 h 1088652"/>
              <a:gd name="connsiteX7" fmla="*/ 10588 w 313347"/>
              <a:gd name="connsiteY7" fmla="*/ 709236 h 1088652"/>
              <a:gd name="connsiteX8" fmla="*/ 103894 w 313347"/>
              <a:gd name="connsiteY8" fmla="*/ 886518 h 1088652"/>
              <a:gd name="connsiteX9" fmla="*/ 91699 w 313347"/>
              <a:gd name="connsiteY9" fmla="*/ 1080058 h 1088652"/>
              <a:gd name="connsiteX0" fmla="*/ 91699 w 313347"/>
              <a:gd name="connsiteY0" fmla="*/ 1080058 h 1123507"/>
              <a:gd name="connsiteX1" fmla="*/ 215862 w 313347"/>
              <a:gd name="connsiteY1" fmla="*/ 1026477 h 1123507"/>
              <a:gd name="connsiteX2" fmla="*/ 206531 w 313347"/>
              <a:gd name="connsiteY2" fmla="*/ 858526 h 1123507"/>
              <a:gd name="connsiteX3" fmla="*/ 309168 w 313347"/>
              <a:gd name="connsiteY3" fmla="*/ 625260 h 1123507"/>
              <a:gd name="connsiteX4" fmla="*/ 281176 w 313347"/>
              <a:gd name="connsiteY4" fmla="*/ 410656 h 1123507"/>
              <a:gd name="connsiteX5" fmla="*/ 169209 w 313347"/>
              <a:gd name="connsiteY5" fmla="*/ 109 h 1123507"/>
              <a:gd name="connsiteX6" fmla="*/ 19919 w 313347"/>
              <a:gd name="connsiteY6" fmla="*/ 373334 h 1123507"/>
              <a:gd name="connsiteX7" fmla="*/ 10588 w 313347"/>
              <a:gd name="connsiteY7" fmla="*/ 709236 h 1123507"/>
              <a:gd name="connsiteX8" fmla="*/ 103894 w 313347"/>
              <a:gd name="connsiteY8" fmla="*/ 886518 h 1123507"/>
              <a:gd name="connsiteX9" fmla="*/ 91699 w 313347"/>
              <a:gd name="connsiteY9" fmla="*/ 1080058 h 1123507"/>
              <a:gd name="connsiteX0" fmla="*/ 106099 w 313347"/>
              <a:gd name="connsiteY0" fmla="*/ 1025537 h 1081018"/>
              <a:gd name="connsiteX1" fmla="*/ 215862 w 313347"/>
              <a:gd name="connsiteY1" fmla="*/ 1026477 h 1081018"/>
              <a:gd name="connsiteX2" fmla="*/ 206531 w 313347"/>
              <a:gd name="connsiteY2" fmla="*/ 858526 h 1081018"/>
              <a:gd name="connsiteX3" fmla="*/ 309168 w 313347"/>
              <a:gd name="connsiteY3" fmla="*/ 625260 h 1081018"/>
              <a:gd name="connsiteX4" fmla="*/ 281176 w 313347"/>
              <a:gd name="connsiteY4" fmla="*/ 410656 h 1081018"/>
              <a:gd name="connsiteX5" fmla="*/ 169209 w 313347"/>
              <a:gd name="connsiteY5" fmla="*/ 109 h 1081018"/>
              <a:gd name="connsiteX6" fmla="*/ 19919 w 313347"/>
              <a:gd name="connsiteY6" fmla="*/ 373334 h 1081018"/>
              <a:gd name="connsiteX7" fmla="*/ 10588 w 313347"/>
              <a:gd name="connsiteY7" fmla="*/ 709236 h 1081018"/>
              <a:gd name="connsiteX8" fmla="*/ 103894 w 313347"/>
              <a:gd name="connsiteY8" fmla="*/ 886518 h 1081018"/>
              <a:gd name="connsiteX9" fmla="*/ 106099 w 313347"/>
              <a:gd name="connsiteY9" fmla="*/ 1025537 h 1081018"/>
              <a:gd name="connsiteX0" fmla="*/ 106099 w 313347"/>
              <a:gd name="connsiteY0" fmla="*/ 1025537 h 1045266"/>
              <a:gd name="connsiteX1" fmla="*/ 207633 w 313347"/>
              <a:gd name="connsiteY1" fmla="*/ 1026476 h 1045266"/>
              <a:gd name="connsiteX2" fmla="*/ 206531 w 313347"/>
              <a:gd name="connsiteY2" fmla="*/ 858526 h 1045266"/>
              <a:gd name="connsiteX3" fmla="*/ 309168 w 313347"/>
              <a:gd name="connsiteY3" fmla="*/ 625260 h 1045266"/>
              <a:gd name="connsiteX4" fmla="*/ 281176 w 313347"/>
              <a:gd name="connsiteY4" fmla="*/ 410656 h 1045266"/>
              <a:gd name="connsiteX5" fmla="*/ 169209 w 313347"/>
              <a:gd name="connsiteY5" fmla="*/ 109 h 1045266"/>
              <a:gd name="connsiteX6" fmla="*/ 19919 w 313347"/>
              <a:gd name="connsiteY6" fmla="*/ 373334 h 1045266"/>
              <a:gd name="connsiteX7" fmla="*/ 10588 w 313347"/>
              <a:gd name="connsiteY7" fmla="*/ 709236 h 1045266"/>
              <a:gd name="connsiteX8" fmla="*/ 103894 w 313347"/>
              <a:gd name="connsiteY8" fmla="*/ 886518 h 1045266"/>
              <a:gd name="connsiteX9" fmla="*/ 106099 w 313347"/>
              <a:gd name="connsiteY9" fmla="*/ 1025537 h 1045266"/>
              <a:gd name="connsiteX0" fmla="*/ 106099 w 309762"/>
              <a:gd name="connsiteY0" fmla="*/ 1025537 h 1045266"/>
              <a:gd name="connsiteX1" fmla="*/ 207633 w 309762"/>
              <a:gd name="connsiteY1" fmla="*/ 1026476 h 1045266"/>
              <a:gd name="connsiteX2" fmla="*/ 206531 w 309762"/>
              <a:gd name="connsiteY2" fmla="*/ 858526 h 1045266"/>
              <a:gd name="connsiteX3" fmla="*/ 305054 w 309762"/>
              <a:gd name="connsiteY3" fmla="*/ 683976 h 1045266"/>
              <a:gd name="connsiteX4" fmla="*/ 281176 w 309762"/>
              <a:gd name="connsiteY4" fmla="*/ 410656 h 1045266"/>
              <a:gd name="connsiteX5" fmla="*/ 169209 w 309762"/>
              <a:gd name="connsiteY5" fmla="*/ 109 h 1045266"/>
              <a:gd name="connsiteX6" fmla="*/ 19919 w 309762"/>
              <a:gd name="connsiteY6" fmla="*/ 373334 h 1045266"/>
              <a:gd name="connsiteX7" fmla="*/ 10588 w 309762"/>
              <a:gd name="connsiteY7" fmla="*/ 709236 h 1045266"/>
              <a:gd name="connsiteX8" fmla="*/ 103894 w 309762"/>
              <a:gd name="connsiteY8" fmla="*/ 886518 h 1045266"/>
              <a:gd name="connsiteX9" fmla="*/ 106099 w 309762"/>
              <a:gd name="connsiteY9" fmla="*/ 1025537 h 1045266"/>
              <a:gd name="connsiteX0" fmla="*/ 106099 w 309762"/>
              <a:gd name="connsiteY0" fmla="*/ 1025537 h 1043896"/>
              <a:gd name="connsiteX1" fmla="*/ 207633 w 309762"/>
              <a:gd name="connsiteY1" fmla="*/ 1026476 h 1043896"/>
              <a:gd name="connsiteX2" fmla="*/ 206531 w 309762"/>
              <a:gd name="connsiteY2" fmla="*/ 879497 h 1043896"/>
              <a:gd name="connsiteX3" fmla="*/ 305054 w 309762"/>
              <a:gd name="connsiteY3" fmla="*/ 683976 h 1043896"/>
              <a:gd name="connsiteX4" fmla="*/ 281176 w 309762"/>
              <a:gd name="connsiteY4" fmla="*/ 410656 h 1043896"/>
              <a:gd name="connsiteX5" fmla="*/ 169209 w 309762"/>
              <a:gd name="connsiteY5" fmla="*/ 109 h 1043896"/>
              <a:gd name="connsiteX6" fmla="*/ 19919 w 309762"/>
              <a:gd name="connsiteY6" fmla="*/ 373334 h 1043896"/>
              <a:gd name="connsiteX7" fmla="*/ 10588 w 309762"/>
              <a:gd name="connsiteY7" fmla="*/ 709236 h 1043896"/>
              <a:gd name="connsiteX8" fmla="*/ 103894 w 309762"/>
              <a:gd name="connsiteY8" fmla="*/ 886518 h 1043896"/>
              <a:gd name="connsiteX9" fmla="*/ 106099 w 309762"/>
              <a:gd name="connsiteY9" fmla="*/ 1025537 h 1043896"/>
              <a:gd name="connsiteX0" fmla="*/ 106099 w 309294"/>
              <a:gd name="connsiteY0" fmla="*/ 1025485 h 1043846"/>
              <a:gd name="connsiteX1" fmla="*/ 207633 w 309294"/>
              <a:gd name="connsiteY1" fmla="*/ 1026424 h 1043846"/>
              <a:gd name="connsiteX2" fmla="*/ 206531 w 309294"/>
              <a:gd name="connsiteY2" fmla="*/ 879445 h 1043846"/>
              <a:gd name="connsiteX3" fmla="*/ 305054 w 309294"/>
              <a:gd name="connsiteY3" fmla="*/ 683924 h 1043846"/>
              <a:gd name="connsiteX4" fmla="*/ 279118 w 309294"/>
              <a:gd name="connsiteY4" fmla="*/ 347692 h 1043846"/>
              <a:gd name="connsiteX5" fmla="*/ 169209 w 309294"/>
              <a:gd name="connsiteY5" fmla="*/ 57 h 1043846"/>
              <a:gd name="connsiteX6" fmla="*/ 19919 w 309294"/>
              <a:gd name="connsiteY6" fmla="*/ 373282 h 1043846"/>
              <a:gd name="connsiteX7" fmla="*/ 10588 w 309294"/>
              <a:gd name="connsiteY7" fmla="*/ 709184 h 1043846"/>
              <a:gd name="connsiteX8" fmla="*/ 103894 w 309294"/>
              <a:gd name="connsiteY8" fmla="*/ 886466 h 1043846"/>
              <a:gd name="connsiteX9" fmla="*/ 106099 w 309294"/>
              <a:gd name="connsiteY9" fmla="*/ 1025485 h 1043846"/>
              <a:gd name="connsiteX0" fmla="*/ 105520 w 308952"/>
              <a:gd name="connsiteY0" fmla="*/ 1029678 h 1048038"/>
              <a:gd name="connsiteX1" fmla="*/ 207054 w 308952"/>
              <a:gd name="connsiteY1" fmla="*/ 1030617 h 1048038"/>
              <a:gd name="connsiteX2" fmla="*/ 205952 w 308952"/>
              <a:gd name="connsiteY2" fmla="*/ 883638 h 1048038"/>
              <a:gd name="connsiteX3" fmla="*/ 304475 w 308952"/>
              <a:gd name="connsiteY3" fmla="*/ 688117 h 1048038"/>
              <a:gd name="connsiteX4" fmla="*/ 278539 w 308952"/>
              <a:gd name="connsiteY4" fmla="*/ 351885 h 1048038"/>
              <a:gd name="connsiteX5" fmla="*/ 158345 w 308952"/>
              <a:gd name="connsiteY5" fmla="*/ 55 h 1048038"/>
              <a:gd name="connsiteX6" fmla="*/ 19340 w 308952"/>
              <a:gd name="connsiteY6" fmla="*/ 377475 h 1048038"/>
              <a:gd name="connsiteX7" fmla="*/ 10009 w 308952"/>
              <a:gd name="connsiteY7" fmla="*/ 713377 h 1048038"/>
              <a:gd name="connsiteX8" fmla="*/ 103315 w 308952"/>
              <a:gd name="connsiteY8" fmla="*/ 890659 h 1048038"/>
              <a:gd name="connsiteX9" fmla="*/ 105520 w 308952"/>
              <a:gd name="connsiteY9" fmla="*/ 1029678 h 1048038"/>
              <a:gd name="connsiteX0" fmla="*/ 105520 w 308952"/>
              <a:gd name="connsiteY0" fmla="*/ 1029678 h 1048038"/>
              <a:gd name="connsiteX1" fmla="*/ 207054 w 308952"/>
              <a:gd name="connsiteY1" fmla="*/ 1030617 h 1048038"/>
              <a:gd name="connsiteX2" fmla="*/ 205952 w 308952"/>
              <a:gd name="connsiteY2" fmla="*/ 883638 h 1048038"/>
              <a:gd name="connsiteX3" fmla="*/ 304475 w 308952"/>
              <a:gd name="connsiteY3" fmla="*/ 688117 h 1048038"/>
              <a:gd name="connsiteX4" fmla="*/ 278539 w 308952"/>
              <a:gd name="connsiteY4" fmla="*/ 351885 h 1048038"/>
              <a:gd name="connsiteX5" fmla="*/ 158345 w 308952"/>
              <a:gd name="connsiteY5" fmla="*/ 55 h 1048038"/>
              <a:gd name="connsiteX6" fmla="*/ 19340 w 308952"/>
              <a:gd name="connsiteY6" fmla="*/ 377475 h 1048038"/>
              <a:gd name="connsiteX7" fmla="*/ 10009 w 308952"/>
              <a:gd name="connsiteY7" fmla="*/ 713377 h 1048038"/>
              <a:gd name="connsiteX8" fmla="*/ 103315 w 308952"/>
              <a:gd name="connsiteY8" fmla="*/ 890659 h 1048038"/>
              <a:gd name="connsiteX9" fmla="*/ 105520 w 308952"/>
              <a:gd name="connsiteY9" fmla="*/ 1029678 h 1048038"/>
              <a:gd name="connsiteX0" fmla="*/ 108959 w 308952"/>
              <a:gd name="connsiteY0" fmla="*/ 964412 h 1032668"/>
              <a:gd name="connsiteX1" fmla="*/ 207054 w 308952"/>
              <a:gd name="connsiteY1" fmla="*/ 1030617 h 1032668"/>
              <a:gd name="connsiteX2" fmla="*/ 205952 w 308952"/>
              <a:gd name="connsiteY2" fmla="*/ 883638 h 1032668"/>
              <a:gd name="connsiteX3" fmla="*/ 304475 w 308952"/>
              <a:gd name="connsiteY3" fmla="*/ 688117 h 1032668"/>
              <a:gd name="connsiteX4" fmla="*/ 278539 w 308952"/>
              <a:gd name="connsiteY4" fmla="*/ 351885 h 1032668"/>
              <a:gd name="connsiteX5" fmla="*/ 158345 w 308952"/>
              <a:gd name="connsiteY5" fmla="*/ 55 h 1032668"/>
              <a:gd name="connsiteX6" fmla="*/ 19340 w 308952"/>
              <a:gd name="connsiteY6" fmla="*/ 377475 h 1032668"/>
              <a:gd name="connsiteX7" fmla="*/ 10009 w 308952"/>
              <a:gd name="connsiteY7" fmla="*/ 713377 h 1032668"/>
              <a:gd name="connsiteX8" fmla="*/ 103315 w 308952"/>
              <a:gd name="connsiteY8" fmla="*/ 890659 h 1032668"/>
              <a:gd name="connsiteX9" fmla="*/ 108959 w 308952"/>
              <a:gd name="connsiteY9" fmla="*/ 964412 h 1032668"/>
              <a:gd name="connsiteX0" fmla="*/ 108959 w 308952"/>
              <a:gd name="connsiteY0" fmla="*/ 964412 h 970745"/>
              <a:gd name="connsiteX1" fmla="*/ 205334 w 308952"/>
              <a:gd name="connsiteY1" fmla="*/ 957672 h 970745"/>
              <a:gd name="connsiteX2" fmla="*/ 205952 w 308952"/>
              <a:gd name="connsiteY2" fmla="*/ 883638 h 970745"/>
              <a:gd name="connsiteX3" fmla="*/ 304475 w 308952"/>
              <a:gd name="connsiteY3" fmla="*/ 688117 h 970745"/>
              <a:gd name="connsiteX4" fmla="*/ 278539 w 308952"/>
              <a:gd name="connsiteY4" fmla="*/ 351885 h 970745"/>
              <a:gd name="connsiteX5" fmla="*/ 158345 w 308952"/>
              <a:gd name="connsiteY5" fmla="*/ 55 h 970745"/>
              <a:gd name="connsiteX6" fmla="*/ 19340 w 308952"/>
              <a:gd name="connsiteY6" fmla="*/ 377475 h 970745"/>
              <a:gd name="connsiteX7" fmla="*/ 10009 w 308952"/>
              <a:gd name="connsiteY7" fmla="*/ 713377 h 970745"/>
              <a:gd name="connsiteX8" fmla="*/ 103315 w 308952"/>
              <a:gd name="connsiteY8" fmla="*/ 890659 h 970745"/>
              <a:gd name="connsiteX9" fmla="*/ 108959 w 308952"/>
              <a:gd name="connsiteY9" fmla="*/ 964412 h 970745"/>
              <a:gd name="connsiteX0" fmla="*/ 117555 w 308952"/>
              <a:gd name="connsiteY0" fmla="*/ 956733 h 965991"/>
              <a:gd name="connsiteX1" fmla="*/ 205334 w 308952"/>
              <a:gd name="connsiteY1" fmla="*/ 957672 h 965991"/>
              <a:gd name="connsiteX2" fmla="*/ 205952 w 308952"/>
              <a:gd name="connsiteY2" fmla="*/ 883638 h 965991"/>
              <a:gd name="connsiteX3" fmla="*/ 304475 w 308952"/>
              <a:gd name="connsiteY3" fmla="*/ 688117 h 965991"/>
              <a:gd name="connsiteX4" fmla="*/ 278539 w 308952"/>
              <a:gd name="connsiteY4" fmla="*/ 351885 h 965991"/>
              <a:gd name="connsiteX5" fmla="*/ 158345 w 308952"/>
              <a:gd name="connsiteY5" fmla="*/ 55 h 965991"/>
              <a:gd name="connsiteX6" fmla="*/ 19340 w 308952"/>
              <a:gd name="connsiteY6" fmla="*/ 377475 h 965991"/>
              <a:gd name="connsiteX7" fmla="*/ 10009 w 308952"/>
              <a:gd name="connsiteY7" fmla="*/ 713377 h 965991"/>
              <a:gd name="connsiteX8" fmla="*/ 103315 w 308952"/>
              <a:gd name="connsiteY8" fmla="*/ 890659 h 965991"/>
              <a:gd name="connsiteX9" fmla="*/ 117555 w 308952"/>
              <a:gd name="connsiteY9" fmla="*/ 956733 h 965991"/>
              <a:gd name="connsiteX0" fmla="*/ 117555 w 308952"/>
              <a:gd name="connsiteY0" fmla="*/ 956733 h 965993"/>
              <a:gd name="connsiteX1" fmla="*/ 191580 w 308952"/>
              <a:gd name="connsiteY1" fmla="*/ 957672 h 965993"/>
              <a:gd name="connsiteX2" fmla="*/ 205952 w 308952"/>
              <a:gd name="connsiteY2" fmla="*/ 883638 h 965993"/>
              <a:gd name="connsiteX3" fmla="*/ 304475 w 308952"/>
              <a:gd name="connsiteY3" fmla="*/ 688117 h 965993"/>
              <a:gd name="connsiteX4" fmla="*/ 278539 w 308952"/>
              <a:gd name="connsiteY4" fmla="*/ 351885 h 965993"/>
              <a:gd name="connsiteX5" fmla="*/ 158345 w 308952"/>
              <a:gd name="connsiteY5" fmla="*/ 55 h 965993"/>
              <a:gd name="connsiteX6" fmla="*/ 19340 w 308952"/>
              <a:gd name="connsiteY6" fmla="*/ 377475 h 965993"/>
              <a:gd name="connsiteX7" fmla="*/ 10009 w 308952"/>
              <a:gd name="connsiteY7" fmla="*/ 713377 h 965993"/>
              <a:gd name="connsiteX8" fmla="*/ 103315 w 308952"/>
              <a:gd name="connsiteY8" fmla="*/ 890659 h 965993"/>
              <a:gd name="connsiteX9" fmla="*/ 117555 w 308952"/>
              <a:gd name="connsiteY9" fmla="*/ 956733 h 965993"/>
              <a:gd name="connsiteX0" fmla="*/ 119274 w 308952"/>
              <a:gd name="connsiteY0" fmla="*/ 960573 h 968186"/>
              <a:gd name="connsiteX1" fmla="*/ 191580 w 308952"/>
              <a:gd name="connsiteY1" fmla="*/ 957672 h 968186"/>
              <a:gd name="connsiteX2" fmla="*/ 205952 w 308952"/>
              <a:gd name="connsiteY2" fmla="*/ 883638 h 968186"/>
              <a:gd name="connsiteX3" fmla="*/ 304475 w 308952"/>
              <a:gd name="connsiteY3" fmla="*/ 688117 h 968186"/>
              <a:gd name="connsiteX4" fmla="*/ 278539 w 308952"/>
              <a:gd name="connsiteY4" fmla="*/ 351885 h 968186"/>
              <a:gd name="connsiteX5" fmla="*/ 158345 w 308952"/>
              <a:gd name="connsiteY5" fmla="*/ 55 h 968186"/>
              <a:gd name="connsiteX6" fmla="*/ 19340 w 308952"/>
              <a:gd name="connsiteY6" fmla="*/ 377475 h 968186"/>
              <a:gd name="connsiteX7" fmla="*/ 10009 w 308952"/>
              <a:gd name="connsiteY7" fmla="*/ 713377 h 968186"/>
              <a:gd name="connsiteX8" fmla="*/ 103315 w 308952"/>
              <a:gd name="connsiteY8" fmla="*/ 890659 h 968186"/>
              <a:gd name="connsiteX9" fmla="*/ 119274 w 308952"/>
              <a:gd name="connsiteY9" fmla="*/ 960573 h 968186"/>
              <a:gd name="connsiteX0" fmla="*/ 119274 w 311062"/>
              <a:gd name="connsiteY0" fmla="*/ 960573 h 969012"/>
              <a:gd name="connsiteX1" fmla="*/ 191580 w 311062"/>
              <a:gd name="connsiteY1" fmla="*/ 957672 h 969012"/>
              <a:gd name="connsiteX2" fmla="*/ 176371 w 311062"/>
              <a:gd name="connsiteY2" fmla="*/ 869530 h 969012"/>
              <a:gd name="connsiteX3" fmla="*/ 304475 w 311062"/>
              <a:gd name="connsiteY3" fmla="*/ 688117 h 969012"/>
              <a:gd name="connsiteX4" fmla="*/ 278539 w 311062"/>
              <a:gd name="connsiteY4" fmla="*/ 351885 h 969012"/>
              <a:gd name="connsiteX5" fmla="*/ 158345 w 311062"/>
              <a:gd name="connsiteY5" fmla="*/ 55 h 969012"/>
              <a:gd name="connsiteX6" fmla="*/ 19340 w 311062"/>
              <a:gd name="connsiteY6" fmla="*/ 377475 h 969012"/>
              <a:gd name="connsiteX7" fmla="*/ 10009 w 311062"/>
              <a:gd name="connsiteY7" fmla="*/ 713377 h 969012"/>
              <a:gd name="connsiteX8" fmla="*/ 103315 w 311062"/>
              <a:gd name="connsiteY8" fmla="*/ 890659 h 969012"/>
              <a:gd name="connsiteX9" fmla="*/ 119274 w 311062"/>
              <a:gd name="connsiteY9" fmla="*/ 960573 h 969012"/>
              <a:gd name="connsiteX0" fmla="*/ 119274 w 311062"/>
              <a:gd name="connsiteY0" fmla="*/ 960573 h 970966"/>
              <a:gd name="connsiteX1" fmla="*/ 191580 w 311062"/>
              <a:gd name="connsiteY1" fmla="*/ 957672 h 970966"/>
              <a:gd name="connsiteX2" fmla="*/ 176371 w 311062"/>
              <a:gd name="connsiteY2" fmla="*/ 869530 h 970966"/>
              <a:gd name="connsiteX3" fmla="*/ 304475 w 311062"/>
              <a:gd name="connsiteY3" fmla="*/ 688117 h 970966"/>
              <a:gd name="connsiteX4" fmla="*/ 278539 w 311062"/>
              <a:gd name="connsiteY4" fmla="*/ 351885 h 970966"/>
              <a:gd name="connsiteX5" fmla="*/ 158345 w 311062"/>
              <a:gd name="connsiteY5" fmla="*/ 55 h 970966"/>
              <a:gd name="connsiteX6" fmla="*/ 19340 w 311062"/>
              <a:gd name="connsiteY6" fmla="*/ 377475 h 970966"/>
              <a:gd name="connsiteX7" fmla="*/ 10009 w 311062"/>
              <a:gd name="connsiteY7" fmla="*/ 713377 h 970966"/>
              <a:gd name="connsiteX8" fmla="*/ 117222 w 311062"/>
              <a:gd name="connsiteY8" fmla="*/ 861344 h 970966"/>
              <a:gd name="connsiteX9" fmla="*/ 119274 w 311062"/>
              <a:gd name="connsiteY9" fmla="*/ 960573 h 970966"/>
              <a:gd name="connsiteX0" fmla="*/ 112722 w 304510"/>
              <a:gd name="connsiteY0" fmla="*/ 960573 h 970966"/>
              <a:gd name="connsiteX1" fmla="*/ 185028 w 304510"/>
              <a:gd name="connsiteY1" fmla="*/ 957672 h 970966"/>
              <a:gd name="connsiteX2" fmla="*/ 169819 w 304510"/>
              <a:gd name="connsiteY2" fmla="*/ 869530 h 970966"/>
              <a:gd name="connsiteX3" fmla="*/ 297923 w 304510"/>
              <a:gd name="connsiteY3" fmla="*/ 688117 h 970966"/>
              <a:gd name="connsiteX4" fmla="*/ 271987 w 304510"/>
              <a:gd name="connsiteY4" fmla="*/ 351885 h 970966"/>
              <a:gd name="connsiteX5" fmla="*/ 151793 w 304510"/>
              <a:gd name="connsiteY5" fmla="*/ 55 h 970966"/>
              <a:gd name="connsiteX6" fmla="*/ 12788 w 304510"/>
              <a:gd name="connsiteY6" fmla="*/ 377475 h 970966"/>
              <a:gd name="connsiteX7" fmla="*/ 15750 w 304510"/>
              <a:gd name="connsiteY7" fmla="*/ 707096 h 970966"/>
              <a:gd name="connsiteX8" fmla="*/ 110670 w 304510"/>
              <a:gd name="connsiteY8" fmla="*/ 861344 h 970966"/>
              <a:gd name="connsiteX9" fmla="*/ 112722 w 304510"/>
              <a:gd name="connsiteY9" fmla="*/ 960573 h 970966"/>
              <a:gd name="connsiteX0" fmla="*/ 112722 w 304510"/>
              <a:gd name="connsiteY0" fmla="*/ 960573 h 970845"/>
              <a:gd name="connsiteX1" fmla="*/ 185028 w 304510"/>
              <a:gd name="connsiteY1" fmla="*/ 957672 h 970845"/>
              <a:gd name="connsiteX2" fmla="*/ 169819 w 304510"/>
              <a:gd name="connsiteY2" fmla="*/ 869530 h 970845"/>
              <a:gd name="connsiteX3" fmla="*/ 297923 w 304510"/>
              <a:gd name="connsiteY3" fmla="*/ 688117 h 970845"/>
              <a:gd name="connsiteX4" fmla="*/ 271987 w 304510"/>
              <a:gd name="connsiteY4" fmla="*/ 351885 h 970845"/>
              <a:gd name="connsiteX5" fmla="*/ 151793 w 304510"/>
              <a:gd name="connsiteY5" fmla="*/ 55 h 970845"/>
              <a:gd name="connsiteX6" fmla="*/ 12788 w 304510"/>
              <a:gd name="connsiteY6" fmla="*/ 377475 h 970845"/>
              <a:gd name="connsiteX7" fmla="*/ 15750 w 304510"/>
              <a:gd name="connsiteY7" fmla="*/ 707096 h 970845"/>
              <a:gd name="connsiteX8" fmla="*/ 98069 w 304510"/>
              <a:gd name="connsiteY8" fmla="*/ 863107 h 970845"/>
              <a:gd name="connsiteX9" fmla="*/ 112722 w 304510"/>
              <a:gd name="connsiteY9" fmla="*/ 960573 h 970845"/>
              <a:gd name="connsiteX0" fmla="*/ 95664 w 304510"/>
              <a:gd name="connsiteY0" fmla="*/ 990328 h 994917"/>
              <a:gd name="connsiteX1" fmla="*/ 185028 w 304510"/>
              <a:gd name="connsiteY1" fmla="*/ 957672 h 994917"/>
              <a:gd name="connsiteX2" fmla="*/ 169819 w 304510"/>
              <a:gd name="connsiteY2" fmla="*/ 869530 h 994917"/>
              <a:gd name="connsiteX3" fmla="*/ 297923 w 304510"/>
              <a:gd name="connsiteY3" fmla="*/ 688117 h 994917"/>
              <a:gd name="connsiteX4" fmla="*/ 271987 w 304510"/>
              <a:gd name="connsiteY4" fmla="*/ 351885 h 994917"/>
              <a:gd name="connsiteX5" fmla="*/ 151793 w 304510"/>
              <a:gd name="connsiteY5" fmla="*/ 55 h 994917"/>
              <a:gd name="connsiteX6" fmla="*/ 12788 w 304510"/>
              <a:gd name="connsiteY6" fmla="*/ 377475 h 994917"/>
              <a:gd name="connsiteX7" fmla="*/ 15750 w 304510"/>
              <a:gd name="connsiteY7" fmla="*/ 707096 h 994917"/>
              <a:gd name="connsiteX8" fmla="*/ 98069 w 304510"/>
              <a:gd name="connsiteY8" fmla="*/ 863107 h 994917"/>
              <a:gd name="connsiteX9" fmla="*/ 95664 w 304510"/>
              <a:gd name="connsiteY9" fmla="*/ 990328 h 994917"/>
              <a:gd name="connsiteX0" fmla="*/ 95664 w 304510"/>
              <a:gd name="connsiteY0" fmla="*/ 990328 h 1003417"/>
              <a:gd name="connsiteX1" fmla="*/ 180572 w 304510"/>
              <a:gd name="connsiteY1" fmla="*/ 985664 h 1003417"/>
              <a:gd name="connsiteX2" fmla="*/ 169819 w 304510"/>
              <a:gd name="connsiteY2" fmla="*/ 869530 h 1003417"/>
              <a:gd name="connsiteX3" fmla="*/ 297923 w 304510"/>
              <a:gd name="connsiteY3" fmla="*/ 688117 h 1003417"/>
              <a:gd name="connsiteX4" fmla="*/ 271987 w 304510"/>
              <a:gd name="connsiteY4" fmla="*/ 351885 h 1003417"/>
              <a:gd name="connsiteX5" fmla="*/ 151793 w 304510"/>
              <a:gd name="connsiteY5" fmla="*/ 55 h 1003417"/>
              <a:gd name="connsiteX6" fmla="*/ 12788 w 304510"/>
              <a:gd name="connsiteY6" fmla="*/ 377475 h 1003417"/>
              <a:gd name="connsiteX7" fmla="*/ 15750 w 304510"/>
              <a:gd name="connsiteY7" fmla="*/ 707096 h 1003417"/>
              <a:gd name="connsiteX8" fmla="*/ 98069 w 304510"/>
              <a:gd name="connsiteY8" fmla="*/ 863107 h 1003417"/>
              <a:gd name="connsiteX9" fmla="*/ 95664 w 304510"/>
              <a:gd name="connsiteY9" fmla="*/ 990328 h 1003417"/>
              <a:gd name="connsiteX0" fmla="*/ 95664 w 294231"/>
              <a:gd name="connsiteY0" fmla="*/ 990328 h 1003417"/>
              <a:gd name="connsiteX1" fmla="*/ 180572 w 294231"/>
              <a:gd name="connsiteY1" fmla="*/ 985664 h 1003417"/>
              <a:gd name="connsiteX2" fmla="*/ 169819 w 294231"/>
              <a:gd name="connsiteY2" fmla="*/ 869530 h 1003417"/>
              <a:gd name="connsiteX3" fmla="*/ 285015 w 294231"/>
              <a:gd name="connsiteY3" fmla="*/ 685361 h 1003417"/>
              <a:gd name="connsiteX4" fmla="*/ 271987 w 294231"/>
              <a:gd name="connsiteY4" fmla="*/ 351885 h 1003417"/>
              <a:gd name="connsiteX5" fmla="*/ 151793 w 294231"/>
              <a:gd name="connsiteY5" fmla="*/ 55 h 1003417"/>
              <a:gd name="connsiteX6" fmla="*/ 12788 w 294231"/>
              <a:gd name="connsiteY6" fmla="*/ 377475 h 1003417"/>
              <a:gd name="connsiteX7" fmla="*/ 15750 w 294231"/>
              <a:gd name="connsiteY7" fmla="*/ 707096 h 1003417"/>
              <a:gd name="connsiteX8" fmla="*/ 98069 w 294231"/>
              <a:gd name="connsiteY8" fmla="*/ 863107 h 1003417"/>
              <a:gd name="connsiteX9" fmla="*/ 95664 w 294231"/>
              <a:gd name="connsiteY9" fmla="*/ 990328 h 1003417"/>
              <a:gd name="connsiteX0" fmla="*/ 95664 w 290430"/>
              <a:gd name="connsiteY0" fmla="*/ 990322 h 1003411"/>
              <a:gd name="connsiteX1" fmla="*/ 180572 w 290430"/>
              <a:gd name="connsiteY1" fmla="*/ 985658 h 1003411"/>
              <a:gd name="connsiteX2" fmla="*/ 169819 w 290430"/>
              <a:gd name="connsiteY2" fmla="*/ 869524 h 1003411"/>
              <a:gd name="connsiteX3" fmla="*/ 285015 w 290430"/>
              <a:gd name="connsiteY3" fmla="*/ 685355 h 1003411"/>
              <a:gd name="connsiteX4" fmla="*/ 259385 w 290430"/>
              <a:gd name="connsiteY4" fmla="*/ 353642 h 1003411"/>
              <a:gd name="connsiteX5" fmla="*/ 151793 w 290430"/>
              <a:gd name="connsiteY5" fmla="*/ 49 h 1003411"/>
              <a:gd name="connsiteX6" fmla="*/ 12788 w 290430"/>
              <a:gd name="connsiteY6" fmla="*/ 377469 h 1003411"/>
              <a:gd name="connsiteX7" fmla="*/ 15750 w 290430"/>
              <a:gd name="connsiteY7" fmla="*/ 707090 h 1003411"/>
              <a:gd name="connsiteX8" fmla="*/ 98069 w 290430"/>
              <a:gd name="connsiteY8" fmla="*/ 863101 h 1003411"/>
              <a:gd name="connsiteX9" fmla="*/ 95664 w 290430"/>
              <a:gd name="connsiteY9" fmla="*/ 990322 h 1003411"/>
              <a:gd name="connsiteX0" fmla="*/ 95214 w 290134"/>
              <a:gd name="connsiteY0" fmla="*/ 989440 h 1002529"/>
              <a:gd name="connsiteX1" fmla="*/ 180122 w 290134"/>
              <a:gd name="connsiteY1" fmla="*/ 984776 h 1002529"/>
              <a:gd name="connsiteX2" fmla="*/ 169369 w 290134"/>
              <a:gd name="connsiteY2" fmla="*/ 868642 h 1002529"/>
              <a:gd name="connsiteX3" fmla="*/ 284565 w 290134"/>
              <a:gd name="connsiteY3" fmla="*/ 684473 h 1002529"/>
              <a:gd name="connsiteX4" fmla="*/ 258935 w 290134"/>
              <a:gd name="connsiteY4" fmla="*/ 352760 h 1002529"/>
              <a:gd name="connsiteX5" fmla="*/ 145043 w 290134"/>
              <a:gd name="connsiteY5" fmla="*/ 49 h 1002529"/>
              <a:gd name="connsiteX6" fmla="*/ 12338 w 290134"/>
              <a:gd name="connsiteY6" fmla="*/ 376587 h 1002529"/>
              <a:gd name="connsiteX7" fmla="*/ 15300 w 290134"/>
              <a:gd name="connsiteY7" fmla="*/ 706208 h 1002529"/>
              <a:gd name="connsiteX8" fmla="*/ 97619 w 290134"/>
              <a:gd name="connsiteY8" fmla="*/ 862219 h 1002529"/>
              <a:gd name="connsiteX9" fmla="*/ 95214 w 290134"/>
              <a:gd name="connsiteY9" fmla="*/ 989440 h 1002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134" h="1002529">
                <a:moveTo>
                  <a:pt x="95214" y="989440"/>
                </a:moveTo>
                <a:cubicBezTo>
                  <a:pt x="108965" y="1009866"/>
                  <a:pt x="167763" y="1004909"/>
                  <a:pt x="180122" y="984776"/>
                </a:cubicBezTo>
                <a:cubicBezTo>
                  <a:pt x="192481" y="964643"/>
                  <a:pt x="151962" y="918692"/>
                  <a:pt x="169369" y="868642"/>
                </a:cubicBezTo>
                <a:cubicBezTo>
                  <a:pt x="186776" y="818592"/>
                  <a:pt x="269637" y="770453"/>
                  <a:pt x="284565" y="684473"/>
                </a:cubicBezTo>
                <a:cubicBezTo>
                  <a:pt x="299493" y="598493"/>
                  <a:pt x="282189" y="466831"/>
                  <a:pt x="258935" y="352760"/>
                </a:cubicBezTo>
                <a:cubicBezTo>
                  <a:pt x="235681" y="238689"/>
                  <a:pt x="186143" y="-3922"/>
                  <a:pt x="145043" y="49"/>
                </a:cubicBezTo>
                <a:cubicBezTo>
                  <a:pt x="103944" y="4020"/>
                  <a:pt x="33962" y="258894"/>
                  <a:pt x="12338" y="376587"/>
                </a:cubicBezTo>
                <a:cubicBezTo>
                  <a:pt x="-9286" y="494280"/>
                  <a:pt x="1304" y="620677"/>
                  <a:pt x="15300" y="706208"/>
                </a:cubicBezTo>
                <a:cubicBezTo>
                  <a:pt x="29296" y="791739"/>
                  <a:pt x="84300" y="815014"/>
                  <a:pt x="97619" y="862219"/>
                </a:cubicBezTo>
                <a:cubicBezTo>
                  <a:pt x="110938" y="909424"/>
                  <a:pt x="81464" y="969014"/>
                  <a:pt x="95214" y="989440"/>
                </a:cubicBezTo>
                <a:close/>
              </a:path>
            </a:pathLst>
          </a:custGeom>
          <a:solidFill>
            <a:schemeClr val="tx2">
              <a:lumMod val="75000"/>
            </a:schemeClr>
          </a:solidFill>
          <a:ln w="9525" cap="flat" cmpd="sng" algn="ctr">
            <a:noFill/>
            <a:prstDash val="dash"/>
            <a:round/>
            <a:headEnd type="none" w="med" len="med"/>
            <a:tailEnd type="none" w="med" len="med"/>
          </a:ln>
          <a:effectLst>
            <a:glow rad="596900">
              <a:schemeClr val="accent1">
                <a:lumMod val="75000"/>
                <a:alpha val="71000"/>
              </a:schemeClr>
            </a:glow>
            <a:softEdge rad="50800"/>
          </a:effectLst>
          <a:scene3d>
            <a:camera prst="orthographicFront"/>
            <a:lightRig rig="threePt" dir="t">
              <a:rot lat="0" lon="0" rev="5400000"/>
            </a:lightRig>
          </a:scene3d>
          <a:sp3d>
            <a:bevelT w="152400" h="50800" prst="softRound"/>
          </a:sp3d>
        </p:spPr>
        <p:txBody>
          <a:bodyPr vert="horz" wrap="square" lIns="91440" tIns="45720" rIns="91440" bIns="45720" numCol="1" rtlCol="0" anchor="t" anchorCtr="0" compatLnSpc="1">
            <a:prstTxWarp prst="textNoShape">
              <a:avLst/>
            </a:prstTxWarp>
          </a:bodyPr>
          <a:lstStyle/>
          <a:p>
            <a:pPr eaLnBrk="0" hangingPunct="0"/>
            <a:endParaRPr lang="en-US" sz="2800">
              <a:latin typeface="Arial" charset="0"/>
              <a:ea typeface="ヒラギノ角ゴ Pro W3" pitchFamily="48" charset="-128"/>
              <a:cs typeface="Arial" charset="0"/>
            </a:endParaRPr>
          </a:p>
        </p:txBody>
      </p:sp>
      <p:sp>
        <p:nvSpPr>
          <p:cNvPr id="38" name="Freeform 37"/>
          <p:cNvSpPr/>
          <p:nvPr/>
        </p:nvSpPr>
        <p:spPr bwMode="auto">
          <a:xfrm rot="485026">
            <a:off x="697433" y="3785988"/>
            <a:ext cx="1927654" cy="1862788"/>
          </a:xfrm>
          <a:custGeom>
            <a:avLst/>
            <a:gdLst>
              <a:gd name="connsiteX0" fmla="*/ 118937 w 1223178"/>
              <a:gd name="connsiteY0" fmla="*/ 4214 h 1843402"/>
              <a:gd name="connsiteX1" fmla="*/ 6970 w 1223178"/>
              <a:gd name="connsiteY1" fmla="*/ 685349 h 1843402"/>
              <a:gd name="connsiteX2" fmla="*/ 72284 w 1223178"/>
              <a:gd name="connsiteY2" fmla="*/ 1375814 h 1843402"/>
              <a:gd name="connsiteX3" fmla="*/ 557476 w 1223178"/>
              <a:gd name="connsiteY3" fmla="*/ 1814353 h 1843402"/>
              <a:gd name="connsiteX4" fmla="*/ 818733 w 1223178"/>
              <a:gd name="connsiteY4" fmla="*/ 1749038 h 1843402"/>
              <a:gd name="connsiteX5" fmla="*/ 1154635 w 1223178"/>
              <a:gd name="connsiteY5" fmla="*/ 1319830 h 1843402"/>
              <a:gd name="connsiteX6" fmla="*/ 1219950 w 1223178"/>
              <a:gd name="connsiteY6" fmla="*/ 787985 h 1843402"/>
              <a:gd name="connsiteX7" fmla="*/ 1098652 w 1223178"/>
              <a:gd name="connsiteY7" fmla="*/ 4214 h 1843402"/>
              <a:gd name="connsiteX8" fmla="*/ 1117313 w 1223178"/>
              <a:gd name="connsiteY8" fmla="*/ 498736 h 1843402"/>
              <a:gd name="connsiteX9" fmla="*/ 1117313 w 1223178"/>
              <a:gd name="connsiteY9" fmla="*/ 993259 h 1843402"/>
              <a:gd name="connsiteX10" fmla="*/ 958692 w 1223178"/>
              <a:gd name="connsiteY10" fmla="*/ 1431798 h 1843402"/>
              <a:gd name="connsiteX11" fmla="*/ 762750 w 1223178"/>
              <a:gd name="connsiteY11" fmla="*/ 1665063 h 1843402"/>
              <a:gd name="connsiteX12" fmla="*/ 641452 w 1223178"/>
              <a:gd name="connsiteY12" fmla="*/ 1693055 h 1843402"/>
              <a:gd name="connsiteX13" fmla="*/ 632121 w 1223178"/>
              <a:gd name="connsiteY13" fmla="*/ 1525104 h 1843402"/>
              <a:gd name="connsiteX14" fmla="*/ 734758 w 1223178"/>
              <a:gd name="connsiteY14" fmla="*/ 1291838 h 1843402"/>
              <a:gd name="connsiteX15" fmla="*/ 706766 w 1223178"/>
              <a:gd name="connsiteY15" fmla="*/ 1077234 h 1843402"/>
              <a:gd name="connsiteX16" fmla="*/ 594799 w 1223178"/>
              <a:gd name="connsiteY16" fmla="*/ 666687 h 1843402"/>
              <a:gd name="connsiteX17" fmla="*/ 445509 w 1223178"/>
              <a:gd name="connsiteY17" fmla="*/ 1039912 h 1843402"/>
              <a:gd name="connsiteX18" fmla="*/ 436178 w 1223178"/>
              <a:gd name="connsiteY18" fmla="*/ 1375814 h 1843402"/>
              <a:gd name="connsiteX19" fmla="*/ 529484 w 1223178"/>
              <a:gd name="connsiteY19" fmla="*/ 1553096 h 1843402"/>
              <a:gd name="connsiteX20" fmla="*/ 548145 w 1223178"/>
              <a:gd name="connsiteY20" fmla="*/ 1683724 h 1843402"/>
              <a:gd name="connsiteX21" fmla="*/ 249566 w 1223178"/>
              <a:gd name="connsiteY21" fmla="*/ 1487781 h 1843402"/>
              <a:gd name="connsiteX22" fmla="*/ 100276 w 1223178"/>
              <a:gd name="connsiteY22" fmla="*/ 1049242 h 1843402"/>
              <a:gd name="connsiteX23" fmla="*/ 146929 w 1223178"/>
              <a:gd name="connsiteY23" fmla="*/ 508067 h 1843402"/>
              <a:gd name="connsiteX24" fmla="*/ 174921 w 1223178"/>
              <a:gd name="connsiteY24" fmla="*/ 13545 h 1843402"/>
              <a:gd name="connsiteX25" fmla="*/ 174921 w 1223178"/>
              <a:gd name="connsiteY25" fmla="*/ 13545 h 1843402"/>
              <a:gd name="connsiteX0" fmla="*/ 118937 w 1223178"/>
              <a:gd name="connsiteY0" fmla="*/ 38655 h 1877843"/>
              <a:gd name="connsiteX1" fmla="*/ 6970 w 1223178"/>
              <a:gd name="connsiteY1" fmla="*/ 719790 h 1877843"/>
              <a:gd name="connsiteX2" fmla="*/ 72284 w 1223178"/>
              <a:gd name="connsiteY2" fmla="*/ 1410255 h 1877843"/>
              <a:gd name="connsiteX3" fmla="*/ 557476 w 1223178"/>
              <a:gd name="connsiteY3" fmla="*/ 1848794 h 1877843"/>
              <a:gd name="connsiteX4" fmla="*/ 818733 w 1223178"/>
              <a:gd name="connsiteY4" fmla="*/ 1783479 h 1877843"/>
              <a:gd name="connsiteX5" fmla="*/ 1154635 w 1223178"/>
              <a:gd name="connsiteY5" fmla="*/ 1354271 h 1877843"/>
              <a:gd name="connsiteX6" fmla="*/ 1219950 w 1223178"/>
              <a:gd name="connsiteY6" fmla="*/ 822426 h 1877843"/>
              <a:gd name="connsiteX7" fmla="*/ 1098652 w 1223178"/>
              <a:gd name="connsiteY7" fmla="*/ 38655 h 1877843"/>
              <a:gd name="connsiteX8" fmla="*/ 1117313 w 1223178"/>
              <a:gd name="connsiteY8" fmla="*/ 533177 h 1877843"/>
              <a:gd name="connsiteX9" fmla="*/ 1117313 w 1223178"/>
              <a:gd name="connsiteY9" fmla="*/ 1027700 h 1877843"/>
              <a:gd name="connsiteX10" fmla="*/ 958692 w 1223178"/>
              <a:gd name="connsiteY10" fmla="*/ 1466239 h 1877843"/>
              <a:gd name="connsiteX11" fmla="*/ 762750 w 1223178"/>
              <a:gd name="connsiteY11" fmla="*/ 1699504 h 1877843"/>
              <a:gd name="connsiteX12" fmla="*/ 641452 w 1223178"/>
              <a:gd name="connsiteY12" fmla="*/ 1727496 h 1877843"/>
              <a:gd name="connsiteX13" fmla="*/ 632121 w 1223178"/>
              <a:gd name="connsiteY13" fmla="*/ 1559545 h 1877843"/>
              <a:gd name="connsiteX14" fmla="*/ 734758 w 1223178"/>
              <a:gd name="connsiteY14" fmla="*/ 1326279 h 1877843"/>
              <a:gd name="connsiteX15" fmla="*/ 706766 w 1223178"/>
              <a:gd name="connsiteY15" fmla="*/ 1111675 h 1877843"/>
              <a:gd name="connsiteX16" fmla="*/ 594799 w 1223178"/>
              <a:gd name="connsiteY16" fmla="*/ 701128 h 1877843"/>
              <a:gd name="connsiteX17" fmla="*/ 445509 w 1223178"/>
              <a:gd name="connsiteY17" fmla="*/ 1074353 h 1877843"/>
              <a:gd name="connsiteX18" fmla="*/ 436178 w 1223178"/>
              <a:gd name="connsiteY18" fmla="*/ 1410255 h 1877843"/>
              <a:gd name="connsiteX19" fmla="*/ 529484 w 1223178"/>
              <a:gd name="connsiteY19" fmla="*/ 1587537 h 1877843"/>
              <a:gd name="connsiteX20" fmla="*/ 548145 w 1223178"/>
              <a:gd name="connsiteY20" fmla="*/ 1718165 h 1877843"/>
              <a:gd name="connsiteX21" fmla="*/ 249566 w 1223178"/>
              <a:gd name="connsiteY21" fmla="*/ 1522222 h 1877843"/>
              <a:gd name="connsiteX22" fmla="*/ 100276 w 1223178"/>
              <a:gd name="connsiteY22" fmla="*/ 1083683 h 1877843"/>
              <a:gd name="connsiteX23" fmla="*/ 146929 w 1223178"/>
              <a:gd name="connsiteY23" fmla="*/ 542508 h 1877843"/>
              <a:gd name="connsiteX24" fmla="*/ 174921 w 1223178"/>
              <a:gd name="connsiteY24" fmla="*/ 47986 h 1877843"/>
              <a:gd name="connsiteX25" fmla="*/ 118937 w 1223178"/>
              <a:gd name="connsiteY25" fmla="*/ 10663 h 1877843"/>
              <a:gd name="connsiteX0" fmla="*/ 118937 w 1223178"/>
              <a:gd name="connsiteY0" fmla="*/ 38655 h 1877843"/>
              <a:gd name="connsiteX1" fmla="*/ 6970 w 1223178"/>
              <a:gd name="connsiteY1" fmla="*/ 719790 h 1877843"/>
              <a:gd name="connsiteX2" fmla="*/ 72284 w 1223178"/>
              <a:gd name="connsiteY2" fmla="*/ 1410255 h 1877843"/>
              <a:gd name="connsiteX3" fmla="*/ 557476 w 1223178"/>
              <a:gd name="connsiteY3" fmla="*/ 1848794 h 1877843"/>
              <a:gd name="connsiteX4" fmla="*/ 818733 w 1223178"/>
              <a:gd name="connsiteY4" fmla="*/ 1783479 h 1877843"/>
              <a:gd name="connsiteX5" fmla="*/ 1154635 w 1223178"/>
              <a:gd name="connsiteY5" fmla="*/ 1354271 h 1877843"/>
              <a:gd name="connsiteX6" fmla="*/ 1219950 w 1223178"/>
              <a:gd name="connsiteY6" fmla="*/ 822426 h 1877843"/>
              <a:gd name="connsiteX7" fmla="*/ 1098652 w 1223178"/>
              <a:gd name="connsiteY7" fmla="*/ 38655 h 1877843"/>
              <a:gd name="connsiteX8" fmla="*/ 1117313 w 1223178"/>
              <a:gd name="connsiteY8" fmla="*/ 533177 h 1877843"/>
              <a:gd name="connsiteX9" fmla="*/ 1117313 w 1223178"/>
              <a:gd name="connsiteY9" fmla="*/ 1027700 h 1877843"/>
              <a:gd name="connsiteX10" fmla="*/ 958692 w 1223178"/>
              <a:gd name="connsiteY10" fmla="*/ 1466239 h 1877843"/>
              <a:gd name="connsiteX11" fmla="*/ 762750 w 1223178"/>
              <a:gd name="connsiteY11" fmla="*/ 1699504 h 1877843"/>
              <a:gd name="connsiteX12" fmla="*/ 641452 w 1223178"/>
              <a:gd name="connsiteY12" fmla="*/ 1727496 h 1877843"/>
              <a:gd name="connsiteX13" fmla="*/ 632121 w 1223178"/>
              <a:gd name="connsiteY13" fmla="*/ 1559545 h 1877843"/>
              <a:gd name="connsiteX14" fmla="*/ 734758 w 1223178"/>
              <a:gd name="connsiteY14" fmla="*/ 1326279 h 1877843"/>
              <a:gd name="connsiteX15" fmla="*/ 706766 w 1223178"/>
              <a:gd name="connsiteY15" fmla="*/ 1111675 h 1877843"/>
              <a:gd name="connsiteX16" fmla="*/ 594799 w 1223178"/>
              <a:gd name="connsiteY16" fmla="*/ 701128 h 1877843"/>
              <a:gd name="connsiteX17" fmla="*/ 445509 w 1223178"/>
              <a:gd name="connsiteY17" fmla="*/ 1074353 h 1877843"/>
              <a:gd name="connsiteX18" fmla="*/ 436178 w 1223178"/>
              <a:gd name="connsiteY18" fmla="*/ 1410255 h 1877843"/>
              <a:gd name="connsiteX19" fmla="*/ 529484 w 1223178"/>
              <a:gd name="connsiteY19" fmla="*/ 1587537 h 1877843"/>
              <a:gd name="connsiteX20" fmla="*/ 548145 w 1223178"/>
              <a:gd name="connsiteY20" fmla="*/ 1718165 h 1877843"/>
              <a:gd name="connsiteX21" fmla="*/ 249566 w 1223178"/>
              <a:gd name="connsiteY21" fmla="*/ 1522222 h 1877843"/>
              <a:gd name="connsiteX22" fmla="*/ 100276 w 1223178"/>
              <a:gd name="connsiteY22" fmla="*/ 1083683 h 1877843"/>
              <a:gd name="connsiteX23" fmla="*/ 146929 w 1223178"/>
              <a:gd name="connsiteY23" fmla="*/ 542508 h 1877843"/>
              <a:gd name="connsiteX24" fmla="*/ 174921 w 1223178"/>
              <a:gd name="connsiteY24" fmla="*/ 47986 h 1877843"/>
              <a:gd name="connsiteX25" fmla="*/ 118937 w 1223178"/>
              <a:gd name="connsiteY25" fmla="*/ 10663 h 1877843"/>
              <a:gd name="connsiteX26" fmla="*/ 118937 w 1223178"/>
              <a:gd name="connsiteY26" fmla="*/ 38655 h 1877843"/>
              <a:gd name="connsiteX0" fmla="*/ 118937 w 1223178"/>
              <a:gd name="connsiteY0" fmla="*/ 10663 h 1877843"/>
              <a:gd name="connsiteX1" fmla="*/ 6970 w 1223178"/>
              <a:gd name="connsiteY1" fmla="*/ 719790 h 1877843"/>
              <a:gd name="connsiteX2" fmla="*/ 72284 w 1223178"/>
              <a:gd name="connsiteY2" fmla="*/ 1410255 h 1877843"/>
              <a:gd name="connsiteX3" fmla="*/ 557476 w 1223178"/>
              <a:gd name="connsiteY3" fmla="*/ 1848794 h 1877843"/>
              <a:gd name="connsiteX4" fmla="*/ 818733 w 1223178"/>
              <a:gd name="connsiteY4" fmla="*/ 1783479 h 1877843"/>
              <a:gd name="connsiteX5" fmla="*/ 1154635 w 1223178"/>
              <a:gd name="connsiteY5" fmla="*/ 1354271 h 1877843"/>
              <a:gd name="connsiteX6" fmla="*/ 1219950 w 1223178"/>
              <a:gd name="connsiteY6" fmla="*/ 822426 h 1877843"/>
              <a:gd name="connsiteX7" fmla="*/ 1098652 w 1223178"/>
              <a:gd name="connsiteY7" fmla="*/ 38655 h 1877843"/>
              <a:gd name="connsiteX8" fmla="*/ 1117313 w 1223178"/>
              <a:gd name="connsiteY8" fmla="*/ 533177 h 1877843"/>
              <a:gd name="connsiteX9" fmla="*/ 1117313 w 1223178"/>
              <a:gd name="connsiteY9" fmla="*/ 1027700 h 1877843"/>
              <a:gd name="connsiteX10" fmla="*/ 958692 w 1223178"/>
              <a:gd name="connsiteY10" fmla="*/ 1466239 h 1877843"/>
              <a:gd name="connsiteX11" fmla="*/ 762750 w 1223178"/>
              <a:gd name="connsiteY11" fmla="*/ 1699504 h 1877843"/>
              <a:gd name="connsiteX12" fmla="*/ 641452 w 1223178"/>
              <a:gd name="connsiteY12" fmla="*/ 1727496 h 1877843"/>
              <a:gd name="connsiteX13" fmla="*/ 632121 w 1223178"/>
              <a:gd name="connsiteY13" fmla="*/ 1559545 h 1877843"/>
              <a:gd name="connsiteX14" fmla="*/ 734758 w 1223178"/>
              <a:gd name="connsiteY14" fmla="*/ 1326279 h 1877843"/>
              <a:gd name="connsiteX15" fmla="*/ 706766 w 1223178"/>
              <a:gd name="connsiteY15" fmla="*/ 1111675 h 1877843"/>
              <a:gd name="connsiteX16" fmla="*/ 594799 w 1223178"/>
              <a:gd name="connsiteY16" fmla="*/ 701128 h 1877843"/>
              <a:gd name="connsiteX17" fmla="*/ 445509 w 1223178"/>
              <a:gd name="connsiteY17" fmla="*/ 1074353 h 1877843"/>
              <a:gd name="connsiteX18" fmla="*/ 436178 w 1223178"/>
              <a:gd name="connsiteY18" fmla="*/ 1410255 h 1877843"/>
              <a:gd name="connsiteX19" fmla="*/ 529484 w 1223178"/>
              <a:gd name="connsiteY19" fmla="*/ 1587537 h 1877843"/>
              <a:gd name="connsiteX20" fmla="*/ 548145 w 1223178"/>
              <a:gd name="connsiteY20" fmla="*/ 1718165 h 1877843"/>
              <a:gd name="connsiteX21" fmla="*/ 249566 w 1223178"/>
              <a:gd name="connsiteY21" fmla="*/ 1522222 h 1877843"/>
              <a:gd name="connsiteX22" fmla="*/ 100276 w 1223178"/>
              <a:gd name="connsiteY22" fmla="*/ 1083683 h 1877843"/>
              <a:gd name="connsiteX23" fmla="*/ 146929 w 1223178"/>
              <a:gd name="connsiteY23" fmla="*/ 542508 h 1877843"/>
              <a:gd name="connsiteX24" fmla="*/ 174921 w 1223178"/>
              <a:gd name="connsiteY24" fmla="*/ 47986 h 1877843"/>
              <a:gd name="connsiteX25" fmla="*/ 118937 w 1223178"/>
              <a:gd name="connsiteY25" fmla="*/ 10663 h 1877843"/>
              <a:gd name="connsiteX0" fmla="*/ 118937 w 1223178"/>
              <a:gd name="connsiteY0" fmla="*/ 13287 h 1880467"/>
              <a:gd name="connsiteX1" fmla="*/ 6970 w 1223178"/>
              <a:gd name="connsiteY1" fmla="*/ 722414 h 1880467"/>
              <a:gd name="connsiteX2" fmla="*/ 72284 w 1223178"/>
              <a:gd name="connsiteY2" fmla="*/ 1412879 h 1880467"/>
              <a:gd name="connsiteX3" fmla="*/ 557476 w 1223178"/>
              <a:gd name="connsiteY3" fmla="*/ 1851418 h 1880467"/>
              <a:gd name="connsiteX4" fmla="*/ 818733 w 1223178"/>
              <a:gd name="connsiteY4" fmla="*/ 1786103 h 1880467"/>
              <a:gd name="connsiteX5" fmla="*/ 1154635 w 1223178"/>
              <a:gd name="connsiteY5" fmla="*/ 1356895 h 1880467"/>
              <a:gd name="connsiteX6" fmla="*/ 1219950 w 1223178"/>
              <a:gd name="connsiteY6" fmla="*/ 825050 h 1880467"/>
              <a:gd name="connsiteX7" fmla="*/ 1098652 w 1223178"/>
              <a:gd name="connsiteY7" fmla="*/ 41279 h 1880467"/>
              <a:gd name="connsiteX8" fmla="*/ 1117313 w 1223178"/>
              <a:gd name="connsiteY8" fmla="*/ 535801 h 1880467"/>
              <a:gd name="connsiteX9" fmla="*/ 1117313 w 1223178"/>
              <a:gd name="connsiteY9" fmla="*/ 1030324 h 1880467"/>
              <a:gd name="connsiteX10" fmla="*/ 958692 w 1223178"/>
              <a:gd name="connsiteY10" fmla="*/ 1468863 h 1880467"/>
              <a:gd name="connsiteX11" fmla="*/ 762750 w 1223178"/>
              <a:gd name="connsiteY11" fmla="*/ 1702128 h 1880467"/>
              <a:gd name="connsiteX12" fmla="*/ 641452 w 1223178"/>
              <a:gd name="connsiteY12" fmla="*/ 1730120 h 1880467"/>
              <a:gd name="connsiteX13" fmla="*/ 632121 w 1223178"/>
              <a:gd name="connsiteY13" fmla="*/ 1562169 h 1880467"/>
              <a:gd name="connsiteX14" fmla="*/ 734758 w 1223178"/>
              <a:gd name="connsiteY14" fmla="*/ 1328903 h 1880467"/>
              <a:gd name="connsiteX15" fmla="*/ 706766 w 1223178"/>
              <a:gd name="connsiteY15" fmla="*/ 1114299 h 1880467"/>
              <a:gd name="connsiteX16" fmla="*/ 594799 w 1223178"/>
              <a:gd name="connsiteY16" fmla="*/ 703752 h 1880467"/>
              <a:gd name="connsiteX17" fmla="*/ 445509 w 1223178"/>
              <a:gd name="connsiteY17" fmla="*/ 1076977 h 1880467"/>
              <a:gd name="connsiteX18" fmla="*/ 436178 w 1223178"/>
              <a:gd name="connsiteY18" fmla="*/ 1412879 h 1880467"/>
              <a:gd name="connsiteX19" fmla="*/ 529484 w 1223178"/>
              <a:gd name="connsiteY19" fmla="*/ 1590161 h 1880467"/>
              <a:gd name="connsiteX20" fmla="*/ 548145 w 1223178"/>
              <a:gd name="connsiteY20" fmla="*/ 1720789 h 1880467"/>
              <a:gd name="connsiteX21" fmla="*/ 249566 w 1223178"/>
              <a:gd name="connsiteY21" fmla="*/ 1524846 h 1880467"/>
              <a:gd name="connsiteX22" fmla="*/ 100276 w 1223178"/>
              <a:gd name="connsiteY22" fmla="*/ 1086307 h 1880467"/>
              <a:gd name="connsiteX23" fmla="*/ 118937 w 1223178"/>
              <a:gd name="connsiteY23" fmla="*/ 582455 h 1880467"/>
              <a:gd name="connsiteX24" fmla="*/ 174921 w 1223178"/>
              <a:gd name="connsiteY24" fmla="*/ 50610 h 1880467"/>
              <a:gd name="connsiteX25" fmla="*/ 118937 w 1223178"/>
              <a:gd name="connsiteY25" fmla="*/ 13287 h 1880467"/>
              <a:gd name="connsiteX0" fmla="*/ 118937 w 1223178"/>
              <a:gd name="connsiteY0" fmla="*/ 948 h 1868128"/>
              <a:gd name="connsiteX1" fmla="*/ 6970 w 1223178"/>
              <a:gd name="connsiteY1" fmla="*/ 710075 h 1868128"/>
              <a:gd name="connsiteX2" fmla="*/ 72284 w 1223178"/>
              <a:gd name="connsiteY2" fmla="*/ 1400540 h 1868128"/>
              <a:gd name="connsiteX3" fmla="*/ 557476 w 1223178"/>
              <a:gd name="connsiteY3" fmla="*/ 1839079 h 1868128"/>
              <a:gd name="connsiteX4" fmla="*/ 818733 w 1223178"/>
              <a:gd name="connsiteY4" fmla="*/ 1773764 h 1868128"/>
              <a:gd name="connsiteX5" fmla="*/ 1154635 w 1223178"/>
              <a:gd name="connsiteY5" fmla="*/ 1344556 h 1868128"/>
              <a:gd name="connsiteX6" fmla="*/ 1219950 w 1223178"/>
              <a:gd name="connsiteY6" fmla="*/ 812711 h 1868128"/>
              <a:gd name="connsiteX7" fmla="*/ 1098652 w 1223178"/>
              <a:gd name="connsiteY7" fmla="*/ 28940 h 1868128"/>
              <a:gd name="connsiteX8" fmla="*/ 1117313 w 1223178"/>
              <a:gd name="connsiteY8" fmla="*/ 523462 h 1868128"/>
              <a:gd name="connsiteX9" fmla="*/ 1117313 w 1223178"/>
              <a:gd name="connsiteY9" fmla="*/ 1017985 h 1868128"/>
              <a:gd name="connsiteX10" fmla="*/ 958692 w 1223178"/>
              <a:gd name="connsiteY10" fmla="*/ 1456524 h 1868128"/>
              <a:gd name="connsiteX11" fmla="*/ 762750 w 1223178"/>
              <a:gd name="connsiteY11" fmla="*/ 1689789 h 1868128"/>
              <a:gd name="connsiteX12" fmla="*/ 641452 w 1223178"/>
              <a:gd name="connsiteY12" fmla="*/ 1717781 h 1868128"/>
              <a:gd name="connsiteX13" fmla="*/ 632121 w 1223178"/>
              <a:gd name="connsiteY13" fmla="*/ 1549830 h 1868128"/>
              <a:gd name="connsiteX14" fmla="*/ 734758 w 1223178"/>
              <a:gd name="connsiteY14" fmla="*/ 1316564 h 1868128"/>
              <a:gd name="connsiteX15" fmla="*/ 706766 w 1223178"/>
              <a:gd name="connsiteY15" fmla="*/ 1101960 h 1868128"/>
              <a:gd name="connsiteX16" fmla="*/ 594799 w 1223178"/>
              <a:gd name="connsiteY16" fmla="*/ 691413 h 1868128"/>
              <a:gd name="connsiteX17" fmla="*/ 445509 w 1223178"/>
              <a:gd name="connsiteY17" fmla="*/ 1064638 h 1868128"/>
              <a:gd name="connsiteX18" fmla="*/ 436178 w 1223178"/>
              <a:gd name="connsiteY18" fmla="*/ 1400540 h 1868128"/>
              <a:gd name="connsiteX19" fmla="*/ 529484 w 1223178"/>
              <a:gd name="connsiteY19" fmla="*/ 1577822 h 1868128"/>
              <a:gd name="connsiteX20" fmla="*/ 548145 w 1223178"/>
              <a:gd name="connsiteY20" fmla="*/ 1708450 h 1868128"/>
              <a:gd name="connsiteX21" fmla="*/ 249566 w 1223178"/>
              <a:gd name="connsiteY21" fmla="*/ 1512507 h 1868128"/>
              <a:gd name="connsiteX22" fmla="*/ 100276 w 1223178"/>
              <a:gd name="connsiteY22" fmla="*/ 1073968 h 1868128"/>
              <a:gd name="connsiteX23" fmla="*/ 118937 w 1223178"/>
              <a:gd name="connsiteY23" fmla="*/ 570116 h 1868128"/>
              <a:gd name="connsiteX24" fmla="*/ 118937 w 1223178"/>
              <a:gd name="connsiteY24" fmla="*/ 948 h 1868128"/>
              <a:gd name="connsiteX0" fmla="*/ 118937 w 1223178"/>
              <a:gd name="connsiteY0" fmla="*/ 823 h 1868003"/>
              <a:gd name="connsiteX1" fmla="*/ 6970 w 1223178"/>
              <a:gd name="connsiteY1" fmla="*/ 709950 h 1868003"/>
              <a:gd name="connsiteX2" fmla="*/ 72284 w 1223178"/>
              <a:gd name="connsiteY2" fmla="*/ 1400415 h 1868003"/>
              <a:gd name="connsiteX3" fmla="*/ 557476 w 1223178"/>
              <a:gd name="connsiteY3" fmla="*/ 1838954 h 1868003"/>
              <a:gd name="connsiteX4" fmla="*/ 818733 w 1223178"/>
              <a:gd name="connsiteY4" fmla="*/ 1773639 h 1868003"/>
              <a:gd name="connsiteX5" fmla="*/ 1154635 w 1223178"/>
              <a:gd name="connsiteY5" fmla="*/ 1344431 h 1868003"/>
              <a:gd name="connsiteX6" fmla="*/ 1219950 w 1223178"/>
              <a:gd name="connsiteY6" fmla="*/ 812586 h 1868003"/>
              <a:gd name="connsiteX7" fmla="*/ 1098652 w 1223178"/>
              <a:gd name="connsiteY7" fmla="*/ 28815 h 1868003"/>
              <a:gd name="connsiteX8" fmla="*/ 1117313 w 1223178"/>
              <a:gd name="connsiteY8" fmla="*/ 523337 h 1868003"/>
              <a:gd name="connsiteX9" fmla="*/ 1117313 w 1223178"/>
              <a:gd name="connsiteY9" fmla="*/ 1017860 h 1868003"/>
              <a:gd name="connsiteX10" fmla="*/ 958692 w 1223178"/>
              <a:gd name="connsiteY10" fmla="*/ 1456399 h 1868003"/>
              <a:gd name="connsiteX11" fmla="*/ 762750 w 1223178"/>
              <a:gd name="connsiteY11" fmla="*/ 1689664 h 1868003"/>
              <a:gd name="connsiteX12" fmla="*/ 641452 w 1223178"/>
              <a:gd name="connsiteY12" fmla="*/ 1717656 h 1868003"/>
              <a:gd name="connsiteX13" fmla="*/ 632121 w 1223178"/>
              <a:gd name="connsiteY13" fmla="*/ 1549705 h 1868003"/>
              <a:gd name="connsiteX14" fmla="*/ 734758 w 1223178"/>
              <a:gd name="connsiteY14" fmla="*/ 1316439 h 1868003"/>
              <a:gd name="connsiteX15" fmla="*/ 706766 w 1223178"/>
              <a:gd name="connsiteY15" fmla="*/ 1101835 h 1868003"/>
              <a:gd name="connsiteX16" fmla="*/ 594799 w 1223178"/>
              <a:gd name="connsiteY16" fmla="*/ 691288 h 1868003"/>
              <a:gd name="connsiteX17" fmla="*/ 445509 w 1223178"/>
              <a:gd name="connsiteY17" fmla="*/ 1064513 h 1868003"/>
              <a:gd name="connsiteX18" fmla="*/ 436178 w 1223178"/>
              <a:gd name="connsiteY18" fmla="*/ 1400415 h 1868003"/>
              <a:gd name="connsiteX19" fmla="*/ 529484 w 1223178"/>
              <a:gd name="connsiteY19" fmla="*/ 1577697 h 1868003"/>
              <a:gd name="connsiteX20" fmla="*/ 548145 w 1223178"/>
              <a:gd name="connsiteY20" fmla="*/ 1708325 h 1868003"/>
              <a:gd name="connsiteX21" fmla="*/ 249566 w 1223178"/>
              <a:gd name="connsiteY21" fmla="*/ 1512382 h 1868003"/>
              <a:gd name="connsiteX22" fmla="*/ 100276 w 1223178"/>
              <a:gd name="connsiteY22" fmla="*/ 1073843 h 1868003"/>
              <a:gd name="connsiteX23" fmla="*/ 90945 w 1223178"/>
              <a:gd name="connsiteY23" fmla="*/ 635305 h 1868003"/>
              <a:gd name="connsiteX24" fmla="*/ 118937 w 1223178"/>
              <a:gd name="connsiteY24" fmla="*/ 823 h 1868003"/>
              <a:gd name="connsiteX0" fmla="*/ 207857 w 1223178"/>
              <a:gd name="connsiteY0" fmla="*/ 27324 h 1843403"/>
              <a:gd name="connsiteX1" fmla="*/ 6970 w 1223178"/>
              <a:gd name="connsiteY1" fmla="*/ 685350 h 1843403"/>
              <a:gd name="connsiteX2" fmla="*/ 72284 w 1223178"/>
              <a:gd name="connsiteY2" fmla="*/ 1375815 h 1843403"/>
              <a:gd name="connsiteX3" fmla="*/ 557476 w 1223178"/>
              <a:gd name="connsiteY3" fmla="*/ 1814354 h 1843403"/>
              <a:gd name="connsiteX4" fmla="*/ 818733 w 1223178"/>
              <a:gd name="connsiteY4" fmla="*/ 1749039 h 1843403"/>
              <a:gd name="connsiteX5" fmla="*/ 1154635 w 1223178"/>
              <a:gd name="connsiteY5" fmla="*/ 1319831 h 1843403"/>
              <a:gd name="connsiteX6" fmla="*/ 1219950 w 1223178"/>
              <a:gd name="connsiteY6" fmla="*/ 787986 h 1843403"/>
              <a:gd name="connsiteX7" fmla="*/ 1098652 w 1223178"/>
              <a:gd name="connsiteY7" fmla="*/ 4215 h 1843403"/>
              <a:gd name="connsiteX8" fmla="*/ 1117313 w 1223178"/>
              <a:gd name="connsiteY8" fmla="*/ 498737 h 1843403"/>
              <a:gd name="connsiteX9" fmla="*/ 1117313 w 1223178"/>
              <a:gd name="connsiteY9" fmla="*/ 993260 h 1843403"/>
              <a:gd name="connsiteX10" fmla="*/ 958692 w 1223178"/>
              <a:gd name="connsiteY10" fmla="*/ 1431799 h 1843403"/>
              <a:gd name="connsiteX11" fmla="*/ 762750 w 1223178"/>
              <a:gd name="connsiteY11" fmla="*/ 1665064 h 1843403"/>
              <a:gd name="connsiteX12" fmla="*/ 641452 w 1223178"/>
              <a:gd name="connsiteY12" fmla="*/ 1693056 h 1843403"/>
              <a:gd name="connsiteX13" fmla="*/ 632121 w 1223178"/>
              <a:gd name="connsiteY13" fmla="*/ 1525105 h 1843403"/>
              <a:gd name="connsiteX14" fmla="*/ 734758 w 1223178"/>
              <a:gd name="connsiteY14" fmla="*/ 1291839 h 1843403"/>
              <a:gd name="connsiteX15" fmla="*/ 706766 w 1223178"/>
              <a:gd name="connsiteY15" fmla="*/ 1077235 h 1843403"/>
              <a:gd name="connsiteX16" fmla="*/ 594799 w 1223178"/>
              <a:gd name="connsiteY16" fmla="*/ 666688 h 1843403"/>
              <a:gd name="connsiteX17" fmla="*/ 445509 w 1223178"/>
              <a:gd name="connsiteY17" fmla="*/ 1039913 h 1843403"/>
              <a:gd name="connsiteX18" fmla="*/ 436178 w 1223178"/>
              <a:gd name="connsiteY18" fmla="*/ 1375815 h 1843403"/>
              <a:gd name="connsiteX19" fmla="*/ 529484 w 1223178"/>
              <a:gd name="connsiteY19" fmla="*/ 1553097 h 1843403"/>
              <a:gd name="connsiteX20" fmla="*/ 548145 w 1223178"/>
              <a:gd name="connsiteY20" fmla="*/ 1683725 h 1843403"/>
              <a:gd name="connsiteX21" fmla="*/ 249566 w 1223178"/>
              <a:gd name="connsiteY21" fmla="*/ 1487782 h 1843403"/>
              <a:gd name="connsiteX22" fmla="*/ 100276 w 1223178"/>
              <a:gd name="connsiteY22" fmla="*/ 1049243 h 1843403"/>
              <a:gd name="connsiteX23" fmla="*/ 90945 w 1223178"/>
              <a:gd name="connsiteY23" fmla="*/ 610705 h 1843403"/>
              <a:gd name="connsiteX24" fmla="*/ 207857 w 1223178"/>
              <a:gd name="connsiteY24" fmla="*/ 27324 h 1843403"/>
              <a:gd name="connsiteX0" fmla="*/ 207857 w 1223178"/>
              <a:gd name="connsiteY0" fmla="*/ 27324 h 1843403"/>
              <a:gd name="connsiteX1" fmla="*/ 6970 w 1223178"/>
              <a:gd name="connsiteY1" fmla="*/ 685350 h 1843403"/>
              <a:gd name="connsiteX2" fmla="*/ 72284 w 1223178"/>
              <a:gd name="connsiteY2" fmla="*/ 1375815 h 1843403"/>
              <a:gd name="connsiteX3" fmla="*/ 557476 w 1223178"/>
              <a:gd name="connsiteY3" fmla="*/ 1814354 h 1843403"/>
              <a:gd name="connsiteX4" fmla="*/ 818733 w 1223178"/>
              <a:gd name="connsiteY4" fmla="*/ 1749039 h 1843403"/>
              <a:gd name="connsiteX5" fmla="*/ 1154635 w 1223178"/>
              <a:gd name="connsiteY5" fmla="*/ 1319831 h 1843403"/>
              <a:gd name="connsiteX6" fmla="*/ 1219950 w 1223178"/>
              <a:gd name="connsiteY6" fmla="*/ 787986 h 1843403"/>
              <a:gd name="connsiteX7" fmla="*/ 1098652 w 1223178"/>
              <a:gd name="connsiteY7" fmla="*/ 4215 h 1843403"/>
              <a:gd name="connsiteX8" fmla="*/ 1117313 w 1223178"/>
              <a:gd name="connsiteY8" fmla="*/ 498737 h 1843403"/>
              <a:gd name="connsiteX9" fmla="*/ 1117313 w 1223178"/>
              <a:gd name="connsiteY9" fmla="*/ 993260 h 1843403"/>
              <a:gd name="connsiteX10" fmla="*/ 958692 w 1223178"/>
              <a:gd name="connsiteY10" fmla="*/ 1431799 h 1843403"/>
              <a:gd name="connsiteX11" fmla="*/ 762750 w 1223178"/>
              <a:gd name="connsiteY11" fmla="*/ 1665064 h 1843403"/>
              <a:gd name="connsiteX12" fmla="*/ 641452 w 1223178"/>
              <a:gd name="connsiteY12" fmla="*/ 1693056 h 1843403"/>
              <a:gd name="connsiteX13" fmla="*/ 632121 w 1223178"/>
              <a:gd name="connsiteY13" fmla="*/ 1525105 h 1843403"/>
              <a:gd name="connsiteX14" fmla="*/ 734758 w 1223178"/>
              <a:gd name="connsiteY14" fmla="*/ 1291839 h 1843403"/>
              <a:gd name="connsiteX15" fmla="*/ 706766 w 1223178"/>
              <a:gd name="connsiteY15" fmla="*/ 1077235 h 1843403"/>
              <a:gd name="connsiteX16" fmla="*/ 594799 w 1223178"/>
              <a:gd name="connsiteY16" fmla="*/ 666688 h 1843403"/>
              <a:gd name="connsiteX17" fmla="*/ 445509 w 1223178"/>
              <a:gd name="connsiteY17" fmla="*/ 1039913 h 1843403"/>
              <a:gd name="connsiteX18" fmla="*/ 436178 w 1223178"/>
              <a:gd name="connsiteY18" fmla="*/ 1375815 h 1843403"/>
              <a:gd name="connsiteX19" fmla="*/ 529484 w 1223178"/>
              <a:gd name="connsiteY19" fmla="*/ 1553097 h 1843403"/>
              <a:gd name="connsiteX20" fmla="*/ 548145 w 1223178"/>
              <a:gd name="connsiteY20" fmla="*/ 1683725 h 1843403"/>
              <a:gd name="connsiteX21" fmla="*/ 249566 w 1223178"/>
              <a:gd name="connsiteY21" fmla="*/ 1487782 h 1843403"/>
              <a:gd name="connsiteX22" fmla="*/ 100276 w 1223178"/>
              <a:gd name="connsiteY22" fmla="*/ 1049243 h 1843403"/>
              <a:gd name="connsiteX23" fmla="*/ 90945 w 1223178"/>
              <a:gd name="connsiteY23" fmla="*/ 610705 h 1843403"/>
              <a:gd name="connsiteX24" fmla="*/ 207857 w 1223178"/>
              <a:gd name="connsiteY24" fmla="*/ 27324 h 1843403"/>
              <a:gd name="connsiteX0" fmla="*/ 207857 w 1223178"/>
              <a:gd name="connsiteY0" fmla="*/ 27324 h 1843403"/>
              <a:gd name="connsiteX1" fmla="*/ 6970 w 1223178"/>
              <a:gd name="connsiteY1" fmla="*/ 685350 h 1843403"/>
              <a:gd name="connsiteX2" fmla="*/ 72284 w 1223178"/>
              <a:gd name="connsiteY2" fmla="*/ 1375815 h 1843403"/>
              <a:gd name="connsiteX3" fmla="*/ 557476 w 1223178"/>
              <a:gd name="connsiteY3" fmla="*/ 1814354 h 1843403"/>
              <a:gd name="connsiteX4" fmla="*/ 818733 w 1223178"/>
              <a:gd name="connsiteY4" fmla="*/ 1749039 h 1843403"/>
              <a:gd name="connsiteX5" fmla="*/ 1154635 w 1223178"/>
              <a:gd name="connsiteY5" fmla="*/ 1319831 h 1843403"/>
              <a:gd name="connsiteX6" fmla="*/ 1219950 w 1223178"/>
              <a:gd name="connsiteY6" fmla="*/ 787986 h 1843403"/>
              <a:gd name="connsiteX7" fmla="*/ 1098652 w 1223178"/>
              <a:gd name="connsiteY7" fmla="*/ 4215 h 1843403"/>
              <a:gd name="connsiteX8" fmla="*/ 1117313 w 1223178"/>
              <a:gd name="connsiteY8" fmla="*/ 498737 h 1843403"/>
              <a:gd name="connsiteX9" fmla="*/ 1117313 w 1223178"/>
              <a:gd name="connsiteY9" fmla="*/ 993260 h 1843403"/>
              <a:gd name="connsiteX10" fmla="*/ 958692 w 1223178"/>
              <a:gd name="connsiteY10" fmla="*/ 1431799 h 1843403"/>
              <a:gd name="connsiteX11" fmla="*/ 762750 w 1223178"/>
              <a:gd name="connsiteY11" fmla="*/ 1665064 h 1843403"/>
              <a:gd name="connsiteX12" fmla="*/ 641452 w 1223178"/>
              <a:gd name="connsiteY12" fmla="*/ 1693056 h 1843403"/>
              <a:gd name="connsiteX13" fmla="*/ 632121 w 1223178"/>
              <a:gd name="connsiteY13" fmla="*/ 1525105 h 1843403"/>
              <a:gd name="connsiteX14" fmla="*/ 734758 w 1223178"/>
              <a:gd name="connsiteY14" fmla="*/ 1291839 h 1843403"/>
              <a:gd name="connsiteX15" fmla="*/ 706766 w 1223178"/>
              <a:gd name="connsiteY15" fmla="*/ 1077235 h 1843403"/>
              <a:gd name="connsiteX16" fmla="*/ 594799 w 1223178"/>
              <a:gd name="connsiteY16" fmla="*/ 666688 h 1843403"/>
              <a:gd name="connsiteX17" fmla="*/ 445509 w 1223178"/>
              <a:gd name="connsiteY17" fmla="*/ 1039913 h 1843403"/>
              <a:gd name="connsiteX18" fmla="*/ 436178 w 1223178"/>
              <a:gd name="connsiteY18" fmla="*/ 1375815 h 1843403"/>
              <a:gd name="connsiteX19" fmla="*/ 529484 w 1223178"/>
              <a:gd name="connsiteY19" fmla="*/ 1553097 h 1843403"/>
              <a:gd name="connsiteX20" fmla="*/ 548145 w 1223178"/>
              <a:gd name="connsiteY20" fmla="*/ 1683725 h 1843403"/>
              <a:gd name="connsiteX21" fmla="*/ 249566 w 1223178"/>
              <a:gd name="connsiteY21" fmla="*/ 1487782 h 1843403"/>
              <a:gd name="connsiteX22" fmla="*/ 100276 w 1223178"/>
              <a:gd name="connsiteY22" fmla="*/ 1049243 h 1843403"/>
              <a:gd name="connsiteX23" fmla="*/ 90945 w 1223178"/>
              <a:gd name="connsiteY23" fmla="*/ 610705 h 1843403"/>
              <a:gd name="connsiteX24" fmla="*/ 207857 w 1223178"/>
              <a:gd name="connsiteY24" fmla="*/ 27324 h 1843403"/>
              <a:gd name="connsiteX0" fmla="*/ 207857 w 1223178"/>
              <a:gd name="connsiteY0" fmla="*/ 27324 h 1843403"/>
              <a:gd name="connsiteX1" fmla="*/ 6970 w 1223178"/>
              <a:gd name="connsiteY1" fmla="*/ 685350 h 1843403"/>
              <a:gd name="connsiteX2" fmla="*/ 72284 w 1223178"/>
              <a:gd name="connsiteY2" fmla="*/ 1375815 h 1843403"/>
              <a:gd name="connsiteX3" fmla="*/ 557476 w 1223178"/>
              <a:gd name="connsiteY3" fmla="*/ 1814354 h 1843403"/>
              <a:gd name="connsiteX4" fmla="*/ 818733 w 1223178"/>
              <a:gd name="connsiteY4" fmla="*/ 1749039 h 1843403"/>
              <a:gd name="connsiteX5" fmla="*/ 1154635 w 1223178"/>
              <a:gd name="connsiteY5" fmla="*/ 1319831 h 1843403"/>
              <a:gd name="connsiteX6" fmla="*/ 1219950 w 1223178"/>
              <a:gd name="connsiteY6" fmla="*/ 787986 h 1843403"/>
              <a:gd name="connsiteX7" fmla="*/ 1098652 w 1223178"/>
              <a:gd name="connsiteY7" fmla="*/ 4215 h 1843403"/>
              <a:gd name="connsiteX8" fmla="*/ 1117313 w 1223178"/>
              <a:gd name="connsiteY8" fmla="*/ 498737 h 1843403"/>
              <a:gd name="connsiteX9" fmla="*/ 1117313 w 1223178"/>
              <a:gd name="connsiteY9" fmla="*/ 993260 h 1843403"/>
              <a:gd name="connsiteX10" fmla="*/ 958692 w 1223178"/>
              <a:gd name="connsiteY10" fmla="*/ 1431799 h 1843403"/>
              <a:gd name="connsiteX11" fmla="*/ 762750 w 1223178"/>
              <a:gd name="connsiteY11" fmla="*/ 1665064 h 1843403"/>
              <a:gd name="connsiteX12" fmla="*/ 641452 w 1223178"/>
              <a:gd name="connsiteY12" fmla="*/ 1693056 h 1843403"/>
              <a:gd name="connsiteX13" fmla="*/ 632121 w 1223178"/>
              <a:gd name="connsiteY13" fmla="*/ 1525105 h 1843403"/>
              <a:gd name="connsiteX14" fmla="*/ 734758 w 1223178"/>
              <a:gd name="connsiteY14" fmla="*/ 1291839 h 1843403"/>
              <a:gd name="connsiteX15" fmla="*/ 706766 w 1223178"/>
              <a:gd name="connsiteY15" fmla="*/ 1077235 h 1843403"/>
              <a:gd name="connsiteX16" fmla="*/ 594799 w 1223178"/>
              <a:gd name="connsiteY16" fmla="*/ 666688 h 1843403"/>
              <a:gd name="connsiteX17" fmla="*/ 445509 w 1223178"/>
              <a:gd name="connsiteY17" fmla="*/ 1039913 h 1843403"/>
              <a:gd name="connsiteX18" fmla="*/ 436178 w 1223178"/>
              <a:gd name="connsiteY18" fmla="*/ 1375815 h 1843403"/>
              <a:gd name="connsiteX19" fmla="*/ 529484 w 1223178"/>
              <a:gd name="connsiteY19" fmla="*/ 1553097 h 1843403"/>
              <a:gd name="connsiteX20" fmla="*/ 548145 w 1223178"/>
              <a:gd name="connsiteY20" fmla="*/ 1683725 h 1843403"/>
              <a:gd name="connsiteX21" fmla="*/ 249566 w 1223178"/>
              <a:gd name="connsiteY21" fmla="*/ 1487782 h 1843403"/>
              <a:gd name="connsiteX22" fmla="*/ 100276 w 1223178"/>
              <a:gd name="connsiteY22" fmla="*/ 1049243 h 1843403"/>
              <a:gd name="connsiteX23" fmla="*/ 90945 w 1223178"/>
              <a:gd name="connsiteY23" fmla="*/ 610705 h 1843403"/>
              <a:gd name="connsiteX24" fmla="*/ 207857 w 1223178"/>
              <a:gd name="connsiteY24" fmla="*/ 27324 h 1843403"/>
              <a:gd name="connsiteX0" fmla="*/ 207857 w 1223178"/>
              <a:gd name="connsiteY0" fmla="*/ 27324 h 1843403"/>
              <a:gd name="connsiteX1" fmla="*/ 6970 w 1223178"/>
              <a:gd name="connsiteY1" fmla="*/ 685350 h 1843403"/>
              <a:gd name="connsiteX2" fmla="*/ 72284 w 1223178"/>
              <a:gd name="connsiteY2" fmla="*/ 1375815 h 1843403"/>
              <a:gd name="connsiteX3" fmla="*/ 557476 w 1223178"/>
              <a:gd name="connsiteY3" fmla="*/ 1814354 h 1843403"/>
              <a:gd name="connsiteX4" fmla="*/ 818733 w 1223178"/>
              <a:gd name="connsiteY4" fmla="*/ 1749039 h 1843403"/>
              <a:gd name="connsiteX5" fmla="*/ 1154635 w 1223178"/>
              <a:gd name="connsiteY5" fmla="*/ 1319831 h 1843403"/>
              <a:gd name="connsiteX6" fmla="*/ 1219950 w 1223178"/>
              <a:gd name="connsiteY6" fmla="*/ 787986 h 1843403"/>
              <a:gd name="connsiteX7" fmla="*/ 1098652 w 1223178"/>
              <a:gd name="connsiteY7" fmla="*/ 4215 h 1843403"/>
              <a:gd name="connsiteX8" fmla="*/ 1117313 w 1223178"/>
              <a:gd name="connsiteY8" fmla="*/ 498737 h 1843403"/>
              <a:gd name="connsiteX9" fmla="*/ 1117313 w 1223178"/>
              <a:gd name="connsiteY9" fmla="*/ 993260 h 1843403"/>
              <a:gd name="connsiteX10" fmla="*/ 958692 w 1223178"/>
              <a:gd name="connsiteY10" fmla="*/ 1431799 h 1843403"/>
              <a:gd name="connsiteX11" fmla="*/ 762750 w 1223178"/>
              <a:gd name="connsiteY11" fmla="*/ 1665064 h 1843403"/>
              <a:gd name="connsiteX12" fmla="*/ 641452 w 1223178"/>
              <a:gd name="connsiteY12" fmla="*/ 1693056 h 1843403"/>
              <a:gd name="connsiteX13" fmla="*/ 632121 w 1223178"/>
              <a:gd name="connsiteY13" fmla="*/ 1525105 h 1843403"/>
              <a:gd name="connsiteX14" fmla="*/ 734758 w 1223178"/>
              <a:gd name="connsiteY14" fmla="*/ 1291839 h 1843403"/>
              <a:gd name="connsiteX15" fmla="*/ 706766 w 1223178"/>
              <a:gd name="connsiteY15" fmla="*/ 1077235 h 1843403"/>
              <a:gd name="connsiteX16" fmla="*/ 594799 w 1223178"/>
              <a:gd name="connsiteY16" fmla="*/ 666688 h 1843403"/>
              <a:gd name="connsiteX17" fmla="*/ 445509 w 1223178"/>
              <a:gd name="connsiteY17" fmla="*/ 1039913 h 1843403"/>
              <a:gd name="connsiteX18" fmla="*/ 436178 w 1223178"/>
              <a:gd name="connsiteY18" fmla="*/ 1375815 h 1843403"/>
              <a:gd name="connsiteX19" fmla="*/ 529484 w 1223178"/>
              <a:gd name="connsiteY19" fmla="*/ 1553097 h 1843403"/>
              <a:gd name="connsiteX20" fmla="*/ 548145 w 1223178"/>
              <a:gd name="connsiteY20" fmla="*/ 1683725 h 1843403"/>
              <a:gd name="connsiteX21" fmla="*/ 249566 w 1223178"/>
              <a:gd name="connsiteY21" fmla="*/ 1487782 h 1843403"/>
              <a:gd name="connsiteX22" fmla="*/ 100276 w 1223178"/>
              <a:gd name="connsiteY22" fmla="*/ 1049243 h 1843403"/>
              <a:gd name="connsiteX23" fmla="*/ 90945 w 1223178"/>
              <a:gd name="connsiteY23" fmla="*/ 610705 h 1843403"/>
              <a:gd name="connsiteX24" fmla="*/ 207857 w 1223178"/>
              <a:gd name="connsiteY24" fmla="*/ 27324 h 1843403"/>
              <a:gd name="connsiteX0" fmla="*/ 295175 w 1223178"/>
              <a:gd name="connsiteY0" fmla="*/ 0 h 1903399"/>
              <a:gd name="connsiteX1" fmla="*/ 6970 w 1223178"/>
              <a:gd name="connsiteY1" fmla="*/ 745346 h 1903399"/>
              <a:gd name="connsiteX2" fmla="*/ 72284 w 1223178"/>
              <a:gd name="connsiteY2" fmla="*/ 1435811 h 1903399"/>
              <a:gd name="connsiteX3" fmla="*/ 557476 w 1223178"/>
              <a:gd name="connsiteY3" fmla="*/ 1874350 h 1903399"/>
              <a:gd name="connsiteX4" fmla="*/ 818733 w 1223178"/>
              <a:gd name="connsiteY4" fmla="*/ 1809035 h 1903399"/>
              <a:gd name="connsiteX5" fmla="*/ 1154635 w 1223178"/>
              <a:gd name="connsiteY5" fmla="*/ 1379827 h 1903399"/>
              <a:gd name="connsiteX6" fmla="*/ 1219950 w 1223178"/>
              <a:gd name="connsiteY6" fmla="*/ 847982 h 1903399"/>
              <a:gd name="connsiteX7" fmla="*/ 1098652 w 1223178"/>
              <a:gd name="connsiteY7" fmla="*/ 64211 h 1903399"/>
              <a:gd name="connsiteX8" fmla="*/ 1117313 w 1223178"/>
              <a:gd name="connsiteY8" fmla="*/ 558733 h 1903399"/>
              <a:gd name="connsiteX9" fmla="*/ 1117313 w 1223178"/>
              <a:gd name="connsiteY9" fmla="*/ 1053256 h 1903399"/>
              <a:gd name="connsiteX10" fmla="*/ 958692 w 1223178"/>
              <a:gd name="connsiteY10" fmla="*/ 1491795 h 1903399"/>
              <a:gd name="connsiteX11" fmla="*/ 762750 w 1223178"/>
              <a:gd name="connsiteY11" fmla="*/ 1725060 h 1903399"/>
              <a:gd name="connsiteX12" fmla="*/ 641452 w 1223178"/>
              <a:gd name="connsiteY12" fmla="*/ 1753052 h 1903399"/>
              <a:gd name="connsiteX13" fmla="*/ 632121 w 1223178"/>
              <a:gd name="connsiteY13" fmla="*/ 1585101 h 1903399"/>
              <a:gd name="connsiteX14" fmla="*/ 734758 w 1223178"/>
              <a:gd name="connsiteY14" fmla="*/ 1351835 h 1903399"/>
              <a:gd name="connsiteX15" fmla="*/ 706766 w 1223178"/>
              <a:gd name="connsiteY15" fmla="*/ 1137231 h 1903399"/>
              <a:gd name="connsiteX16" fmla="*/ 594799 w 1223178"/>
              <a:gd name="connsiteY16" fmla="*/ 726684 h 1903399"/>
              <a:gd name="connsiteX17" fmla="*/ 445509 w 1223178"/>
              <a:gd name="connsiteY17" fmla="*/ 1099909 h 1903399"/>
              <a:gd name="connsiteX18" fmla="*/ 436178 w 1223178"/>
              <a:gd name="connsiteY18" fmla="*/ 1435811 h 1903399"/>
              <a:gd name="connsiteX19" fmla="*/ 529484 w 1223178"/>
              <a:gd name="connsiteY19" fmla="*/ 1613093 h 1903399"/>
              <a:gd name="connsiteX20" fmla="*/ 548145 w 1223178"/>
              <a:gd name="connsiteY20" fmla="*/ 1743721 h 1903399"/>
              <a:gd name="connsiteX21" fmla="*/ 249566 w 1223178"/>
              <a:gd name="connsiteY21" fmla="*/ 1547778 h 1903399"/>
              <a:gd name="connsiteX22" fmla="*/ 100276 w 1223178"/>
              <a:gd name="connsiteY22" fmla="*/ 1109239 h 1903399"/>
              <a:gd name="connsiteX23" fmla="*/ 90945 w 1223178"/>
              <a:gd name="connsiteY23" fmla="*/ 670701 h 1903399"/>
              <a:gd name="connsiteX24" fmla="*/ 295175 w 1223178"/>
              <a:gd name="connsiteY24" fmla="*/ 0 h 1903399"/>
              <a:gd name="connsiteX0" fmla="*/ 292673 w 1220676"/>
              <a:gd name="connsiteY0" fmla="*/ 0 h 1903399"/>
              <a:gd name="connsiteX1" fmla="*/ 7873 w 1220676"/>
              <a:gd name="connsiteY1" fmla="*/ 657928 h 1903399"/>
              <a:gd name="connsiteX2" fmla="*/ 69782 w 1220676"/>
              <a:gd name="connsiteY2" fmla="*/ 1435811 h 1903399"/>
              <a:gd name="connsiteX3" fmla="*/ 554974 w 1220676"/>
              <a:gd name="connsiteY3" fmla="*/ 1874350 h 1903399"/>
              <a:gd name="connsiteX4" fmla="*/ 816231 w 1220676"/>
              <a:gd name="connsiteY4" fmla="*/ 1809035 h 1903399"/>
              <a:gd name="connsiteX5" fmla="*/ 1152133 w 1220676"/>
              <a:gd name="connsiteY5" fmla="*/ 1379827 h 1903399"/>
              <a:gd name="connsiteX6" fmla="*/ 1217448 w 1220676"/>
              <a:gd name="connsiteY6" fmla="*/ 847982 h 1903399"/>
              <a:gd name="connsiteX7" fmla="*/ 1096150 w 1220676"/>
              <a:gd name="connsiteY7" fmla="*/ 64211 h 1903399"/>
              <a:gd name="connsiteX8" fmla="*/ 1114811 w 1220676"/>
              <a:gd name="connsiteY8" fmla="*/ 558733 h 1903399"/>
              <a:gd name="connsiteX9" fmla="*/ 1114811 w 1220676"/>
              <a:gd name="connsiteY9" fmla="*/ 1053256 h 1903399"/>
              <a:gd name="connsiteX10" fmla="*/ 956190 w 1220676"/>
              <a:gd name="connsiteY10" fmla="*/ 1491795 h 1903399"/>
              <a:gd name="connsiteX11" fmla="*/ 760248 w 1220676"/>
              <a:gd name="connsiteY11" fmla="*/ 1725060 h 1903399"/>
              <a:gd name="connsiteX12" fmla="*/ 638950 w 1220676"/>
              <a:gd name="connsiteY12" fmla="*/ 1753052 h 1903399"/>
              <a:gd name="connsiteX13" fmla="*/ 629619 w 1220676"/>
              <a:gd name="connsiteY13" fmla="*/ 1585101 h 1903399"/>
              <a:gd name="connsiteX14" fmla="*/ 732256 w 1220676"/>
              <a:gd name="connsiteY14" fmla="*/ 1351835 h 1903399"/>
              <a:gd name="connsiteX15" fmla="*/ 704264 w 1220676"/>
              <a:gd name="connsiteY15" fmla="*/ 1137231 h 1903399"/>
              <a:gd name="connsiteX16" fmla="*/ 592297 w 1220676"/>
              <a:gd name="connsiteY16" fmla="*/ 726684 h 1903399"/>
              <a:gd name="connsiteX17" fmla="*/ 443007 w 1220676"/>
              <a:gd name="connsiteY17" fmla="*/ 1099909 h 1903399"/>
              <a:gd name="connsiteX18" fmla="*/ 433676 w 1220676"/>
              <a:gd name="connsiteY18" fmla="*/ 1435811 h 1903399"/>
              <a:gd name="connsiteX19" fmla="*/ 526982 w 1220676"/>
              <a:gd name="connsiteY19" fmla="*/ 1613093 h 1903399"/>
              <a:gd name="connsiteX20" fmla="*/ 545643 w 1220676"/>
              <a:gd name="connsiteY20" fmla="*/ 1743721 h 1903399"/>
              <a:gd name="connsiteX21" fmla="*/ 247064 w 1220676"/>
              <a:gd name="connsiteY21" fmla="*/ 1547778 h 1903399"/>
              <a:gd name="connsiteX22" fmla="*/ 97774 w 1220676"/>
              <a:gd name="connsiteY22" fmla="*/ 1109239 h 1903399"/>
              <a:gd name="connsiteX23" fmla="*/ 88443 w 1220676"/>
              <a:gd name="connsiteY23" fmla="*/ 670701 h 1903399"/>
              <a:gd name="connsiteX24" fmla="*/ 292673 w 1220676"/>
              <a:gd name="connsiteY24" fmla="*/ 0 h 1903399"/>
              <a:gd name="connsiteX0" fmla="*/ 286308 w 1214311"/>
              <a:gd name="connsiteY0" fmla="*/ 0 h 1882404"/>
              <a:gd name="connsiteX1" fmla="*/ 1508 w 1214311"/>
              <a:gd name="connsiteY1" fmla="*/ 657928 h 1882404"/>
              <a:gd name="connsiteX2" fmla="*/ 63417 w 1214311"/>
              <a:gd name="connsiteY2" fmla="*/ 1435811 h 1882404"/>
              <a:gd name="connsiteX3" fmla="*/ 284343 w 1214311"/>
              <a:gd name="connsiteY3" fmla="*/ 1719631 h 1882404"/>
              <a:gd name="connsiteX4" fmla="*/ 548609 w 1214311"/>
              <a:gd name="connsiteY4" fmla="*/ 1874350 h 1882404"/>
              <a:gd name="connsiteX5" fmla="*/ 809866 w 1214311"/>
              <a:gd name="connsiteY5" fmla="*/ 1809035 h 1882404"/>
              <a:gd name="connsiteX6" fmla="*/ 1145768 w 1214311"/>
              <a:gd name="connsiteY6" fmla="*/ 1379827 h 1882404"/>
              <a:gd name="connsiteX7" fmla="*/ 1211083 w 1214311"/>
              <a:gd name="connsiteY7" fmla="*/ 847982 h 1882404"/>
              <a:gd name="connsiteX8" fmla="*/ 1089785 w 1214311"/>
              <a:gd name="connsiteY8" fmla="*/ 64211 h 1882404"/>
              <a:gd name="connsiteX9" fmla="*/ 1108446 w 1214311"/>
              <a:gd name="connsiteY9" fmla="*/ 558733 h 1882404"/>
              <a:gd name="connsiteX10" fmla="*/ 1108446 w 1214311"/>
              <a:gd name="connsiteY10" fmla="*/ 1053256 h 1882404"/>
              <a:gd name="connsiteX11" fmla="*/ 949825 w 1214311"/>
              <a:gd name="connsiteY11" fmla="*/ 1491795 h 1882404"/>
              <a:gd name="connsiteX12" fmla="*/ 753883 w 1214311"/>
              <a:gd name="connsiteY12" fmla="*/ 1725060 h 1882404"/>
              <a:gd name="connsiteX13" fmla="*/ 632585 w 1214311"/>
              <a:gd name="connsiteY13" fmla="*/ 1753052 h 1882404"/>
              <a:gd name="connsiteX14" fmla="*/ 623254 w 1214311"/>
              <a:gd name="connsiteY14" fmla="*/ 1585101 h 1882404"/>
              <a:gd name="connsiteX15" fmla="*/ 725891 w 1214311"/>
              <a:gd name="connsiteY15" fmla="*/ 1351835 h 1882404"/>
              <a:gd name="connsiteX16" fmla="*/ 697899 w 1214311"/>
              <a:gd name="connsiteY16" fmla="*/ 1137231 h 1882404"/>
              <a:gd name="connsiteX17" fmla="*/ 585932 w 1214311"/>
              <a:gd name="connsiteY17" fmla="*/ 726684 h 1882404"/>
              <a:gd name="connsiteX18" fmla="*/ 436642 w 1214311"/>
              <a:gd name="connsiteY18" fmla="*/ 1099909 h 1882404"/>
              <a:gd name="connsiteX19" fmla="*/ 427311 w 1214311"/>
              <a:gd name="connsiteY19" fmla="*/ 1435811 h 1882404"/>
              <a:gd name="connsiteX20" fmla="*/ 520617 w 1214311"/>
              <a:gd name="connsiteY20" fmla="*/ 1613093 h 1882404"/>
              <a:gd name="connsiteX21" fmla="*/ 539278 w 1214311"/>
              <a:gd name="connsiteY21" fmla="*/ 1743721 h 1882404"/>
              <a:gd name="connsiteX22" fmla="*/ 240699 w 1214311"/>
              <a:gd name="connsiteY22" fmla="*/ 1547778 h 1882404"/>
              <a:gd name="connsiteX23" fmla="*/ 91409 w 1214311"/>
              <a:gd name="connsiteY23" fmla="*/ 1109239 h 1882404"/>
              <a:gd name="connsiteX24" fmla="*/ 82078 w 1214311"/>
              <a:gd name="connsiteY24" fmla="*/ 670701 h 1882404"/>
              <a:gd name="connsiteX25" fmla="*/ 286308 w 1214311"/>
              <a:gd name="connsiteY25" fmla="*/ 0 h 1882404"/>
              <a:gd name="connsiteX0" fmla="*/ 286102 w 1214105"/>
              <a:gd name="connsiteY0" fmla="*/ 0 h 1879362"/>
              <a:gd name="connsiteX1" fmla="*/ 1302 w 1214105"/>
              <a:gd name="connsiteY1" fmla="*/ 657928 h 1879362"/>
              <a:gd name="connsiteX2" fmla="*/ 63211 w 1214105"/>
              <a:gd name="connsiteY2" fmla="*/ 1435811 h 1879362"/>
              <a:gd name="connsiteX3" fmla="*/ 252227 w 1214105"/>
              <a:gd name="connsiteY3" fmla="*/ 1760875 h 1879362"/>
              <a:gd name="connsiteX4" fmla="*/ 548403 w 1214105"/>
              <a:gd name="connsiteY4" fmla="*/ 1874350 h 1879362"/>
              <a:gd name="connsiteX5" fmla="*/ 809660 w 1214105"/>
              <a:gd name="connsiteY5" fmla="*/ 1809035 h 1879362"/>
              <a:gd name="connsiteX6" fmla="*/ 1145562 w 1214105"/>
              <a:gd name="connsiteY6" fmla="*/ 1379827 h 1879362"/>
              <a:gd name="connsiteX7" fmla="*/ 1210877 w 1214105"/>
              <a:gd name="connsiteY7" fmla="*/ 847982 h 1879362"/>
              <a:gd name="connsiteX8" fmla="*/ 1089579 w 1214105"/>
              <a:gd name="connsiteY8" fmla="*/ 64211 h 1879362"/>
              <a:gd name="connsiteX9" fmla="*/ 1108240 w 1214105"/>
              <a:gd name="connsiteY9" fmla="*/ 558733 h 1879362"/>
              <a:gd name="connsiteX10" fmla="*/ 1108240 w 1214105"/>
              <a:gd name="connsiteY10" fmla="*/ 1053256 h 1879362"/>
              <a:gd name="connsiteX11" fmla="*/ 949619 w 1214105"/>
              <a:gd name="connsiteY11" fmla="*/ 1491795 h 1879362"/>
              <a:gd name="connsiteX12" fmla="*/ 753677 w 1214105"/>
              <a:gd name="connsiteY12" fmla="*/ 1725060 h 1879362"/>
              <a:gd name="connsiteX13" fmla="*/ 632379 w 1214105"/>
              <a:gd name="connsiteY13" fmla="*/ 1753052 h 1879362"/>
              <a:gd name="connsiteX14" fmla="*/ 623048 w 1214105"/>
              <a:gd name="connsiteY14" fmla="*/ 1585101 h 1879362"/>
              <a:gd name="connsiteX15" fmla="*/ 725685 w 1214105"/>
              <a:gd name="connsiteY15" fmla="*/ 1351835 h 1879362"/>
              <a:gd name="connsiteX16" fmla="*/ 697693 w 1214105"/>
              <a:gd name="connsiteY16" fmla="*/ 1137231 h 1879362"/>
              <a:gd name="connsiteX17" fmla="*/ 585726 w 1214105"/>
              <a:gd name="connsiteY17" fmla="*/ 726684 h 1879362"/>
              <a:gd name="connsiteX18" fmla="*/ 436436 w 1214105"/>
              <a:gd name="connsiteY18" fmla="*/ 1099909 h 1879362"/>
              <a:gd name="connsiteX19" fmla="*/ 427105 w 1214105"/>
              <a:gd name="connsiteY19" fmla="*/ 1435811 h 1879362"/>
              <a:gd name="connsiteX20" fmla="*/ 520411 w 1214105"/>
              <a:gd name="connsiteY20" fmla="*/ 1613093 h 1879362"/>
              <a:gd name="connsiteX21" fmla="*/ 539072 w 1214105"/>
              <a:gd name="connsiteY21" fmla="*/ 1743721 h 1879362"/>
              <a:gd name="connsiteX22" fmla="*/ 240493 w 1214105"/>
              <a:gd name="connsiteY22" fmla="*/ 1547778 h 1879362"/>
              <a:gd name="connsiteX23" fmla="*/ 91203 w 1214105"/>
              <a:gd name="connsiteY23" fmla="*/ 1109239 h 1879362"/>
              <a:gd name="connsiteX24" fmla="*/ 81872 w 1214105"/>
              <a:gd name="connsiteY24" fmla="*/ 670701 h 1879362"/>
              <a:gd name="connsiteX25" fmla="*/ 286102 w 1214105"/>
              <a:gd name="connsiteY25" fmla="*/ 0 h 1879362"/>
              <a:gd name="connsiteX0" fmla="*/ 293442 w 1221445"/>
              <a:gd name="connsiteY0" fmla="*/ 0 h 1879362"/>
              <a:gd name="connsiteX1" fmla="*/ 8642 w 1221445"/>
              <a:gd name="connsiteY1" fmla="*/ 657928 h 1879362"/>
              <a:gd name="connsiteX2" fmla="*/ 28696 w 1221445"/>
              <a:gd name="connsiteY2" fmla="*/ 1253636 h 1879362"/>
              <a:gd name="connsiteX3" fmla="*/ 259567 w 1221445"/>
              <a:gd name="connsiteY3" fmla="*/ 1760875 h 1879362"/>
              <a:gd name="connsiteX4" fmla="*/ 555743 w 1221445"/>
              <a:gd name="connsiteY4" fmla="*/ 1874350 h 1879362"/>
              <a:gd name="connsiteX5" fmla="*/ 817000 w 1221445"/>
              <a:gd name="connsiteY5" fmla="*/ 1809035 h 1879362"/>
              <a:gd name="connsiteX6" fmla="*/ 1152902 w 1221445"/>
              <a:gd name="connsiteY6" fmla="*/ 1379827 h 1879362"/>
              <a:gd name="connsiteX7" fmla="*/ 1218217 w 1221445"/>
              <a:gd name="connsiteY7" fmla="*/ 847982 h 1879362"/>
              <a:gd name="connsiteX8" fmla="*/ 1096919 w 1221445"/>
              <a:gd name="connsiteY8" fmla="*/ 64211 h 1879362"/>
              <a:gd name="connsiteX9" fmla="*/ 1115580 w 1221445"/>
              <a:gd name="connsiteY9" fmla="*/ 558733 h 1879362"/>
              <a:gd name="connsiteX10" fmla="*/ 1115580 w 1221445"/>
              <a:gd name="connsiteY10" fmla="*/ 1053256 h 1879362"/>
              <a:gd name="connsiteX11" fmla="*/ 956959 w 1221445"/>
              <a:gd name="connsiteY11" fmla="*/ 1491795 h 1879362"/>
              <a:gd name="connsiteX12" fmla="*/ 761017 w 1221445"/>
              <a:gd name="connsiteY12" fmla="*/ 1725060 h 1879362"/>
              <a:gd name="connsiteX13" fmla="*/ 639719 w 1221445"/>
              <a:gd name="connsiteY13" fmla="*/ 1753052 h 1879362"/>
              <a:gd name="connsiteX14" fmla="*/ 630388 w 1221445"/>
              <a:gd name="connsiteY14" fmla="*/ 1585101 h 1879362"/>
              <a:gd name="connsiteX15" fmla="*/ 733025 w 1221445"/>
              <a:gd name="connsiteY15" fmla="*/ 1351835 h 1879362"/>
              <a:gd name="connsiteX16" fmla="*/ 705033 w 1221445"/>
              <a:gd name="connsiteY16" fmla="*/ 1137231 h 1879362"/>
              <a:gd name="connsiteX17" fmla="*/ 593066 w 1221445"/>
              <a:gd name="connsiteY17" fmla="*/ 726684 h 1879362"/>
              <a:gd name="connsiteX18" fmla="*/ 443776 w 1221445"/>
              <a:gd name="connsiteY18" fmla="*/ 1099909 h 1879362"/>
              <a:gd name="connsiteX19" fmla="*/ 434445 w 1221445"/>
              <a:gd name="connsiteY19" fmla="*/ 1435811 h 1879362"/>
              <a:gd name="connsiteX20" fmla="*/ 527751 w 1221445"/>
              <a:gd name="connsiteY20" fmla="*/ 1613093 h 1879362"/>
              <a:gd name="connsiteX21" fmla="*/ 546412 w 1221445"/>
              <a:gd name="connsiteY21" fmla="*/ 1743721 h 1879362"/>
              <a:gd name="connsiteX22" fmla="*/ 247833 w 1221445"/>
              <a:gd name="connsiteY22" fmla="*/ 1547778 h 1879362"/>
              <a:gd name="connsiteX23" fmla="*/ 98543 w 1221445"/>
              <a:gd name="connsiteY23" fmla="*/ 1109239 h 1879362"/>
              <a:gd name="connsiteX24" fmla="*/ 89212 w 1221445"/>
              <a:gd name="connsiteY24" fmla="*/ 670701 h 1879362"/>
              <a:gd name="connsiteX25" fmla="*/ 293442 w 1221445"/>
              <a:gd name="connsiteY25" fmla="*/ 0 h 1879362"/>
              <a:gd name="connsiteX0" fmla="*/ 293442 w 1249599"/>
              <a:gd name="connsiteY0" fmla="*/ 15185 h 1894547"/>
              <a:gd name="connsiteX1" fmla="*/ 8642 w 1249599"/>
              <a:gd name="connsiteY1" fmla="*/ 673113 h 1894547"/>
              <a:gd name="connsiteX2" fmla="*/ 28696 w 1249599"/>
              <a:gd name="connsiteY2" fmla="*/ 1268821 h 1894547"/>
              <a:gd name="connsiteX3" fmla="*/ 259567 w 1249599"/>
              <a:gd name="connsiteY3" fmla="*/ 1776060 h 1894547"/>
              <a:gd name="connsiteX4" fmla="*/ 555743 w 1249599"/>
              <a:gd name="connsiteY4" fmla="*/ 1889535 h 1894547"/>
              <a:gd name="connsiteX5" fmla="*/ 817000 w 1249599"/>
              <a:gd name="connsiteY5" fmla="*/ 1824220 h 1894547"/>
              <a:gd name="connsiteX6" fmla="*/ 1152902 w 1249599"/>
              <a:gd name="connsiteY6" fmla="*/ 1395012 h 1894547"/>
              <a:gd name="connsiteX7" fmla="*/ 1218217 w 1249599"/>
              <a:gd name="connsiteY7" fmla="*/ 863167 h 1894547"/>
              <a:gd name="connsiteX8" fmla="*/ 705930 w 1249599"/>
              <a:gd name="connsiteY8" fmla="*/ 3658 h 1894547"/>
              <a:gd name="connsiteX9" fmla="*/ 1115580 w 1249599"/>
              <a:gd name="connsiteY9" fmla="*/ 573918 h 1894547"/>
              <a:gd name="connsiteX10" fmla="*/ 1115580 w 1249599"/>
              <a:gd name="connsiteY10" fmla="*/ 1068441 h 1894547"/>
              <a:gd name="connsiteX11" fmla="*/ 956959 w 1249599"/>
              <a:gd name="connsiteY11" fmla="*/ 1506980 h 1894547"/>
              <a:gd name="connsiteX12" fmla="*/ 761017 w 1249599"/>
              <a:gd name="connsiteY12" fmla="*/ 1740245 h 1894547"/>
              <a:gd name="connsiteX13" fmla="*/ 639719 w 1249599"/>
              <a:gd name="connsiteY13" fmla="*/ 1768237 h 1894547"/>
              <a:gd name="connsiteX14" fmla="*/ 630388 w 1249599"/>
              <a:gd name="connsiteY14" fmla="*/ 1600286 h 1894547"/>
              <a:gd name="connsiteX15" fmla="*/ 733025 w 1249599"/>
              <a:gd name="connsiteY15" fmla="*/ 1367020 h 1894547"/>
              <a:gd name="connsiteX16" fmla="*/ 705033 w 1249599"/>
              <a:gd name="connsiteY16" fmla="*/ 1152416 h 1894547"/>
              <a:gd name="connsiteX17" fmla="*/ 593066 w 1249599"/>
              <a:gd name="connsiteY17" fmla="*/ 741869 h 1894547"/>
              <a:gd name="connsiteX18" fmla="*/ 443776 w 1249599"/>
              <a:gd name="connsiteY18" fmla="*/ 1115094 h 1894547"/>
              <a:gd name="connsiteX19" fmla="*/ 434445 w 1249599"/>
              <a:gd name="connsiteY19" fmla="*/ 1450996 h 1894547"/>
              <a:gd name="connsiteX20" fmla="*/ 527751 w 1249599"/>
              <a:gd name="connsiteY20" fmla="*/ 1628278 h 1894547"/>
              <a:gd name="connsiteX21" fmla="*/ 546412 w 1249599"/>
              <a:gd name="connsiteY21" fmla="*/ 1758906 h 1894547"/>
              <a:gd name="connsiteX22" fmla="*/ 247833 w 1249599"/>
              <a:gd name="connsiteY22" fmla="*/ 1562963 h 1894547"/>
              <a:gd name="connsiteX23" fmla="*/ 98543 w 1249599"/>
              <a:gd name="connsiteY23" fmla="*/ 1124424 h 1894547"/>
              <a:gd name="connsiteX24" fmla="*/ 89212 w 1249599"/>
              <a:gd name="connsiteY24" fmla="*/ 685886 h 1894547"/>
              <a:gd name="connsiteX25" fmla="*/ 293442 w 1249599"/>
              <a:gd name="connsiteY25" fmla="*/ 15185 h 1894547"/>
              <a:gd name="connsiteX0" fmla="*/ 293442 w 1249599"/>
              <a:gd name="connsiteY0" fmla="*/ 14306 h 1893668"/>
              <a:gd name="connsiteX1" fmla="*/ 8642 w 1249599"/>
              <a:gd name="connsiteY1" fmla="*/ 672234 h 1893668"/>
              <a:gd name="connsiteX2" fmla="*/ 28696 w 1249599"/>
              <a:gd name="connsiteY2" fmla="*/ 1267942 h 1893668"/>
              <a:gd name="connsiteX3" fmla="*/ 259567 w 1249599"/>
              <a:gd name="connsiteY3" fmla="*/ 1775181 h 1893668"/>
              <a:gd name="connsiteX4" fmla="*/ 555743 w 1249599"/>
              <a:gd name="connsiteY4" fmla="*/ 1888656 h 1893668"/>
              <a:gd name="connsiteX5" fmla="*/ 817000 w 1249599"/>
              <a:gd name="connsiteY5" fmla="*/ 1823341 h 1893668"/>
              <a:gd name="connsiteX6" fmla="*/ 1152902 w 1249599"/>
              <a:gd name="connsiteY6" fmla="*/ 1394133 h 1893668"/>
              <a:gd name="connsiteX7" fmla="*/ 1218217 w 1249599"/>
              <a:gd name="connsiteY7" fmla="*/ 862288 h 1893668"/>
              <a:gd name="connsiteX8" fmla="*/ 705930 w 1249599"/>
              <a:gd name="connsiteY8" fmla="*/ 2779 h 1893668"/>
              <a:gd name="connsiteX9" fmla="*/ 962842 w 1249599"/>
              <a:gd name="connsiteY9" fmla="*/ 604429 h 1893668"/>
              <a:gd name="connsiteX10" fmla="*/ 1115580 w 1249599"/>
              <a:gd name="connsiteY10" fmla="*/ 1067562 h 1893668"/>
              <a:gd name="connsiteX11" fmla="*/ 956959 w 1249599"/>
              <a:gd name="connsiteY11" fmla="*/ 1506101 h 1893668"/>
              <a:gd name="connsiteX12" fmla="*/ 761017 w 1249599"/>
              <a:gd name="connsiteY12" fmla="*/ 1739366 h 1893668"/>
              <a:gd name="connsiteX13" fmla="*/ 639719 w 1249599"/>
              <a:gd name="connsiteY13" fmla="*/ 1767358 h 1893668"/>
              <a:gd name="connsiteX14" fmla="*/ 630388 w 1249599"/>
              <a:gd name="connsiteY14" fmla="*/ 1599407 h 1893668"/>
              <a:gd name="connsiteX15" fmla="*/ 733025 w 1249599"/>
              <a:gd name="connsiteY15" fmla="*/ 1366141 h 1893668"/>
              <a:gd name="connsiteX16" fmla="*/ 705033 w 1249599"/>
              <a:gd name="connsiteY16" fmla="*/ 1151537 h 1893668"/>
              <a:gd name="connsiteX17" fmla="*/ 593066 w 1249599"/>
              <a:gd name="connsiteY17" fmla="*/ 740990 h 1893668"/>
              <a:gd name="connsiteX18" fmla="*/ 443776 w 1249599"/>
              <a:gd name="connsiteY18" fmla="*/ 1114215 h 1893668"/>
              <a:gd name="connsiteX19" fmla="*/ 434445 w 1249599"/>
              <a:gd name="connsiteY19" fmla="*/ 1450117 h 1893668"/>
              <a:gd name="connsiteX20" fmla="*/ 527751 w 1249599"/>
              <a:gd name="connsiteY20" fmla="*/ 1627399 h 1893668"/>
              <a:gd name="connsiteX21" fmla="*/ 546412 w 1249599"/>
              <a:gd name="connsiteY21" fmla="*/ 1758027 h 1893668"/>
              <a:gd name="connsiteX22" fmla="*/ 247833 w 1249599"/>
              <a:gd name="connsiteY22" fmla="*/ 1562084 h 1893668"/>
              <a:gd name="connsiteX23" fmla="*/ 98543 w 1249599"/>
              <a:gd name="connsiteY23" fmla="*/ 1123545 h 1893668"/>
              <a:gd name="connsiteX24" fmla="*/ 89212 w 1249599"/>
              <a:gd name="connsiteY24" fmla="*/ 685007 h 1893668"/>
              <a:gd name="connsiteX25" fmla="*/ 293442 w 1249599"/>
              <a:gd name="connsiteY25" fmla="*/ 14306 h 1893668"/>
              <a:gd name="connsiteX0" fmla="*/ 293442 w 1249599"/>
              <a:gd name="connsiteY0" fmla="*/ 14276 h 1893638"/>
              <a:gd name="connsiteX1" fmla="*/ 8642 w 1249599"/>
              <a:gd name="connsiteY1" fmla="*/ 672204 h 1893638"/>
              <a:gd name="connsiteX2" fmla="*/ 28696 w 1249599"/>
              <a:gd name="connsiteY2" fmla="*/ 1267912 h 1893638"/>
              <a:gd name="connsiteX3" fmla="*/ 259567 w 1249599"/>
              <a:gd name="connsiteY3" fmla="*/ 1775151 h 1893638"/>
              <a:gd name="connsiteX4" fmla="*/ 555743 w 1249599"/>
              <a:gd name="connsiteY4" fmla="*/ 1888626 h 1893638"/>
              <a:gd name="connsiteX5" fmla="*/ 817000 w 1249599"/>
              <a:gd name="connsiteY5" fmla="*/ 1823311 h 1893638"/>
              <a:gd name="connsiteX6" fmla="*/ 1152902 w 1249599"/>
              <a:gd name="connsiteY6" fmla="*/ 1394103 h 1893638"/>
              <a:gd name="connsiteX7" fmla="*/ 1218217 w 1249599"/>
              <a:gd name="connsiteY7" fmla="*/ 862258 h 1893638"/>
              <a:gd name="connsiteX8" fmla="*/ 705930 w 1249599"/>
              <a:gd name="connsiteY8" fmla="*/ 2749 h 1893638"/>
              <a:gd name="connsiteX9" fmla="*/ 962842 w 1249599"/>
              <a:gd name="connsiteY9" fmla="*/ 604399 h 1893638"/>
              <a:gd name="connsiteX10" fmla="*/ 1028330 w 1249599"/>
              <a:gd name="connsiteY10" fmla="*/ 1033434 h 1893638"/>
              <a:gd name="connsiteX11" fmla="*/ 956959 w 1249599"/>
              <a:gd name="connsiteY11" fmla="*/ 1506071 h 1893638"/>
              <a:gd name="connsiteX12" fmla="*/ 761017 w 1249599"/>
              <a:gd name="connsiteY12" fmla="*/ 1739336 h 1893638"/>
              <a:gd name="connsiteX13" fmla="*/ 639719 w 1249599"/>
              <a:gd name="connsiteY13" fmla="*/ 1767328 h 1893638"/>
              <a:gd name="connsiteX14" fmla="*/ 630388 w 1249599"/>
              <a:gd name="connsiteY14" fmla="*/ 1599377 h 1893638"/>
              <a:gd name="connsiteX15" fmla="*/ 733025 w 1249599"/>
              <a:gd name="connsiteY15" fmla="*/ 1366111 h 1893638"/>
              <a:gd name="connsiteX16" fmla="*/ 705033 w 1249599"/>
              <a:gd name="connsiteY16" fmla="*/ 1151507 h 1893638"/>
              <a:gd name="connsiteX17" fmla="*/ 593066 w 1249599"/>
              <a:gd name="connsiteY17" fmla="*/ 740960 h 1893638"/>
              <a:gd name="connsiteX18" fmla="*/ 443776 w 1249599"/>
              <a:gd name="connsiteY18" fmla="*/ 1114185 h 1893638"/>
              <a:gd name="connsiteX19" fmla="*/ 434445 w 1249599"/>
              <a:gd name="connsiteY19" fmla="*/ 1450087 h 1893638"/>
              <a:gd name="connsiteX20" fmla="*/ 527751 w 1249599"/>
              <a:gd name="connsiteY20" fmla="*/ 1627369 h 1893638"/>
              <a:gd name="connsiteX21" fmla="*/ 546412 w 1249599"/>
              <a:gd name="connsiteY21" fmla="*/ 1757997 h 1893638"/>
              <a:gd name="connsiteX22" fmla="*/ 247833 w 1249599"/>
              <a:gd name="connsiteY22" fmla="*/ 1562054 h 1893638"/>
              <a:gd name="connsiteX23" fmla="*/ 98543 w 1249599"/>
              <a:gd name="connsiteY23" fmla="*/ 1123515 h 1893638"/>
              <a:gd name="connsiteX24" fmla="*/ 89212 w 1249599"/>
              <a:gd name="connsiteY24" fmla="*/ 684977 h 1893638"/>
              <a:gd name="connsiteX25" fmla="*/ 293442 w 1249599"/>
              <a:gd name="connsiteY25" fmla="*/ 14276 h 1893638"/>
              <a:gd name="connsiteX0" fmla="*/ 293442 w 1178223"/>
              <a:gd name="connsiteY0" fmla="*/ 11775 h 1891137"/>
              <a:gd name="connsiteX1" fmla="*/ 8642 w 1178223"/>
              <a:gd name="connsiteY1" fmla="*/ 669703 h 1891137"/>
              <a:gd name="connsiteX2" fmla="*/ 28696 w 1178223"/>
              <a:gd name="connsiteY2" fmla="*/ 1265411 h 1891137"/>
              <a:gd name="connsiteX3" fmla="*/ 259567 w 1178223"/>
              <a:gd name="connsiteY3" fmla="*/ 1772650 h 1891137"/>
              <a:gd name="connsiteX4" fmla="*/ 555743 w 1178223"/>
              <a:gd name="connsiteY4" fmla="*/ 1886125 h 1891137"/>
              <a:gd name="connsiteX5" fmla="*/ 817000 w 1178223"/>
              <a:gd name="connsiteY5" fmla="*/ 1820810 h 1891137"/>
              <a:gd name="connsiteX6" fmla="*/ 1152902 w 1178223"/>
              <a:gd name="connsiteY6" fmla="*/ 1391602 h 1891137"/>
              <a:gd name="connsiteX7" fmla="*/ 1104201 w 1178223"/>
              <a:gd name="connsiteY7" fmla="*/ 675069 h 1891137"/>
              <a:gd name="connsiteX8" fmla="*/ 705930 w 1178223"/>
              <a:gd name="connsiteY8" fmla="*/ 248 h 1891137"/>
              <a:gd name="connsiteX9" fmla="*/ 962842 w 1178223"/>
              <a:gd name="connsiteY9" fmla="*/ 601898 h 1891137"/>
              <a:gd name="connsiteX10" fmla="*/ 1028330 w 1178223"/>
              <a:gd name="connsiteY10" fmla="*/ 1030933 h 1891137"/>
              <a:gd name="connsiteX11" fmla="*/ 956959 w 1178223"/>
              <a:gd name="connsiteY11" fmla="*/ 1503570 h 1891137"/>
              <a:gd name="connsiteX12" fmla="*/ 761017 w 1178223"/>
              <a:gd name="connsiteY12" fmla="*/ 1736835 h 1891137"/>
              <a:gd name="connsiteX13" fmla="*/ 639719 w 1178223"/>
              <a:gd name="connsiteY13" fmla="*/ 1764827 h 1891137"/>
              <a:gd name="connsiteX14" fmla="*/ 630388 w 1178223"/>
              <a:gd name="connsiteY14" fmla="*/ 1596876 h 1891137"/>
              <a:gd name="connsiteX15" fmla="*/ 733025 w 1178223"/>
              <a:gd name="connsiteY15" fmla="*/ 1363610 h 1891137"/>
              <a:gd name="connsiteX16" fmla="*/ 705033 w 1178223"/>
              <a:gd name="connsiteY16" fmla="*/ 1149006 h 1891137"/>
              <a:gd name="connsiteX17" fmla="*/ 593066 w 1178223"/>
              <a:gd name="connsiteY17" fmla="*/ 738459 h 1891137"/>
              <a:gd name="connsiteX18" fmla="*/ 443776 w 1178223"/>
              <a:gd name="connsiteY18" fmla="*/ 1111684 h 1891137"/>
              <a:gd name="connsiteX19" fmla="*/ 434445 w 1178223"/>
              <a:gd name="connsiteY19" fmla="*/ 1447586 h 1891137"/>
              <a:gd name="connsiteX20" fmla="*/ 527751 w 1178223"/>
              <a:gd name="connsiteY20" fmla="*/ 1624868 h 1891137"/>
              <a:gd name="connsiteX21" fmla="*/ 546412 w 1178223"/>
              <a:gd name="connsiteY21" fmla="*/ 1755496 h 1891137"/>
              <a:gd name="connsiteX22" fmla="*/ 247833 w 1178223"/>
              <a:gd name="connsiteY22" fmla="*/ 1559553 h 1891137"/>
              <a:gd name="connsiteX23" fmla="*/ 98543 w 1178223"/>
              <a:gd name="connsiteY23" fmla="*/ 1121014 h 1891137"/>
              <a:gd name="connsiteX24" fmla="*/ 89212 w 1178223"/>
              <a:gd name="connsiteY24" fmla="*/ 682476 h 1891137"/>
              <a:gd name="connsiteX25" fmla="*/ 293442 w 1178223"/>
              <a:gd name="connsiteY25" fmla="*/ 11775 h 1891137"/>
              <a:gd name="connsiteX0" fmla="*/ 293442 w 1150886"/>
              <a:gd name="connsiteY0" fmla="*/ 11775 h 1893405"/>
              <a:gd name="connsiteX1" fmla="*/ 8642 w 1150886"/>
              <a:gd name="connsiteY1" fmla="*/ 669703 h 1893405"/>
              <a:gd name="connsiteX2" fmla="*/ 28696 w 1150886"/>
              <a:gd name="connsiteY2" fmla="*/ 1265411 h 1893405"/>
              <a:gd name="connsiteX3" fmla="*/ 259567 w 1150886"/>
              <a:gd name="connsiteY3" fmla="*/ 1772650 h 1893405"/>
              <a:gd name="connsiteX4" fmla="*/ 555743 w 1150886"/>
              <a:gd name="connsiteY4" fmla="*/ 1886125 h 1893405"/>
              <a:gd name="connsiteX5" fmla="*/ 817000 w 1150886"/>
              <a:gd name="connsiteY5" fmla="*/ 1820810 h 1893405"/>
              <a:gd name="connsiteX6" fmla="*/ 1110980 w 1150886"/>
              <a:gd name="connsiteY6" fmla="*/ 1330845 h 1893405"/>
              <a:gd name="connsiteX7" fmla="*/ 1104201 w 1150886"/>
              <a:gd name="connsiteY7" fmla="*/ 675069 h 1893405"/>
              <a:gd name="connsiteX8" fmla="*/ 705930 w 1150886"/>
              <a:gd name="connsiteY8" fmla="*/ 248 h 1893405"/>
              <a:gd name="connsiteX9" fmla="*/ 962842 w 1150886"/>
              <a:gd name="connsiteY9" fmla="*/ 601898 h 1893405"/>
              <a:gd name="connsiteX10" fmla="*/ 1028330 w 1150886"/>
              <a:gd name="connsiteY10" fmla="*/ 1030933 h 1893405"/>
              <a:gd name="connsiteX11" fmla="*/ 956959 w 1150886"/>
              <a:gd name="connsiteY11" fmla="*/ 1503570 h 1893405"/>
              <a:gd name="connsiteX12" fmla="*/ 761017 w 1150886"/>
              <a:gd name="connsiteY12" fmla="*/ 1736835 h 1893405"/>
              <a:gd name="connsiteX13" fmla="*/ 639719 w 1150886"/>
              <a:gd name="connsiteY13" fmla="*/ 1764827 h 1893405"/>
              <a:gd name="connsiteX14" fmla="*/ 630388 w 1150886"/>
              <a:gd name="connsiteY14" fmla="*/ 1596876 h 1893405"/>
              <a:gd name="connsiteX15" fmla="*/ 733025 w 1150886"/>
              <a:gd name="connsiteY15" fmla="*/ 1363610 h 1893405"/>
              <a:gd name="connsiteX16" fmla="*/ 705033 w 1150886"/>
              <a:gd name="connsiteY16" fmla="*/ 1149006 h 1893405"/>
              <a:gd name="connsiteX17" fmla="*/ 593066 w 1150886"/>
              <a:gd name="connsiteY17" fmla="*/ 738459 h 1893405"/>
              <a:gd name="connsiteX18" fmla="*/ 443776 w 1150886"/>
              <a:gd name="connsiteY18" fmla="*/ 1111684 h 1893405"/>
              <a:gd name="connsiteX19" fmla="*/ 434445 w 1150886"/>
              <a:gd name="connsiteY19" fmla="*/ 1447586 h 1893405"/>
              <a:gd name="connsiteX20" fmla="*/ 527751 w 1150886"/>
              <a:gd name="connsiteY20" fmla="*/ 1624868 h 1893405"/>
              <a:gd name="connsiteX21" fmla="*/ 546412 w 1150886"/>
              <a:gd name="connsiteY21" fmla="*/ 1755496 h 1893405"/>
              <a:gd name="connsiteX22" fmla="*/ 247833 w 1150886"/>
              <a:gd name="connsiteY22" fmla="*/ 1559553 h 1893405"/>
              <a:gd name="connsiteX23" fmla="*/ 98543 w 1150886"/>
              <a:gd name="connsiteY23" fmla="*/ 1121014 h 1893405"/>
              <a:gd name="connsiteX24" fmla="*/ 89212 w 1150886"/>
              <a:gd name="connsiteY24" fmla="*/ 682476 h 1893405"/>
              <a:gd name="connsiteX25" fmla="*/ 293442 w 1150886"/>
              <a:gd name="connsiteY25" fmla="*/ 11775 h 1893405"/>
              <a:gd name="connsiteX0" fmla="*/ 293442 w 1150886"/>
              <a:gd name="connsiteY0" fmla="*/ 11770 h 1893400"/>
              <a:gd name="connsiteX1" fmla="*/ 8642 w 1150886"/>
              <a:gd name="connsiteY1" fmla="*/ 669698 h 1893400"/>
              <a:gd name="connsiteX2" fmla="*/ 28696 w 1150886"/>
              <a:gd name="connsiteY2" fmla="*/ 1265406 h 1893400"/>
              <a:gd name="connsiteX3" fmla="*/ 259567 w 1150886"/>
              <a:gd name="connsiteY3" fmla="*/ 1772645 h 1893400"/>
              <a:gd name="connsiteX4" fmla="*/ 555743 w 1150886"/>
              <a:gd name="connsiteY4" fmla="*/ 1886120 h 1893400"/>
              <a:gd name="connsiteX5" fmla="*/ 817000 w 1150886"/>
              <a:gd name="connsiteY5" fmla="*/ 1820805 h 1893400"/>
              <a:gd name="connsiteX6" fmla="*/ 1110980 w 1150886"/>
              <a:gd name="connsiteY6" fmla="*/ 1330840 h 1893400"/>
              <a:gd name="connsiteX7" fmla="*/ 1104201 w 1150886"/>
              <a:gd name="connsiteY7" fmla="*/ 675064 h 1893400"/>
              <a:gd name="connsiteX8" fmla="*/ 705930 w 1150886"/>
              <a:gd name="connsiteY8" fmla="*/ 243 h 1893400"/>
              <a:gd name="connsiteX9" fmla="*/ 962842 w 1150886"/>
              <a:gd name="connsiteY9" fmla="*/ 601893 h 1893400"/>
              <a:gd name="connsiteX10" fmla="*/ 1011575 w 1150886"/>
              <a:gd name="connsiteY10" fmla="*/ 982341 h 1893400"/>
              <a:gd name="connsiteX11" fmla="*/ 956959 w 1150886"/>
              <a:gd name="connsiteY11" fmla="*/ 1503565 h 1893400"/>
              <a:gd name="connsiteX12" fmla="*/ 761017 w 1150886"/>
              <a:gd name="connsiteY12" fmla="*/ 1736830 h 1893400"/>
              <a:gd name="connsiteX13" fmla="*/ 639719 w 1150886"/>
              <a:gd name="connsiteY13" fmla="*/ 1764822 h 1893400"/>
              <a:gd name="connsiteX14" fmla="*/ 630388 w 1150886"/>
              <a:gd name="connsiteY14" fmla="*/ 1596871 h 1893400"/>
              <a:gd name="connsiteX15" fmla="*/ 733025 w 1150886"/>
              <a:gd name="connsiteY15" fmla="*/ 1363605 h 1893400"/>
              <a:gd name="connsiteX16" fmla="*/ 705033 w 1150886"/>
              <a:gd name="connsiteY16" fmla="*/ 1149001 h 1893400"/>
              <a:gd name="connsiteX17" fmla="*/ 593066 w 1150886"/>
              <a:gd name="connsiteY17" fmla="*/ 738454 h 1893400"/>
              <a:gd name="connsiteX18" fmla="*/ 443776 w 1150886"/>
              <a:gd name="connsiteY18" fmla="*/ 1111679 h 1893400"/>
              <a:gd name="connsiteX19" fmla="*/ 434445 w 1150886"/>
              <a:gd name="connsiteY19" fmla="*/ 1447581 h 1893400"/>
              <a:gd name="connsiteX20" fmla="*/ 527751 w 1150886"/>
              <a:gd name="connsiteY20" fmla="*/ 1624863 h 1893400"/>
              <a:gd name="connsiteX21" fmla="*/ 546412 w 1150886"/>
              <a:gd name="connsiteY21" fmla="*/ 1755491 h 1893400"/>
              <a:gd name="connsiteX22" fmla="*/ 247833 w 1150886"/>
              <a:gd name="connsiteY22" fmla="*/ 1559548 h 1893400"/>
              <a:gd name="connsiteX23" fmla="*/ 98543 w 1150886"/>
              <a:gd name="connsiteY23" fmla="*/ 1121009 h 1893400"/>
              <a:gd name="connsiteX24" fmla="*/ 89212 w 1150886"/>
              <a:gd name="connsiteY24" fmla="*/ 682471 h 1893400"/>
              <a:gd name="connsiteX25" fmla="*/ 293442 w 1150886"/>
              <a:gd name="connsiteY25" fmla="*/ 11770 h 1893400"/>
              <a:gd name="connsiteX0" fmla="*/ 293442 w 1137531"/>
              <a:gd name="connsiteY0" fmla="*/ 11770 h 1895467"/>
              <a:gd name="connsiteX1" fmla="*/ 8642 w 1137531"/>
              <a:gd name="connsiteY1" fmla="*/ 669698 h 1895467"/>
              <a:gd name="connsiteX2" fmla="*/ 28696 w 1137531"/>
              <a:gd name="connsiteY2" fmla="*/ 1265406 h 1895467"/>
              <a:gd name="connsiteX3" fmla="*/ 259567 w 1137531"/>
              <a:gd name="connsiteY3" fmla="*/ 1772645 h 1895467"/>
              <a:gd name="connsiteX4" fmla="*/ 555743 w 1137531"/>
              <a:gd name="connsiteY4" fmla="*/ 1886120 h 1895467"/>
              <a:gd name="connsiteX5" fmla="*/ 817000 w 1137531"/>
              <a:gd name="connsiteY5" fmla="*/ 1820805 h 1895467"/>
              <a:gd name="connsiteX6" fmla="*/ 1082476 w 1137531"/>
              <a:gd name="connsiteY6" fmla="*/ 1284668 h 1895467"/>
              <a:gd name="connsiteX7" fmla="*/ 1104201 w 1137531"/>
              <a:gd name="connsiteY7" fmla="*/ 675064 h 1895467"/>
              <a:gd name="connsiteX8" fmla="*/ 705930 w 1137531"/>
              <a:gd name="connsiteY8" fmla="*/ 243 h 1895467"/>
              <a:gd name="connsiteX9" fmla="*/ 962842 w 1137531"/>
              <a:gd name="connsiteY9" fmla="*/ 601893 h 1895467"/>
              <a:gd name="connsiteX10" fmla="*/ 1011575 w 1137531"/>
              <a:gd name="connsiteY10" fmla="*/ 982341 h 1895467"/>
              <a:gd name="connsiteX11" fmla="*/ 956959 w 1137531"/>
              <a:gd name="connsiteY11" fmla="*/ 1503565 h 1895467"/>
              <a:gd name="connsiteX12" fmla="*/ 761017 w 1137531"/>
              <a:gd name="connsiteY12" fmla="*/ 1736830 h 1895467"/>
              <a:gd name="connsiteX13" fmla="*/ 639719 w 1137531"/>
              <a:gd name="connsiteY13" fmla="*/ 1764822 h 1895467"/>
              <a:gd name="connsiteX14" fmla="*/ 630388 w 1137531"/>
              <a:gd name="connsiteY14" fmla="*/ 1596871 h 1895467"/>
              <a:gd name="connsiteX15" fmla="*/ 733025 w 1137531"/>
              <a:gd name="connsiteY15" fmla="*/ 1363605 h 1895467"/>
              <a:gd name="connsiteX16" fmla="*/ 705033 w 1137531"/>
              <a:gd name="connsiteY16" fmla="*/ 1149001 h 1895467"/>
              <a:gd name="connsiteX17" fmla="*/ 593066 w 1137531"/>
              <a:gd name="connsiteY17" fmla="*/ 738454 h 1895467"/>
              <a:gd name="connsiteX18" fmla="*/ 443776 w 1137531"/>
              <a:gd name="connsiteY18" fmla="*/ 1111679 h 1895467"/>
              <a:gd name="connsiteX19" fmla="*/ 434445 w 1137531"/>
              <a:gd name="connsiteY19" fmla="*/ 1447581 h 1895467"/>
              <a:gd name="connsiteX20" fmla="*/ 527751 w 1137531"/>
              <a:gd name="connsiteY20" fmla="*/ 1624863 h 1895467"/>
              <a:gd name="connsiteX21" fmla="*/ 546412 w 1137531"/>
              <a:gd name="connsiteY21" fmla="*/ 1755491 h 1895467"/>
              <a:gd name="connsiteX22" fmla="*/ 247833 w 1137531"/>
              <a:gd name="connsiteY22" fmla="*/ 1559548 h 1895467"/>
              <a:gd name="connsiteX23" fmla="*/ 98543 w 1137531"/>
              <a:gd name="connsiteY23" fmla="*/ 1121009 h 1895467"/>
              <a:gd name="connsiteX24" fmla="*/ 89212 w 1137531"/>
              <a:gd name="connsiteY24" fmla="*/ 682471 h 1895467"/>
              <a:gd name="connsiteX25" fmla="*/ 293442 w 1137531"/>
              <a:gd name="connsiteY25" fmla="*/ 11770 h 1895467"/>
              <a:gd name="connsiteX0" fmla="*/ 293442 w 1137531"/>
              <a:gd name="connsiteY0" fmla="*/ 11770 h 1895467"/>
              <a:gd name="connsiteX1" fmla="*/ 8642 w 1137531"/>
              <a:gd name="connsiteY1" fmla="*/ 669698 h 1895467"/>
              <a:gd name="connsiteX2" fmla="*/ 28696 w 1137531"/>
              <a:gd name="connsiteY2" fmla="*/ 1265406 h 1895467"/>
              <a:gd name="connsiteX3" fmla="*/ 259567 w 1137531"/>
              <a:gd name="connsiteY3" fmla="*/ 1772645 h 1895467"/>
              <a:gd name="connsiteX4" fmla="*/ 555743 w 1137531"/>
              <a:gd name="connsiteY4" fmla="*/ 1886120 h 1895467"/>
              <a:gd name="connsiteX5" fmla="*/ 817000 w 1137531"/>
              <a:gd name="connsiteY5" fmla="*/ 1820805 h 1895467"/>
              <a:gd name="connsiteX6" fmla="*/ 1082476 w 1137531"/>
              <a:gd name="connsiteY6" fmla="*/ 1284668 h 1895467"/>
              <a:gd name="connsiteX7" fmla="*/ 1104201 w 1137531"/>
              <a:gd name="connsiteY7" fmla="*/ 675063 h 1895467"/>
              <a:gd name="connsiteX8" fmla="*/ 705930 w 1137531"/>
              <a:gd name="connsiteY8" fmla="*/ 243 h 1895467"/>
              <a:gd name="connsiteX9" fmla="*/ 962842 w 1137531"/>
              <a:gd name="connsiteY9" fmla="*/ 601893 h 1895467"/>
              <a:gd name="connsiteX10" fmla="*/ 1011575 w 1137531"/>
              <a:gd name="connsiteY10" fmla="*/ 982341 h 1895467"/>
              <a:gd name="connsiteX11" fmla="*/ 956959 w 1137531"/>
              <a:gd name="connsiteY11" fmla="*/ 1503565 h 1895467"/>
              <a:gd name="connsiteX12" fmla="*/ 761017 w 1137531"/>
              <a:gd name="connsiteY12" fmla="*/ 1736830 h 1895467"/>
              <a:gd name="connsiteX13" fmla="*/ 639719 w 1137531"/>
              <a:gd name="connsiteY13" fmla="*/ 1764822 h 1895467"/>
              <a:gd name="connsiteX14" fmla="*/ 630388 w 1137531"/>
              <a:gd name="connsiteY14" fmla="*/ 1596871 h 1895467"/>
              <a:gd name="connsiteX15" fmla="*/ 733025 w 1137531"/>
              <a:gd name="connsiteY15" fmla="*/ 1363605 h 1895467"/>
              <a:gd name="connsiteX16" fmla="*/ 705033 w 1137531"/>
              <a:gd name="connsiteY16" fmla="*/ 1149001 h 1895467"/>
              <a:gd name="connsiteX17" fmla="*/ 593066 w 1137531"/>
              <a:gd name="connsiteY17" fmla="*/ 738454 h 1895467"/>
              <a:gd name="connsiteX18" fmla="*/ 443776 w 1137531"/>
              <a:gd name="connsiteY18" fmla="*/ 1111679 h 1895467"/>
              <a:gd name="connsiteX19" fmla="*/ 434445 w 1137531"/>
              <a:gd name="connsiteY19" fmla="*/ 1447581 h 1895467"/>
              <a:gd name="connsiteX20" fmla="*/ 527751 w 1137531"/>
              <a:gd name="connsiteY20" fmla="*/ 1624863 h 1895467"/>
              <a:gd name="connsiteX21" fmla="*/ 546412 w 1137531"/>
              <a:gd name="connsiteY21" fmla="*/ 1755491 h 1895467"/>
              <a:gd name="connsiteX22" fmla="*/ 247833 w 1137531"/>
              <a:gd name="connsiteY22" fmla="*/ 1559548 h 1895467"/>
              <a:gd name="connsiteX23" fmla="*/ 98543 w 1137531"/>
              <a:gd name="connsiteY23" fmla="*/ 1121009 h 1895467"/>
              <a:gd name="connsiteX24" fmla="*/ 89212 w 1137531"/>
              <a:gd name="connsiteY24" fmla="*/ 682471 h 1895467"/>
              <a:gd name="connsiteX25" fmla="*/ 293442 w 1137531"/>
              <a:gd name="connsiteY25" fmla="*/ 11770 h 1895467"/>
              <a:gd name="connsiteX0" fmla="*/ 293442 w 1129233"/>
              <a:gd name="connsiteY0" fmla="*/ 69894 h 1953591"/>
              <a:gd name="connsiteX1" fmla="*/ 8642 w 1129233"/>
              <a:gd name="connsiteY1" fmla="*/ 727822 h 1953591"/>
              <a:gd name="connsiteX2" fmla="*/ 28696 w 1129233"/>
              <a:gd name="connsiteY2" fmla="*/ 1323530 h 1953591"/>
              <a:gd name="connsiteX3" fmla="*/ 259567 w 1129233"/>
              <a:gd name="connsiteY3" fmla="*/ 1830769 h 1953591"/>
              <a:gd name="connsiteX4" fmla="*/ 555743 w 1129233"/>
              <a:gd name="connsiteY4" fmla="*/ 1944244 h 1953591"/>
              <a:gd name="connsiteX5" fmla="*/ 817000 w 1129233"/>
              <a:gd name="connsiteY5" fmla="*/ 1878929 h 1953591"/>
              <a:gd name="connsiteX6" fmla="*/ 1082476 w 1129233"/>
              <a:gd name="connsiteY6" fmla="*/ 1342792 h 1953591"/>
              <a:gd name="connsiteX7" fmla="*/ 1104201 w 1129233"/>
              <a:gd name="connsiteY7" fmla="*/ 733187 h 1953591"/>
              <a:gd name="connsiteX8" fmla="*/ 820083 w 1129233"/>
              <a:gd name="connsiteY8" fmla="*/ 219 h 1953591"/>
              <a:gd name="connsiteX9" fmla="*/ 962842 w 1129233"/>
              <a:gd name="connsiteY9" fmla="*/ 660017 h 1953591"/>
              <a:gd name="connsiteX10" fmla="*/ 1011575 w 1129233"/>
              <a:gd name="connsiteY10" fmla="*/ 1040465 h 1953591"/>
              <a:gd name="connsiteX11" fmla="*/ 956959 w 1129233"/>
              <a:gd name="connsiteY11" fmla="*/ 1561689 h 1953591"/>
              <a:gd name="connsiteX12" fmla="*/ 761017 w 1129233"/>
              <a:gd name="connsiteY12" fmla="*/ 1794954 h 1953591"/>
              <a:gd name="connsiteX13" fmla="*/ 639719 w 1129233"/>
              <a:gd name="connsiteY13" fmla="*/ 1822946 h 1953591"/>
              <a:gd name="connsiteX14" fmla="*/ 630388 w 1129233"/>
              <a:gd name="connsiteY14" fmla="*/ 1654995 h 1953591"/>
              <a:gd name="connsiteX15" fmla="*/ 733025 w 1129233"/>
              <a:gd name="connsiteY15" fmla="*/ 1421729 h 1953591"/>
              <a:gd name="connsiteX16" fmla="*/ 705033 w 1129233"/>
              <a:gd name="connsiteY16" fmla="*/ 1207125 h 1953591"/>
              <a:gd name="connsiteX17" fmla="*/ 593066 w 1129233"/>
              <a:gd name="connsiteY17" fmla="*/ 796578 h 1953591"/>
              <a:gd name="connsiteX18" fmla="*/ 443776 w 1129233"/>
              <a:gd name="connsiteY18" fmla="*/ 1169803 h 1953591"/>
              <a:gd name="connsiteX19" fmla="*/ 434445 w 1129233"/>
              <a:gd name="connsiteY19" fmla="*/ 1505705 h 1953591"/>
              <a:gd name="connsiteX20" fmla="*/ 527751 w 1129233"/>
              <a:gd name="connsiteY20" fmla="*/ 1682987 h 1953591"/>
              <a:gd name="connsiteX21" fmla="*/ 546412 w 1129233"/>
              <a:gd name="connsiteY21" fmla="*/ 1813615 h 1953591"/>
              <a:gd name="connsiteX22" fmla="*/ 247833 w 1129233"/>
              <a:gd name="connsiteY22" fmla="*/ 1617672 h 1953591"/>
              <a:gd name="connsiteX23" fmla="*/ 98543 w 1129233"/>
              <a:gd name="connsiteY23" fmla="*/ 1179133 h 1953591"/>
              <a:gd name="connsiteX24" fmla="*/ 89212 w 1129233"/>
              <a:gd name="connsiteY24" fmla="*/ 740595 h 1953591"/>
              <a:gd name="connsiteX25" fmla="*/ 293442 w 1129233"/>
              <a:gd name="connsiteY25" fmla="*/ 69894 h 1953591"/>
              <a:gd name="connsiteX0" fmla="*/ 293442 w 1136308"/>
              <a:gd name="connsiteY0" fmla="*/ 0 h 1883697"/>
              <a:gd name="connsiteX1" fmla="*/ 8642 w 1136308"/>
              <a:gd name="connsiteY1" fmla="*/ 657928 h 1883697"/>
              <a:gd name="connsiteX2" fmla="*/ 28696 w 1136308"/>
              <a:gd name="connsiteY2" fmla="*/ 1253636 h 1883697"/>
              <a:gd name="connsiteX3" fmla="*/ 259567 w 1136308"/>
              <a:gd name="connsiteY3" fmla="*/ 1760875 h 1883697"/>
              <a:gd name="connsiteX4" fmla="*/ 555743 w 1136308"/>
              <a:gd name="connsiteY4" fmla="*/ 1874350 h 1883697"/>
              <a:gd name="connsiteX5" fmla="*/ 817000 w 1136308"/>
              <a:gd name="connsiteY5" fmla="*/ 1809035 h 1883697"/>
              <a:gd name="connsiteX6" fmla="*/ 1082476 w 1136308"/>
              <a:gd name="connsiteY6" fmla="*/ 1272898 h 1883697"/>
              <a:gd name="connsiteX7" fmla="*/ 1104201 w 1136308"/>
              <a:gd name="connsiteY7" fmla="*/ 663293 h 1883697"/>
              <a:gd name="connsiteX8" fmla="*/ 722685 w 1136308"/>
              <a:gd name="connsiteY8" fmla="*/ 37059 h 1883697"/>
              <a:gd name="connsiteX9" fmla="*/ 962842 w 1136308"/>
              <a:gd name="connsiteY9" fmla="*/ 590123 h 1883697"/>
              <a:gd name="connsiteX10" fmla="*/ 1011575 w 1136308"/>
              <a:gd name="connsiteY10" fmla="*/ 970571 h 1883697"/>
              <a:gd name="connsiteX11" fmla="*/ 956959 w 1136308"/>
              <a:gd name="connsiteY11" fmla="*/ 1491795 h 1883697"/>
              <a:gd name="connsiteX12" fmla="*/ 761017 w 1136308"/>
              <a:gd name="connsiteY12" fmla="*/ 1725060 h 1883697"/>
              <a:gd name="connsiteX13" fmla="*/ 639719 w 1136308"/>
              <a:gd name="connsiteY13" fmla="*/ 1753052 h 1883697"/>
              <a:gd name="connsiteX14" fmla="*/ 630388 w 1136308"/>
              <a:gd name="connsiteY14" fmla="*/ 1585101 h 1883697"/>
              <a:gd name="connsiteX15" fmla="*/ 733025 w 1136308"/>
              <a:gd name="connsiteY15" fmla="*/ 1351835 h 1883697"/>
              <a:gd name="connsiteX16" fmla="*/ 705033 w 1136308"/>
              <a:gd name="connsiteY16" fmla="*/ 1137231 h 1883697"/>
              <a:gd name="connsiteX17" fmla="*/ 593066 w 1136308"/>
              <a:gd name="connsiteY17" fmla="*/ 726684 h 1883697"/>
              <a:gd name="connsiteX18" fmla="*/ 443776 w 1136308"/>
              <a:gd name="connsiteY18" fmla="*/ 1099909 h 1883697"/>
              <a:gd name="connsiteX19" fmla="*/ 434445 w 1136308"/>
              <a:gd name="connsiteY19" fmla="*/ 1435811 h 1883697"/>
              <a:gd name="connsiteX20" fmla="*/ 527751 w 1136308"/>
              <a:gd name="connsiteY20" fmla="*/ 1613093 h 1883697"/>
              <a:gd name="connsiteX21" fmla="*/ 546412 w 1136308"/>
              <a:gd name="connsiteY21" fmla="*/ 1743721 h 1883697"/>
              <a:gd name="connsiteX22" fmla="*/ 247833 w 1136308"/>
              <a:gd name="connsiteY22" fmla="*/ 1547778 h 1883697"/>
              <a:gd name="connsiteX23" fmla="*/ 98543 w 1136308"/>
              <a:gd name="connsiteY23" fmla="*/ 1109239 h 1883697"/>
              <a:gd name="connsiteX24" fmla="*/ 89212 w 1136308"/>
              <a:gd name="connsiteY24" fmla="*/ 670701 h 1883697"/>
              <a:gd name="connsiteX25" fmla="*/ 293442 w 1136308"/>
              <a:gd name="connsiteY25" fmla="*/ 0 h 1883697"/>
              <a:gd name="connsiteX0" fmla="*/ 293442 w 1122988"/>
              <a:gd name="connsiteY0" fmla="*/ 35808 h 1919505"/>
              <a:gd name="connsiteX1" fmla="*/ 8642 w 1122988"/>
              <a:gd name="connsiteY1" fmla="*/ 693736 h 1919505"/>
              <a:gd name="connsiteX2" fmla="*/ 28696 w 1122988"/>
              <a:gd name="connsiteY2" fmla="*/ 1289444 h 1919505"/>
              <a:gd name="connsiteX3" fmla="*/ 259567 w 1122988"/>
              <a:gd name="connsiteY3" fmla="*/ 1796683 h 1919505"/>
              <a:gd name="connsiteX4" fmla="*/ 555743 w 1122988"/>
              <a:gd name="connsiteY4" fmla="*/ 1910158 h 1919505"/>
              <a:gd name="connsiteX5" fmla="*/ 817000 w 1122988"/>
              <a:gd name="connsiteY5" fmla="*/ 1844843 h 1919505"/>
              <a:gd name="connsiteX6" fmla="*/ 1082476 w 1122988"/>
              <a:gd name="connsiteY6" fmla="*/ 1308706 h 1919505"/>
              <a:gd name="connsiteX7" fmla="*/ 1104201 w 1122988"/>
              <a:gd name="connsiteY7" fmla="*/ 699101 h 1919505"/>
              <a:gd name="connsiteX8" fmla="*/ 907333 w 1122988"/>
              <a:gd name="connsiteY8" fmla="*/ 232 h 1919505"/>
              <a:gd name="connsiteX9" fmla="*/ 962842 w 1122988"/>
              <a:gd name="connsiteY9" fmla="*/ 625931 h 1919505"/>
              <a:gd name="connsiteX10" fmla="*/ 1011575 w 1122988"/>
              <a:gd name="connsiteY10" fmla="*/ 1006379 h 1919505"/>
              <a:gd name="connsiteX11" fmla="*/ 956959 w 1122988"/>
              <a:gd name="connsiteY11" fmla="*/ 1527603 h 1919505"/>
              <a:gd name="connsiteX12" fmla="*/ 761017 w 1122988"/>
              <a:gd name="connsiteY12" fmla="*/ 1760868 h 1919505"/>
              <a:gd name="connsiteX13" fmla="*/ 639719 w 1122988"/>
              <a:gd name="connsiteY13" fmla="*/ 1788860 h 1919505"/>
              <a:gd name="connsiteX14" fmla="*/ 630388 w 1122988"/>
              <a:gd name="connsiteY14" fmla="*/ 1620909 h 1919505"/>
              <a:gd name="connsiteX15" fmla="*/ 733025 w 1122988"/>
              <a:gd name="connsiteY15" fmla="*/ 1387643 h 1919505"/>
              <a:gd name="connsiteX16" fmla="*/ 705033 w 1122988"/>
              <a:gd name="connsiteY16" fmla="*/ 1173039 h 1919505"/>
              <a:gd name="connsiteX17" fmla="*/ 593066 w 1122988"/>
              <a:gd name="connsiteY17" fmla="*/ 762492 h 1919505"/>
              <a:gd name="connsiteX18" fmla="*/ 443776 w 1122988"/>
              <a:gd name="connsiteY18" fmla="*/ 1135717 h 1919505"/>
              <a:gd name="connsiteX19" fmla="*/ 434445 w 1122988"/>
              <a:gd name="connsiteY19" fmla="*/ 1471619 h 1919505"/>
              <a:gd name="connsiteX20" fmla="*/ 527751 w 1122988"/>
              <a:gd name="connsiteY20" fmla="*/ 1648901 h 1919505"/>
              <a:gd name="connsiteX21" fmla="*/ 546412 w 1122988"/>
              <a:gd name="connsiteY21" fmla="*/ 1779529 h 1919505"/>
              <a:gd name="connsiteX22" fmla="*/ 247833 w 1122988"/>
              <a:gd name="connsiteY22" fmla="*/ 1583586 h 1919505"/>
              <a:gd name="connsiteX23" fmla="*/ 98543 w 1122988"/>
              <a:gd name="connsiteY23" fmla="*/ 1145047 h 1919505"/>
              <a:gd name="connsiteX24" fmla="*/ 89212 w 1122988"/>
              <a:gd name="connsiteY24" fmla="*/ 706509 h 1919505"/>
              <a:gd name="connsiteX25" fmla="*/ 293442 w 1122988"/>
              <a:gd name="connsiteY25" fmla="*/ 35808 h 1919505"/>
              <a:gd name="connsiteX0" fmla="*/ 293442 w 1122988"/>
              <a:gd name="connsiteY0" fmla="*/ 36410 h 1920107"/>
              <a:gd name="connsiteX1" fmla="*/ 8642 w 1122988"/>
              <a:gd name="connsiteY1" fmla="*/ 694338 h 1920107"/>
              <a:gd name="connsiteX2" fmla="*/ 28696 w 1122988"/>
              <a:gd name="connsiteY2" fmla="*/ 1290046 h 1920107"/>
              <a:gd name="connsiteX3" fmla="*/ 259567 w 1122988"/>
              <a:gd name="connsiteY3" fmla="*/ 1797285 h 1920107"/>
              <a:gd name="connsiteX4" fmla="*/ 555743 w 1122988"/>
              <a:gd name="connsiteY4" fmla="*/ 1910760 h 1920107"/>
              <a:gd name="connsiteX5" fmla="*/ 817000 w 1122988"/>
              <a:gd name="connsiteY5" fmla="*/ 1845445 h 1920107"/>
              <a:gd name="connsiteX6" fmla="*/ 1082476 w 1122988"/>
              <a:gd name="connsiteY6" fmla="*/ 1309308 h 1920107"/>
              <a:gd name="connsiteX7" fmla="*/ 1104201 w 1122988"/>
              <a:gd name="connsiteY7" fmla="*/ 699703 h 1920107"/>
              <a:gd name="connsiteX8" fmla="*/ 907333 w 1122988"/>
              <a:gd name="connsiteY8" fmla="*/ 834 h 1920107"/>
              <a:gd name="connsiteX9" fmla="*/ 962842 w 1122988"/>
              <a:gd name="connsiteY9" fmla="*/ 626533 h 1920107"/>
              <a:gd name="connsiteX10" fmla="*/ 1011575 w 1122988"/>
              <a:gd name="connsiteY10" fmla="*/ 1006981 h 1920107"/>
              <a:gd name="connsiteX11" fmla="*/ 956959 w 1122988"/>
              <a:gd name="connsiteY11" fmla="*/ 1528205 h 1920107"/>
              <a:gd name="connsiteX12" fmla="*/ 761017 w 1122988"/>
              <a:gd name="connsiteY12" fmla="*/ 1761470 h 1920107"/>
              <a:gd name="connsiteX13" fmla="*/ 639719 w 1122988"/>
              <a:gd name="connsiteY13" fmla="*/ 1789462 h 1920107"/>
              <a:gd name="connsiteX14" fmla="*/ 630388 w 1122988"/>
              <a:gd name="connsiteY14" fmla="*/ 1621511 h 1920107"/>
              <a:gd name="connsiteX15" fmla="*/ 733025 w 1122988"/>
              <a:gd name="connsiteY15" fmla="*/ 1388245 h 1920107"/>
              <a:gd name="connsiteX16" fmla="*/ 705033 w 1122988"/>
              <a:gd name="connsiteY16" fmla="*/ 1173641 h 1920107"/>
              <a:gd name="connsiteX17" fmla="*/ 593066 w 1122988"/>
              <a:gd name="connsiteY17" fmla="*/ 763094 h 1920107"/>
              <a:gd name="connsiteX18" fmla="*/ 443776 w 1122988"/>
              <a:gd name="connsiteY18" fmla="*/ 1136319 h 1920107"/>
              <a:gd name="connsiteX19" fmla="*/ 434445 w 1122988"/>
              <a:gd name="connsiteY19" fmla="*/ 1472221 h 1920107"/>
              <a:gd name="connsiteX20" fmla="*/ 527751 w 1122988"/>
              <a:gd name="connsiteY20" fmla="*/ 1649503 h 1920107"/>
              <a:gd name="connsiteX21" fmla="*/ 546412 w 1122988"/>
              <a:gd name="connsiteY21" fmla="*/ 1780131 h 1920107"/>
              <a:gd name="connsiteX22" fmla="*/ 247833 w 1122988"/>
              <a:gd name="connsiteY22" fmla="*/ 1584188 h 1920107"/>
              <a:gd name="connsiteX23" fmla="*/ 98543 w 1122988"/>
              <a:gd name="connsiteY23" fmla="*/ 1145649 h 1920107"/>
              <a:gd name="connsiteX24" fmla="*/ 89212 w 1122988"/>
              <a:gd name="connsiteY24" fmla="*/ 707111 h 1920107"/>
              <a:gd name="connsiteX25" fmla="*/ 293442 w 1122988"/>
              <a:gd name="connsiteY25" fmla="*/ 36410 h 1920107"/>
              <a:gd name="connsiteX0" fmla="*/ 293442 w 1132638"/>
              <a:gd name="connsiteY0" fmla="*/ 60818 h 1944515"/>
              <a:gd name="connsiteX1" fmla="*/ 8642 w 1132638"/>
              <a:gd name="connsiteY1" fmla="*/ 718746 h 1944515"/>
              <a:gd name="connsiteX2" fmla="*/ 28696 w 1132638"/>
              <a:gd name="connsiteY2" fmla="*/ 1314454 h 1944515"/>
              <a:gd name="connsiteX3" fmla="*/ 259567 w 1132638"/>
              <a:gd name="connsiteY3" fmla="*/ 1821693 h 1944515"/>
              <a:gd name="connsiteX4" fmla="*/ 555743 w 1132638"/>
              <a:gd name="connsiteY4" fmla="*/ 1935168 h 1944515"/>
              <a:gd name="connsiteX5" fmla="*/ 817000 w 1132638"/>
              <a:gd name="connsiteY5" fmla="*/ 1869853 h 1944515"/>
              <a:gd name="connsiteX6" fmla="*/ 1082476 w 1132638"/>
              <a:gd name="connsiteY6" fmla="*/ 1333716 h 1944515"/>
              <a:gd name="connsiteX7" fmla="*/ 1104201 w 1132638"/>
              <a:gd name="connsiteY7" fmla="*/ 724111 h 1944515"/>
              <a:gd name="connsiteX8" fmla="*/ 773086 w 1132638"/>
              <a:gd name="connsiteY8" fmla="*/ 803 h 1944515"/>
              <a:gd name="connsiteX9" fmla="*/ 962842 w 1132638"/>
              <a:gd name="connsiteY9" fmla="*/ 650941 h 1944515"/>
              <a:gd name="connsiteX10" fmla="*/ 1011575 w 1132638"/>
              <a:gd name="connsiteY10" fmla="*/ 1031389 h 1944515"/>
              <a:gd name="connsiteX11" fmla="*/ 956959 w 1132638"/>
              <a:gd name="connsiteY11" fmla="*/ 1552613 h 1944515"/>
              <a:gd name="connsiteX12" fmla="*/ 761017 w 1132638"/>
              <a:gd name="connsiteY12" fmla="*/ 1785878 h 1944515"/>
              <a:gd name="connsiteX13" fmla="*/ 639719 w 1132638"/>
              <a:gd name="connsiteY13" fmla="*/ 1813870 h 1944515"/>
              <a:gd name="connsiteX14" fmla="*/ 630388 w 1132638"/>
              <a:gd name="connsiteY14" fmla="*/ 1645919 h 1944515"/>
              <a:gd name="connsiteX15" fmla="*/ 733025 w 1132638"/>
              <a:gd name="connsiteY15" fmla="*/ 1412653 h 1944515"/>
              <a:gd name="connsiteX16" fmla="*/ 705033 w 1132638"/>
              <a:gd name="connsiteY16" fmla="*/ 1198049 h 1944515"/>
              <a:gd name="connsiteX17" fmla="*/ 593066 w 1132638"/>
              <a:gd name="connsiteY17" fmla="*/ 787502 h 1944515"/>
              <a:gd name="connsiteX18" fmla="*/ 443776 w 1132638"/>
              <a:gd name="connsiteY18" fmla="*/ 1160727 h 1944515"/>
              <a:gd name="connsiteX19" fmla="*/ 434445 w 1132638"/>
              <a:gd name="connsiteY19" fmla="*/ 1496629 h 1944515"/>
              <a:gd name="connsiteX20" fmla="*/ 527751 w 1132638"/>
              <a:gd name="connsiteY20" fmla="*/ 1673911 h 1944515"/>
              <a:gd name="connsiteX21" fmla="*/ 546412 w 1132638"/>
              <a:gd name="connsiteY21" fmla="*/ 1804539 h 1944515"/>
              <a:gd name="connsiteX22" fmla="*/ 247833 w 1132638"/>
              <a:gd name="connsiteY22" fmla="*/ 1608596 h 1944515"/>
              <a:gd name="connsiteX23" fmla="*/ 98543 w 1132638"/>
              <a:gd name="connsiteY23" fmla="*/ 1170057 h 1944515"/>
              <a:gd name="connsiteX24" fmla="*/ 89212 w 1132638"/>
              <a:gd name="connsiteY24" fmla="*/ 731519 h 1944515"/>
              <a:gd name="connsiteX25" fmla="*/ 293442 w 1132638"/>
              <a:gd name="connsiteY25" fmla="*/ 60818 h 1944515"/>
              <a:gd name="connsiteX0" fmla="*/ 293442 w 1132638"/>
              <a:gd name="connsiteY0" fmla="*/ 60818 h 1944515"/>
              <a:gd name="connsiteX1" fmla="*/ 8642 w 1132638"/>
              <a:gd name="connsiteY1" fmla="*/ 718746 h 1944515"/>
              <a:gd name="connsiteX2" fmla="*/ 28696 w 1132638"/>
              <a:gd name="connsiteY2" fmla="*/ 1314454 h 1944515"/>
              <a:gd name="connsiteX3" fmla="*/ 259567 w 1132638"/>
              <a:gd name="connsiteY3" fmla="*/ 1821693 h 1944515"/>
              <a:gd name="connsiteX4" fmla="*/ 555743 w 1132638"/>
              <a:gd name="connsiteY4" fmla="*/ 1935168 h 1944515"/>
              <a:gd name="connsiteX5" fmla="*/ 817000 w 1132638"/>
              <a:gd name="connsiteY5" fmla="*/ 1869853 h 1944515"/>
              <a:gd name="connsiteX6" fmla="*/ 1082476 w 1132638"/>
              <a:gd name="connsiteY6" fmla="*/ 1333716 h 1944515"/>
              <a:gd name="connsiteX7" fmla="*/ 1104201 w 1132638"/>
              <a:gd name="connsiteY7" fmla="*/ 724111 h 1944515"/>
              <a:gd name="connsiteX8" fmla="*/ 773086 w 1132638"/>
              <a:gd name="connsiteY8" fmla="*/ 803 h 1944515"/>
              <a:gd name="connsiteX9" fmla="*/ 962842 w 1132638"/>
              <a:gd name="connsiteY9" fmla="*/ 650941 h 1944515"/>
              <a:gd name="connsiteX10" fmla="*/ 1011575 w 1132638"/>
              <a:gd name="connsiteY10" fmla="*/ 1031389 h 1944515"/>
              <a:gd name="connsiteX11" fmla="*/ 956959 w 1132638"/>
              <a:gd name="connsiteY11" fmla="*/ 1552613 h 1944515"/>
              <a:gd name="connsiteX12" fmla="*/ 761017 w 1132638"/>
              <a:gd name="connsiteY12" fmla="*/ 1785878 h 1944515"/>
              <a:gd name="connsiteX13" fmla="*/ 639719 w 1132638"/>
              <a:gd name="connsiteY13" fmla="*/ 1813870 h 1944515"/>
              <a:gd name="connsiteX14" fmla="*/ 630388 w 1132638"/>
              <a:gd name="connsiteY14" fmla="*/ 1645919 h 1944515"/>
              <a:gd name="connsiteX15" fmla="*/ 733025 w 1132638"/>
              <a:gd name="connsiteY15" fmla="*/ 1412653 h 1944515"/>
              <a:gd name="connsiteX16" fmla="*/ 705033 w 1132638"/>
              <a:gd name="connsiteY16" fmla="*/ 1198049 h 1944515"/>
              <a:gd name="connsiteX17" fmla="*/ 593066 w 1132638"/>
              <a:gd name="connsiteY17" fmla="*/ 787502 h 1944515"/>
              <a:gd name="connsiteX18" fmla="*/ 443776 w 1132638"/>
              <a:gd name="connsiteY18" fmla="*/ 1160727 h 1944515"/>
              <a:gd name="connsiteX19" fmla="*/ 434445 w 1132638"/>
              <a:gd name="connsiteY19" fmla="*/ 1496629 h 1944515"/>
              <a:gd name="connsiteX20" fmla="*/ 527751 w 1132638"/>
              <a:gd name="connsiteY20" fmla="*/ 1673911 h 1944515"/>
              <a:gd name="connsiteX21" fmla="*/ 546412 w 1132638"/>
              <a:gd name="connsiteY21" fmla="*/ 1804539 h 1944515"/>
              <a:gd name="connsiteX22" fmla="*/ 247833 w 1132638"/>
              <a:gd name="connsiteY22" fmla="*/ 1608596 h 1944515"/>
              <a:gd name="connsiteX23" fmla="*/ 98543 w 1132638"/>
              <a:gd name="connsiteY23" fmla="*/ 1170057 h 1944515"/>
              <a:gd name="connsiteX24" fmla="*/ 89212 w 1132638"/>
              <a:gd name="connsiteY24" fmla="*/ 731519 h 1944515"/>
              <a:gd name="connsiteX25" fmla="*/ 293442 w 1132638"/>
              <a:gd name="connsiteY25" fmla="*/ 60818 h 1944515"/>
              <a:gd name="connsiteX0" fmla="*/ 293442 w 1132638"/>
              <a:gd name="connsiteY0" fmla="*/ 60818 h 1944515"/>
              <a:gd name="connsiteX1" fmla="*/ 8642 w 1132638"/>
              <a:gd name="connsiteY1" fmla="*/ 718746 h 1944515"/>
              <a:gd name="connsiteX2" fmla="*/ 28696 w 1132638"/>
              <a:gd name="connsiteY2" fmla="*/ 1314454 h 1944515"/>
              <a:gd name="connsiteX3" fmla="*/ 259567 w 1132638"/>
              <a:gd name="connsiteY3" fmla="*/ 1821693 h 1944515"/>
              <a:gd name="connsiteX4" fmla="*/ 555743 w 1132638"/>
              <a:gd name="connsiteY4" fmla="*/ 1935168 h 1944515"/>
              <a:gd name="connsiteX5" fmla="*/ 817000 w 1132638"/>
              <a:gd name="connsiteY5" fmla="*/ 1869853 h 1944515"/>
              <a:gd name="connsiteX6" fmla="*/ 1082476 w 1132638"/>
              <a:gd name="connsiteY6" fmla="*/ 1333716 h 1944515"/>
              <a:gd name="connsiteX7" fmla="*/ 1104201 w 1132638"/>
              <a:gd name="connsiteY7" fmla="*/ 724111 h 1944515"/>
              <a:gd name="connsiteX8" fmla="*/ 773086 w 1132638"/>
              <a:gd name="connsiteY8" fmla="*/ 803 h 1944515"/>
              <a:gd name="connsiteX9" fmla="*/ 962842 w 1132638"/>
              <a:gd name="connsiteY9" fmla="*/ 650941 h 1944515"/>
              <a:gd name="connsiteX10" fmla="*/ 1011575 w 1132638"/>
              <a:gd name="connsiteY10" fmla="*/ 1031389 h 1944515"/>
              <a:gd name="connsiteX11" fmla="*/ 956959 w 1132638"/>
              <a:gd name="connsiteY11" fmla="*/ 1552613 h 1944515"/>
              <a:gd name="connsiteX12" fmla="*/ 761017 w 1132638"/>
              <a:gd name="connsiteY12" fmla="*/ 1785878 h 1944515"/>
              <a:gd name="connsiteX13" fmla="*/ 639719 w 1132638"/>
              <a:gd name="connsiteY13" fmla="*/ 1813870 h 1944515"/>
              <a:gd name="connsiteX14" fmla="*/ 630388 w 1132638"/>
              <a:gd name="connsiteY14" fmla="*/ 1645919 h 1944515"/>
              <a:gd name="connsiteX15" fmla="*/ 733025 w 1132638"/>
              <a:gd name="connsiteY15" fmla="*/ 1412653 h 1944515"/>
              <a:gd name="connsiteX16" fmla="*/ 705033 w 1132638"/>
              <a:gd name="connsiteY16" fmla="*/ 1198049 h 1944515"/>
              <a:gd name="connsiteX17" fmla="*/ 593066 w 1132638"/>
              <a:gd name="connsiteY17" fmla="*/ 787502 h 1944515"/>
              <a:gd name="connsiteX18" fmla="*/ 443776 w 1132638"/>
              <a:gd name="connsiteY18" fmla="*/ 1160727 h 1944515"/>
              <a:gd name="connsiteX19" fmla="*/ 434445 w 1132638"/>
              <a:gd name="connsiteY19" fmla="*/ 1496629 h 1944515"/>
              <a:gd name="connsiteX20" fmla="*/ 527751 w 1132638"/>
              <a:gd name="connsiteY20" fmla="*/ 1673911 h 1944515"/>
              <a:gd name="connsiteX21" fmla="*/ 546412 w 1132638"/>
              <a:gd name="connsiteY21" fmla="*/ 1804539 h 1944515"/>
              <a:gd name="connsiteX22" fmla="*/ 247833 w 1132638"/>
              <a:gd name="connsiteY22" fmla="*/ 1608596 h 1944515"/>
              <a:gd name="connsiteX23" fmla="*/ 98543 w 1132638"/>
              <a:gd name="connsiteY23" fmla="*/ 1170057 h 1944515"/>
              <a:gd name="connsiteX24" fmla="*/ 89212 w 1132638"/>
              <a:gd name="connsiteY24" fmla="*/ 731519 h 1944515"/>
              <a:gd name="connsiteX25" fmla="*/ 293442 w 1132638"/>
              <a:gd name="connsiteY25" fmla="*/ 60818 h 1944515"/>
              <a:gd name="connsiteX0" fmla="*/ 293442 w 1132638"/>
              <a:gd name="connsiteY0" fmla="*/ 60818 h 1944515"/>
              <a:gd name="connsiteX1" fmla="*/ 8642 w 1132638"/>
              <a:gd name="connsiteY1" fmla="*/ 718746 h 1944515"/>
              <a:gd name="connsiteX2" fmla="*/ 28696 w 1132638"/>
              <a:gd name="connsiteY2" fmla="*/ 1314454 h 1944515"/>
              <a:gd name="connsiteX3" fmla="*/ 259567 w 1132638"/>
              <a:gd name="connsiteY3" fmla="*/ 1821693 h 1944515"/>
              <a:gd name="connsiteX4" fmla="*/ 555743 w 1132638"/>
              <a:gd name="connsiteY4" fmla="*/ 1935168 h 1944515"/>
              <a:gd name="connsiteX5" fmla="*/ 817000 w 1132638"/>
              <a:gd name="connsiteY5" fmla="*/ 1869853 h 1944515"/>
              <a:gd name="connsiteX6" fmla="*/ 1082476 w 1132638"/>
              <a:gd name="connsiteY6" fmla="*/ 1333716 h 1944515"/>
              <a:gd name="connsiteX7" fmla="*/ 1104201 w 1132638"/>
              <a:gd name="connsiteY7" fmla="*/ 724111 h 1944515"/>
              <a:gd name="connsiteX8" fmla="*/ 773086 w 1132638"/>
              <a:gd name="connsiteY8" fmla="*/ 803 h 1944515"/>
              <a:gd name="connsiteX9" fmla="*/ 962842 w 1132638"/>
              <a:gd name="connsiteY9" fmla="*/ 650941 h 1944515"/>
              <a:gd name="connsiteX10" fmla="*/ 1011575 w 1132638"/>
              <a:gd name="connsiteY10" fmla="*/ 1031389 h 1944515"/>
              <a:gd name="connsiteX11" fmla="*/ 956959 w 1132638"/>
              <a:gd name="connsiteY11" fmla="*/ 1552613 h 1944515"/>
              <a:gd name="connsiteX12" fmla="*/ 761017 w 1132638"/>
              <a:gd name="connsiteY12" fmla="*/ 1785878 h 1944515"/>
              <a:gd name="connsiteX13" fmla="*/ 639719 w 1132638"/>
              <a:gd name="connsiteY13" fmla="*/ 1813870 h 1944515"/>
              <a:gd name="connsiteX14" fmla="*/ 630388 w 1132638"/>
              <a:gd name="connsiteY14" fmla="*/ 1645919 h 1944515"/>
              <a:gd name="connsiteX15" fmla="*/ 733025 w 1132638"/>
              <a:gd name="connsiteY15" fmla="*/ 1412653 h 1944515"/>
              <a:gd name="connsiteX16" fmla="*/ 705033 w 1132638"/>
              <a:gd name="connsiteY16" fmla="*/ 1198049 h 1944515"/>
              <a:gd name="connsiteX17" fmla="*/ 593066 w 1132638"/>
              <a:gd name="connsiteY17" fmla="*/ 787502 h 1944515"/>
              <a:gd name="connsiteX18" fmla="*/ 443776 w 1132638"/>
              <a:gd name="connsiteY18" fmla="*/ 1160727 h 1944515"/>
              <a:gd name="connsiteX19" fmla="*/ 434445 w 1132638"/>
              <a:gd name="connsiteY19" fmla="*/ 1496629 h 1944515"/>
              <a:gd name="connsiteX20" fmla="*/ 527751 w 1132638"/>
              <a:gd name="connsiteY20" fmla="*/ 1673911 h 1944515"/>
              <a:gd name="connsiteX21" fmla="*/ 546412 w 1132638"/>
              <a:gd name="connsiteY21" fmla="*/ 1804539 h 1944515"/>
              <a:gd name="connsiteX22" fmla="*/ 247833 w 1132638"/>
              <a:gd name="connsiteY22" fmla="*/ 1608596 h 1944515"/>
              <a:gd name="connsiteX23" fmla="*/ 98543 w 1132638"/>
              <a:gd name="connsiteY23" fmla="*/ 1170057 h 1944515"/>
              <a:gd name="connsiteX24" fmla="*/ 139546 w 1132638"/>
              <a:gd name="connsiteY24" fmla="*/ 755862 h 1944515"/>
              <a:gd name="connsiteX25" fmla="*/ 293442 w 1132638"/>
              <a:gd name="connsiteY25" fmla="*/ 60818 h 1944515"/>
              <a:gd name="connsiteX0" fmla="*/ 293442 w 1132638"/>
              <a:gd name="connsiteY0" fmla="*/ 60818 h 1944515"/>
              <a:gd name="connsiteX1" fmla="*/ 8642 w 1132638"/>
              <a:gd name="connsiteY1" fmla="*/ 718746 h 1944515"/>
              <a:gd name="connsiteX2" fmla="*/ 28696 w 1132638"/>
              <a:gd name="connsiteY2" fmla="*/ 1314454 h 1944515"/>
              <a:gd name="connsiteX3" fmla="*/ 259567 w 1132638"/>
              <a:gd name="connsiteY3" fmla="*/ 1821693 h 1944515"/>
              <a:gd name="connsiteX4" fmla="*/ 555743 w 1132638"/>
              <a:gd name="connsiteY4" fmla="*/ 1935168 h 1944515"/>
              <a:gd name="connsiteX5" fmla="*/ 817000 w 1132638"/>
              <a:gd name="connsiteY5" fmla="*/ 1869853 h 1944515"/>
              <a:gd name="connsiteX6" fmla="*/ 1082476 w 1132638"/>
              <a:gd name="connsiteY6" fmla="*/ 1333716 h 1944515"/>
              <a:gd name="connsiteX7" fmla="*/ 1104201 w 1132638"/>
              <a:gd name="connsiteY7" fmla="*/ 724111 h 1944515"/>
              <a:gd name="connsiteX8" fmla="*/ 773086 w 1132638"/>
              <a:gd name="connsiteY8" fmla="*/ 803 h 1944515"/>
              <a:gd name="connsiteX9" fmla="*/ 962842 w 1132638"/>
              <a:gd name="connsiteY9" fmla="*/ 650941 h 1944515"/>
              <a:gd name="connsiteX10" fmla="*/ 1011575 w 1132638"/>
              <a:gd name="connsiteY10" fmla="*/ 1031389 h 1944515"/>
              <a:gd name="connsiteX11" fmla="*/ 956959 w 1132638"/>
              <a:gd name="connsiteY11" fmla="*/ 1552613 h 1944515"/>
              <a:gd name="connsiteX12" fmla="*/ 761017 w 1132638"/>
              <a:gd name="connsiteY12" fmla="*/ 1785878 h 1944515"/>
              <a:gd name="connsiteX13" fmla="*/ 639719 w 1132638"/>
              <a:gd name="connsiteY13" fmla="*/ 1813870 h 1944515"/>
              <a:gd name="connsiteX14" fmla="*/ 630388 w 1132638"/>
              <a:gd name="connsiteY14" fmla="*/ 1645919 h 1944515"/>
              <a:gd name="connsiteX15" fmla="*/ 733025 w 1132638"/>
              <a:gd name="connsiteY15" fmla="*/ 1412653 h 1944515"/>
              <a:gd name="connsiteX16" fmla="*/ 705033 w 1132638"/>
              <a:gd name="connsiteY16" fmla="*/ 1198049 h 1944515"/>
              <a:gd name="connsiteX17" fmla="*/ 593066 w 1132638"/>
              <a:gd name="connsiteY17" fmla="*/ 787502 h 1944515"/>
              <a:gd name="connsiteX18" fmla="*/ 443776 w 1132638"/>
              <a:gd name="connsiteY18" fmla="*/ 1160727 h 1944515"/>
              <a:gd name="connsiteX19" fmla="*/ 434445 w 1132638"/>
              <a:gd name="connsiteY19" fmla="*/ 1496629 h 1944515"/>
              <a:gd name="connsiteX20" fmla="*/ 527751 w 1132638"/>
              <a:gd name="connsiteY20" fmla="*/ 1673911 h 1944515"/>
              <a:gd name="connsiteX21" fmla="*/ 546412 w 1132638"/>
              <a:gd name="connsiteY21" fmla="*/ 1804539 h 1944515"/>
              <a:gd name="connsiteX22" fmla="*/ 247833 w 1132638"/>
              <a:gd name="connsiteY22" fmla="*/ 1608596 h 1944515"/>
              <a:gd name="connsiteX23" fmla="*/ 98543 w 1132638"/>
              <a:gd name="connsiteY23" fmla="*/ 1170057 h 1944515"/>
              <a:gd name="connsiteX24" fmla="*/ 139546 w 1132638"/>
              <a:gd name="connsiteY24" fmla="*/ 755862 h 1944515"/>
              <a:gd name="connsiteX25" fmla="*/ 293442 w 1132638"/>
              <a:gd name="connsiteY25" fmla="*/ 60818 h 1944515"/>
              <a:gd name="connsiteX0" fmla="*/ 293442 w 1132638"/>
              <a:gd name="connsiteY0" fmla="*/ 60818 h 1944515"/>
              <a:gd name="connsiteX1" fmla="*/ 8642 w 1132638"/>
              <a:gd name="connsiteY1" fmla="*/ 718746 h 1944515"/>
              <a:gd name="connsiteX2" fmla="*/ 28696 w 1132638"/>
              <a:gd name="connsiteY2" fmla="*/ 1314454 h 1944515"/>
              <a:gd name="connsiteX3" fmla="*/ 259567 w 1132638"/>
              <a:gd name="connsiteY3" fmla="*/ 1821693 h 1944515"/>
              <a:gd name="connsiteX4" fmla="*/ 555743 w 1132638"/>
              <a:gd name="connsiteY4" fmla="*/ 1935168 h 1944515"/>
              <a:gd name="connsiteX5" fmla="*/ 817000 w 1132638"/>
              <a:gd name="connsiteY5" fmla="*/ 1869853 h 1944515"/>
              <a:gd name="connsiteX6" fmla="*/ 1082476 w 1132638"/>
              <a:gd name="connsiteY6" fmla="*/ 1333716 h 1944515"/>
              <a:gd name="connsiteX7" fmla="*/ 1104201 w 1132638"/>
              <a:gd name="connsiteY7" fmla="*/ 724111 h 1944515"/>
              <a:gd name="connsiteX8" fmla="*/ 773086 w 1132638"/>
              <a:gd name="connsiteY8" fmla="*/ 803 h 1944515"/>
              <a:gd name="connsiteX9" fmla="*/ 962842 w 1132638"/>
              <a:gd name="connsiteY9" fmla="*/ 650941 h 1944515"/>
              <a:gd name="connsiteX10" fmla="*/ 1011575 w 1132638"/>
              <a:gd name="connsiteY10" fmla="*/ 1031389 h 1944515"/>
              <a:gd name="connsiteX11" fmla="*/ 956959 w 1132638"/>
              <a:gd name="connsiteY11" fmla="*/ 1552613 h 1944515"/>
              <a:gd name="connsiteX12" fmla="*/ 761017 w 1132638"/>
              <a:gd name="connsiteY12" fmla="*/ 1785878 h 1944515"/>
              <a:gd name="connsiteX13" fmla="*/ 639719 w 1132638"/>
              <a:gd name="connsiteY13" fmla="*/ 1813870 h 1944515"/>
              <a:gd name="connsiteX14" fmla="*/ 630388 w 1132638"/>
              <a:gd name="connsiteY14" fmla="*/ 1645919 h 1944515"/>
              <a:gd name="connsiteX15" fmla="*/ 733025 w 1132638"/>
              <a:gd name="connsiteY15" fmla="*/ 1412653 h 1944515"/>
              <a:gd name="connsiteX16" fmla="*/ 705033 w 1132638"/>
              <a:gd name="connsiteY16" fmla="*/ 1198049 h 1944515"/>
              <a:gd name="connsiteX17" fmla="*/ 593066 w 1132638"/>
              <a:gd name="connsiteY17" fmla="*/ 787502 h 1944515"/>
              <a:gd name="connsiteX18" fmla="*/ 443776 w 1132638"/>
              <a:gd name="connsiteY18" fmla="*/ 1160727 h 1944515"/>
              <a:gd name="connsiteX19" fmla="*/ 434445 w 1132638"/>
              <a:gd name="connsiteY19" fmla="*/ 1496629 h 1944515"/>
              <a:gd name="connsiteX20" fmla="*/ 527751 w 1132638"/>
              <a:gd name="connsiteY20" fmla="*/ 1673911 h 1944515"/>
              <a:gd name="connsiteX21" fmla="*/ 546412 w 1132638"/>
              <a:gd name="connsiteY21" fmla="*/ 1804539 h 1944515"/>
              <a:gd name="connsiteX22" fmla="*/ 247833 w 1132638"/>
              <a:gd name="connsiteY22" fmla="*/ 1608596 h 1944515"/>
              <a:gd name="connsiteX23" fmla="*/ 139546 w 1132638"/>
              <a:gd name="connsiteY23" fmla="*/ 755862 h 1944515"/>
              <a:gd name="connsiteX24" fmla="*/ 293442 w 1132638"/>
              <a:gd name="connsiteY24" fmla="*/ 60818 h 1944515"/>
              <a:gd name="connsiteX0" fmla="*/ 293442 w 1132638"/>
              <a:gd name="connsiteY0" fmla="*/ 60818 h 1944515"/>
              <a:gd name="connsiteX1" fmla="*/ 8642 w 1132638"/>
              <a:gd name="connsiteY1" fmla="*/ 718746 h 1944515"/>
              <a:gd name="connsiteX2" fmla="*/ 28696 w 1132638"/>
              <a:gd name="connsiteY2" fmla="*/ 1314454 h 1944515"/>
              <a:gd name="connsiteX3" fmla="*/ 259567 w 1132638"/>
              <a:gd name="connsiteY3" fmla="*/ 1821693 h 1944515"/>
              <a:gd name="connsiteX4" fmla="*/ 555743 w 1132638"/>
              <a:gd name="connsiteY4" fmla="*/ 1935168 h 1944515"/>
              <a:gd name="connsiteX5" fmla="*/ 817000 w 1132638"/>
              <a:gd name="connsiteY5" fmla="*/ 1869853 h 1944515"/>
              <a:gd name="connsiteX6" fmla="*/ 1082476 w 1132638"/>
              <a:gd name="connsiteY6" fmla="*/ 1333716 h 1944515"/>
              <a:gd name="connsiteX7" fmla="*/ 1104201 w 1132638"/>
              <a:gd name="connsiteY7" fmla="*/ 724111 h 1944515"/>
              <a:gd name="connsiteX8" fmla="*/ 773086 w 1132638"/>
              <a:gd name="connsiteY8" fmla="*/ 803 h 1944515"/>
              <a:gd name="connsiteX9" fmla="*/ 962842 w 1132638"/>
              <a:gd name="connsiteY9" fmla="*/ 650941 h 1944515"/>
              <a:gd name="connsiteX10" fmla="*/ 1011575 w 1132638"/>
              <a:gd name="connsiteY10" fmla="*/ 1031389 h 1944515"/>
              <a:gd name="connsiteX11" fmla="*/ 956959 w 1132638"/>
              <a:gd name="connsiteY11" fmla="*/ 1552613 h 1944515"/>
              <a:gd name="connsiteX12" fmla="*/ 761017 w 1132638"/>
              <a:gd name="connsiteY12" fmla="*/ 1785878 h 1944515"/>
              <a:gd name="connsiteX13" fmla="*/ 639719 w 1132638"/>
              <a:gd name="connsiteY13" fmla="*/ 1813870 h 1944515"/>
              <a:gd name="connsiteX14" fmla="*/ 630388 w 1132638"/>
              <a:gd name="connsiteY14" fmla="*/ 1645919 h 1944515"/>
              <a:gd name="connsiteX15" fmla="*/ 733025 w 1132638"/>
              <a:gd name="connsiteY15" fmla="*/ 1412653 h 1944515"/>
              <a:gd name="connsiteX16" fmla="*/ 705033 w 1132638"/>
              <a:gd name="connsiteY16" fmla="*/ 1198049 h 1944515"/>
              <a:gd name="connsiteX17" fmla="*/ 593066 w 1132638"/>
              <a:gd name="connsiteY17" fmla="*/ 787502 h 1944515"/>
              <a:gd name="connsiteX18" fmla="*/ 443776 w 1132638"/>
              <a:gd name="connsiteY18" fmla="*/ 1160727 h 1944515"/>
              <a:gd name="connsiteX19" fmla="*/ 434445 w 1132638"/>
              <a:gd name="connsiteY19" fmla="*/ 1496629 h 1944515"/>
              <a:gd name="connsiteX20" fmla="*/ 527751 w 1132638"/>
              <a:gd name="connsiteY20" fmla="*/ 1673911 h 1944515"/>
              <a:gd name="connsiteX21" fmla="*/ 546412 w 1132638"/>
              <a:gd name="connsiteY21" fmla="*/ 1804539 h 1944515"/>
              <a:gd name="connsiteX22" fmla="*/ 247832 w 1132638"/>
              <a:gd name="connsiteY22" fmla="*/ 1608597 h 1944515"/>
              <a:gd name="connsiteX23" fmla="*/ 139546 w 1132638"/>
              <a:gd name="connsiteY23" fmla="*/ 755862 h 1944515"/>
              <a:gd name="connsiteX24" fmla="*/ 293442 w 1132638"/>
              <a:gd name="connsiteY24" fmla="*/ 60818 h 1944515"/>
              <a:gd name="connsiteX0" fmla="*/ 293442 w 1132638"/>
              <a:gd name="connsiteY0" fmla="*/ 60818 h 1944515"/>
              <a:gd name="connsiteX1" fmla="*/ 8642 w 1132638"/>
              <a:gd name="connsiteY1" fmla="*/ 718746 h 1944515"/>
              <a:gd name="connsiteX2" fmla="*/ 28696 w 1132638"/>
              <a:gd name="connsiteY2" fmla="*/ 1314454 h 1944515"/>
              <a:gd name="connsiteX3" fmla="*/ 259567 w 1132638"/>
              <a:gd name="connsiteY3" fmla="*/ 1821693 h 1944515"/>
              <a:gd name="connsiteX4" fmla="*/ 555743 w 1132638"/>
              <a:gd name="connsiteY4" fmla="*/ 1935168 h 1944515"/>
              <a:gd name="connsiteX5" fmla="*/ 817000 w 1132638"/>
              <a:gd name="connsiteY5" fmla="*/ 1869853 h 1944515"/>
              <a:gd name="connsiteX6" fmla="*/ 1082476 w 1132638"/>
              <a:gd name="connsiteY6" fmla="*/ 1333716 h 1944515"/>
              <a:gd name="connsiteX7" fmla="*/ 1104201 w 1132638"/>
              <a:gd name="connsiteY7" fmla="*/ 724111 h 1944515"/>
              <a:gd name="connsiteX8" fmla="*/ 773086 w 1132638"/>
              <a:gd name="connsiteY8" fmla="*/ 803 h 1944515"/>
              <a:gd name="connsiteX9" fmla="*/ 962842 w 1132638"/>
              <a:gd name="connsiteY9" fmla="*/ 650941 h 1944515"/>
              <a:gd name="connsiteX10" fmla="*/ 1011575 w 1132638"/>
              <a:gd name="connsiteY10" fmla="*/ 1031389 h 1944515"/>
              <a:gd name="connsiteX11" fmla="*/ 956959 w 1132638"/>
              <a:gd name="connsiteY11" fmla="*/ 1552613 h 1944515"/>
              <a:gd name="connsiteX12" fmla="*/ 761017 w 1132638"/>
              <a:gd name="connsiteY12" fmla="*/ 1785878 h 1944515"/>
              <a:gd name="connsiteX13" fmla="*/ 639719 w 1132638"/>
              <a:gd name="connsiteY13" fmla="*/ 1813870 h 1944515"/>
              <a:gd name="connsiteX14" fmla="*/ 630388 w 1132638"/>
              <a:gd name="connsiteY14" fmla="*/ 1645919 h 1944515"/>
              <a:gd name="connsiteX15" fmla="*/ 733025 w 1132638"/>
              <a:gd name="connsiteY15" fmla="*/ 1412653 h 1944515"/>
              <a:gd name="connsiteX16" fmla="*/ 705033 w 1132638"/>
              <a:gd name="connsiteY16" fmla="*/ 1198049 h 1944515"/>
              <a:gd name="connsiteX17" fmla="*/ 593066 w 1132638"/>
              <a:gd name="connsiteY17" fmla="*/ 787502 h 1944515"/>
              <a:gd name="connsiteX18" fmla="*/ 443776 w 1132638"/>
              <a:gd name="connsiteY18" fmla="*/ 1160727 h 1944515"/>
              <a:gd name="connsiteX19" fmla="*/ 434445 w 1132638"/>
              <a:gd name="connsiteY19" fmla="*/ 1496629 h 1944515"/>
              <a:gd name="connsiteX20" fmla="*/ 527751 w 1132638"/>
              <a:gd name="connsiteY20" fmla="*/ 1673911 h 1944515"/>
              <a:gd name="connsiteX21" fmla="*/ 546412 w 1132638"/>
              <a:gd name="connsiteY21" fmla="*/ 1804539 h 1944515"/>
              <a:gd name="connsiteX22" fmla="*/ 247832 w 1132638"/>
              <a:gd name="connsiteY22" fmla="*/ 1608597 h 1944515"/>
              <a:gd name="connsiteX23" fmla="*/ 139546 w 1132638"/>
              <a:gd name="connsiteY23" fmla="*/ 755862 h 1944515"/>
              <a:gd name="connsiteX24" fmla="*/ 293442 w 1132638"/>
              <a:gd name="connsiteY24" fmla="*/ 60818 h 1944515"/>
              <a:gd name="connsiteX0" fmla="*/ 293442 w 1132638"/>
              <a:gd name="connsiteY0" fmla="*/ 60818 h 1944515"/>
              <a:gd name="connsiteX1" fmla="*/ 8642 w 1132638"/>
              <a:gd name="connsiteY1" fmla="*/ 718746 h 1944515"/>
              <a:gd name="connsiteX2" fmla="*/ 28696 w 1132638"/>
              <a:gd name="connsiteY2" fmla="*/ 1314454 h 1944515"/>
              <a:gd name="connsiteX3" fmla="*/ 259567 w 1132638"/>
              <a:gd name="connsiteY3" fmla="*/ 1821693 h 1944515"/>
              <a:gd name="connsiteX4" fmla="*/ 555743 w 1132638"/>
              <a:gd name="connsiteY4" fmla="*/ 1935168 h 1944515"/>
              <a:gd name="connsiteX5" fmla="*/ 817000 w 1132638"/>
              <a:gd name="connsiteY5" fmla="*/ 1869853 h 1944515"/>
              <a:gd name="connsiteX6" fmla="*/ 1082476 w 1132638"/>
              <a:gd name="connsiteY6" fmla="*/ 1333716 h 1944515"/>
              <a:gd name="connsiteX7" fmla="*/ 1104201 w 1132638"/>
              <a:gd name="connsiteY7" fmla="*/ 724111 h 1944515"/>
              <a:gd name="connsiteX8" fmla="*/ 773086 w 1132638"/>
              <a:gd name="connsiteY8" fmla="*/ 803 h 1944515"/>
              <a:gd name="connsiteX9" fmla="*/ 962842 w 1132638"/>
              <a:gd name="connsiteY9" fmla="*/ 650941 h 1944515"/>
              <a:gd name="connsiteX10" fmla="*/ 1011575 w 1132638"/>
              <a:gd name="connsiteY10" fmla="*/ 1031389 h 1944515"/>
              <a:gd name="connsiteX11" fmla="*/ 956959 w 1132638"/>
              <a:gd name="connsiteY11" fmla="*/ 1552613 h 1944515"/>
              <a:gd name="connsiteX12" fmla="*/ 761017 w 1132638"/>
              <a:gd name="connsiteY12" fmla="*/ 1785878 h 1944515"/>
              <a:gd name="connsiteX13" fmla="*/ 639719 w 1132638"/>
              <a:gd name="connsiteY13" fmla="*/ 1813870 h 1944515"/>
              <a:gd name="connsiteX14" fmla="*/ 630388 w 1132638"/>
              <a:gd name="connsiteY14" fmla="*/ 1645919 h 1944515"/>
              <a:gd name="connsiteX15" fmla="*/ 733025 w 1132638"/>
              <a:gd name="connsiteY15" fmla="*/ 1412653 h 1944515"/>
              <a:gd name="connsiteX16" fmla="*/ 705033 w 1132638"/>
              <a:gd name="connsiteY16" fmla="*/ 1198049 h 1944515"/>
              <a:gd name="connsiteX17" fmla="*/ 593066 w 1132638"/>
              <a:gd name="connsiteY17" fmla="*/ 787502 h 1944515"/>
              <a:gd name="connsiteX18" fmla="*/ 443776 w 1132638"/>
              <a:gd name="connsiteY18" fmla="*/ 1160727 h 1944515"/>
              <a:gd name="connsiteX19" fmla="*/ 434445 w 1132638"/>
              <a:gd name="connsiteY19" fmla="*/ 1496629 h 1944515"/>
              <a:gd name="connsiteX20" fmla="*/ 527751 w 1132638"/>
              <a:gd name="connsiteY20" fmla="*/ 1673911 h 1944515"/>
              <a:gd name="connsiteX21" fmla="*/ 546412 w 1132638"/>
              <a:gd name="connsiteY21" fmla="*/ 1804539 h 1944515"/>
              <a:gd name="connsiteX22" fmla="*/ 215990 w 1132638"/>
              <a:gd name="connsiteY22" fmla="*/ 1528423 h 1944515"/>
              <a:gd name="connsiteX23" fmla="*/ 139546 w 1132638"/>
              <a:gd name="connsiteY23" fmla="*/ 755862 h 1944515"/>
              <a:gd name="connsiteX24" fmla="*/ 293442 w 1132638"/>
              <a:gd name="connsiteY24" fmla="*/ 60818 h 1944515"/>
              <a:gd name="connsiteX0" fmla="*/ 293442 w 1132638"/>
              <a:gd name="connsiteY0" fmla="*/ 60818 h 1944515"/>
              <a:gd name="connsiteX1" fmla="*/ 8642 w 1132638"/>
              <a:gd name="connsiteY1" fmla="*/ 718746 h 1944515"/>
              <a:gd name="connsiteX2" fmla="*/ 28696 w 1132638"/>
              <a:gd name="connsiteY2" fmla="*/ 1314454 h 1944515"/>
              <a:gd name="connsiteX3" fmla="*/ 259567 w 1132638"/>
              <a:gd name="connsiteY3" fmla="*/ 1821693 h 1944515"/>
              <a:gd name="connsiteX4" fmla="*/ 555743 w 1132638"/>
              <a:gd name="connsiteY4" fmla="*/ 1935168 h 1944515"/>
              <a:gd name="connsiteX5" fmla="*/ 817000 w 1132638"/>
              <a:gd name="connsiteY5" fmla="*/ 1869853 h 1944515"/>
              <a:gd name="connsiteX6" fmla="*/ 1082476 w 1132638"/>
              <a:gd name="connsiteY6" fmla="*/ 1333716 h 1944515"/>
              <a:gd name="connsiteX7" fmla="*/ 1104201 w 1132638"/>
              <a:gd name="connsiteY7" fmla="*/ 724111 h 1944515"/>
              <a:gd name="connsiteX8" fmla="*/ 773086 w 1132638"/>
              <a:gd name="connsiteY8" fmla="*/ 803 h 1944515"/>
              <a:gd name="connsiteX9" fmla="*/ 962842 w 1132638"/>
              <a:gd name="connsiteY9" fmla="*/ 650941 h 1944515"/>
              <a:gd name="connsiteX10" fmla="*/ 1011575 w 1132638"/>
              <a:gd name="connsiteY10" fmla="*/ 1031389 h 1944515"/>
              <a:gd name="connsiteX11" fmla="*/ 916706 w 1132638"/>
              <a:gd name="connsiteY11" fmla="*/ 1508857 h 1944515"/>
              <a:gd name="connsiteX12" fmla="*/ 761017 w 1132638"/>
              <a:gd name="connsiteY12" fmla="*/ 1785878 h 1944515"/>
              <a:gd name="connsiteX13" fmla="*/ 639719 w 1132638"/>
              <a:gd name="connsiteY13" fmla="*/ 1813870 h 1944515"/>
              <a:gd name="connsiteX14" fmla="*/ 630388 w 1132638"/>
              <a:gd name="connsiteY14" fmla="*/ 1645919 h 1944515"/>
              <a:gd name="connsiteX15" fmla="*/ 733025 w 1132638"/>
              <a:gd name="connsiteY15" fmla="*/ 1412653 h 1944515"/>
              <a:gd name="connsiteX16" fmla="*/ 705033 w 1132638"/>
              <a:gd name="connsiteY16" fmla="*/ 1198049 h 1944515"/>
              <a:gd name="connsiteX17" fmla="*/ 593066 w 1132638"/>
              <a:gd name="connsiteY17" fmla="*/ 787502 h 1944515"/>
              <a:gd name="connsiteX18" fmla="*/ 443776 w 1132638"/>
              <a:gd name="connsiteY18" fmla="*/ 1160727 h 1944515"/>
              <a:gd name="connsiteX19" fmla="*/ 434445 w 1132638"/>
              <a:gd name="connsiteY19" fmla="*/ 1496629 h 1944515"/>
              <a:gd name="connsiteX20" fmla="*/ 527751 w 1132638"/>
              <a:gd name="connsiteY20" fmla="*/ 1673911 h 1944515"/>
              <a:gd name="connsiteX21" fmla="*/ 546412 w 1132638"/>
              <a:gd name="connsiteY21" fmla="*/ 1804539 h 1944515"/>
              <a:gd name="connsiteX22" fmla="*/ 215990 w 1132638"/>
              <a:gd name="connsiteY22" fmla="*/ 1528423 h 1944515"/>
              <a:gd name="connsiteX23" fmla="*/ 139546 w 1132638"/>
              <a:gd name="connsiteY23" fmla="*/ 755862 h 1944515"/>
              <a:gd name="connsiteX24" fmla="*/ 293442 w 1132638"/>
              <a:gd name="connsiteY24" fmla="*/ 60818 h 1944515"/>
              <a:gd name="connsiteX0" fmla="*/ 371093 w 1210289"/>
              <a:gd name="connsiteY0" fmla="*/ 60818 h 1944515"/>
              <a:gd name="connsiteX1" fmla="*/ 711 w 1210289"/>
              <a:gd name="connsiteY1" fmla="*/ 701647 h 1944515"/>
              <a:gd name="connsiteX2" fmla="*/ 106347 w 1210289"/>
              <a:gd name="connsiteY2" fmla="*/ 1314454 h 1944515"/>
              <a:gd name="connsiteX3" fmla="*/ 337218 w 1210289"/>
              <a:gd name="connsiteY3" fmla="*/ 1821693 h 1944515"/>
              <a:gd name="connsiteX4" fmla="*/ 633394 w 1210289"/>
              <a:gd name="connsiteY4" fmla="*/ 1935168 h 1944515"/>
              <a:gd name="connsiteX5" fmla="*/ 894651 w 1210289"/>
              <a:gd name="connsiteY5" fmla="*/ 1869853 h 1944515"/>
              <a:gd name="connsiteX6" fmla="*/ 1160127 w 1210289"/>
              <a:gd name="connsiteY6" fmla="*/ 1333716 h 1944515"/>
              <a:gd name="connsiteX7" fmla="*/ 1181852 w 1210289"/>
              <a:gd name="connsiteY7" fmla="*/ 724111 h 1944515"/>
              <a:gd name="connsiteX8" fmla="*/ 850737 w 1210289"/>
              <a:gd name="connsiteY8" fmla="*/ 803 h 1944515"/>
              <a:gd name="connsiteX9" fmla="*/ 1040493 w 1210289"/>
              <a:gd name="connsiteY9" fmla="*/ 650941 h 1944515"/>
              <a:gd name="connsiteX10" fmla="*/ 1089226 w 1210289"/>
              <a:gd name="connsiteY10" fmla="*/ 1031389 h 1944515"/>
              <a:gd name="connsiteX11" fmla="*/ 994357 w 1210289"/>
              <a:gd name="connsiteY11" fmla="*/ 1508857 h 1944515"/>
              <a:gd name="connsiteX12" fmla="*/ 838668 w 1210289"/>
              <a:gd name="connsiteY12" fmla="*/ 1785878 h 1944515"/>
              <a:gd name="connsiteX13" fmla="*/ 717370 w 1210289"/>
              <a:gd name="connsiteY13" fmla="*/ 1813870 h 1944515"/>
              <a:gd name="connsiteX14" fmla="*/ 708039 w 1210289"/>
              <a:gd name="connsiteY14" fmla="*/ 1645919 h 1944515"/>
              <a:gd name="connsiteX15" fmla="*/ 810676 w 1210289"/>
              <a:gd name="connsiteY15" fmla="*/ 1412653 h 1944515"/>
              <a:gd name="connsiteX16" fmla="*/ 782684 w 1210289"/>
              <a:gd name="connsiteY16" fmla="*/ 1198049 h 1944515"/>
              <a:gd name="connsiteX17" fmla="*/ 670717 w 1210289"/>
              <a:gd name="connsiteY17" fmla="*/ 787502 h 1944515"/>
              <a:gd name="connsiteX18" fmla="*/ 521427 w 1210289"/>
              <a:gd name="connsiteY18" fmla="*/ 1160727 h 1944515"/>
              <a:gd name="connsiteX19" fmla="*/ 512096 w 1210289"/>
              <a:gd name="connsiteY19" fmla="*/ 1496629 h 1944515"/>
              <a:gd name="connsiteX20" fmla="*/ 605402 w 1210289"/>
              <a:gd name="connsiteY20" fmla="*/ 1673911 h 1944515"/>
              <a:gd name="connsiteX21" fmla="*/ 624063 w 1210289"/>
              <a:gd name="connsiteY21" fmla="*/ 1804539 h 1944515"/>
              <a:gd name="connsiteX22" fmla="*/ 293641 w 1210289"/>
              <a:gd name="connsiteY22" fmla="*/ 1528423 h 1944515"/>
              <a:gd name="connsiteX23" fmla="*/ 217197 w 1210289"/>
              <a:gd name="connsiteY23" fmla="*/ 755862 h 1944515"/>
              <a:gd name="connsiteX24" fmla="*/ 371093 w 1210289"/>
              <a:gd name="connsiteY24" fmla="*/ 60818 h 1944515"/>
              <a:gd name="connsiteX0" fmla="*/ 373983 w 1213179"/>
              <a:gd name="connsiteY0" fmla="*/ 60818 h 1944515"/>
              <a:gd name="connsiteX1" fmla="*/ 3601 w 1213179"/>
              <a:gd name="connsiteY1" fmla="*/ 701647 h 1944515"/>
              <a:gd name="connsiteX2" fmla="*/ 52161 w 1213179"/>
              <a:gd name="connsiteY2" fmla="*/ 1343529 h 1944515"/>
              <a:gd name="connsiteX3" fmla="*/ 340108 w 1213179"/>
              <a:gd name="connsiteY3" fmla="*/ 1821693 h 1944515"/>
              <a:gd name="connsiteX4" fmla="*/ 636284 w 1213179"/>
              <a:gd name="connsiteY4" fmla="*/ 1935168 h 1944515"/>
              <a:gd name="connsiteX5" fmla="*/ 897541 w 1213179"/>
              <a:gd name="connsiteY5" fmla="*/ 1869853 h 1944515"/>
              <a:gd name="connsiteX6" fmla="*/ 1163017 w 1213179"/>
              <a:gd name="connsiteY6" fmla="*/ 1333716 h 1944515"/>
              <a:gd name="connsiteX7" fmla="*/ 1184742 w 1213179"/>
              <a:gd name="connsiteY7" fmla="*/ 724111 h 1944515"/>
              <a:gd name="connsiteX8" fmla="*/ 853627 w 1213179"/>
              <a:gd name="connsiteY8" fmla="*/ 803 h 1944515"/>
              <a:gd name="connsiteX9" fmla="*/ 1043383 w 1213179"/>
              <a:gd name="connsiteY9" fmla="*/ 650941 h 1944515"/>
              <a:gd name="connsiteX10" fmla="*/ 1092116 w 1213179"/>
              <a:gd name="connsiteY10" fmla="*/ 1031389 h 1944515"/>
              <a:gd name="connsiteX11" fmla="*/ 997247 w 1213179"/>
              <a:gd name="connsiteY11" fmla="*/ 1508857 h 1944515"/>
              <a:gd name="connsiteX12" fmla="*/ 841558 w 1213179"/>
              <a:gd name="connsiteY12" fmla="*/ 1785878 h 1944515"/>
              <a:gd name="connsiteX13" fmla="*/ 720260 w 1213179"/>
              <a:gd name="connsiteY13" fmla="*/ 1813870 h 1944515"/>
              <a:gd name="connsiteX14" fmla="*/ 710929 w 1213179"/>
              <a:gd name="connsiteY14" fmla="*/ 1645919 h 1944515"/>
              <a:gd name="connsiteX15" fmla="*/ 813566 w 1213179"/>
              <a:gd name="connsiteY15" fmla="*/ 1412653 h 1944515"/>
              <a:gd name="connsiteX16" fmla="*/ 785574 w 1213179"/>
              <a:gd name="connsiteY16" fmla="*/ 1198049 h 1944515"/>
              <a:gd name="connsiteX17" fmla="*/ 673607 w 1213179"/>
              <a:gd name="connsiteY17" fmla="*/ 787502 h 1944515"/>
              <a:gd name="connsiteX18" fmla="*/ 524317 w 1213179"/>
              <a:gd name="connsiteY18" fmla="*/ 1160727 h 1944515"/>
              <a:gd name="connsiteX19" fmla="*/ 514986 w 1213179"/>
              <a:gd name="connsiteY19" fmla="*/ 1496629 h 1944515"/>
              <a:gd name="connsiteX20" fmla="*/ 608292 w 1213179"/>
              <a:gd name="connsiteY20" fmla="*/ 1673911 h 1944515"/>
              <a:gd name="connsiteX21" fmla="*/ 626953 w 1213179"/>
              <a:gd name="connsiteY21" fmla="*/ 1804539 h 1944515"/>
              <a:gd name="connsiteX22" fmla="*/ 296531 w 1213179"/>
              <a:gd name="connsiteY22" fmla="*/ 1528423 h 1944515"/>
              <a:gd name="connsiteX23" fmla="*/ 220087 w 1213179"/>
              <a:gd name="connsiteY23" fmla="*/ 755862 h 1944515"/>
              <a:gd name="connsiteX24" fmla="*/ 373983 w 1213179"/>
              <a:gd name="connsiteY24" fmla="*/ 60818 h 1944515"/>
              <a:gd name="connsiteX0" fmla="*/ 373983 w 1213179"/>
              <a:gd name="connsiteY0" fmla="*/ 60818 h 1944515"/>
              <a:gd name="connsiteX1" fmla="*/ 3601 w 1213179"/>
              <a:gd name="connsiteY1" fmla="*/ 701647 h 1944515"/>
              <a:gd name="connsiteX2" fmla="*/ 52161 w 1213179"/>
              <a:gd name="connsiteY2" fmla="*/ 1343529 h 1944515"/>
              <a:gd name="connsiteX3" fmla="*/ 340108 w 1213179"/>
              <a:gd name="connsiteY3" fmla="*/ 1821693 h 1944515"/>
              <a:gd name="connsiteX4" fmla="*/ 636284 w 1213179"/>
              <a:gd name="connsiteY4" fmla="*/ 1935168 h 1944515"/>
              <a:gd name="connsiteX5" fmla="*/ 897541 w 1213179"/>
              <a:gd name="connsiteY5" fmla="*/ 1869853 h 1944515"/>
              <a:gd name="connsiteX6" fmla="*/ 1163017 w 1213179"/>
              <a:gd name="connsiteY6" fmla="*/ 1333716 h 1944515"/>
              <a:gd name="connsiteX7" fmla="*/ 1184742 w 1213179"/>
              <a:gd name="connsiteY7" fmla="*/ 724111 h 1944515"/>
              <a:gd name="connsiteX8" fmla="*/ 853627 w 1213179"/>
              <a:gd name="connsiteY8" fmla="*/ 803 h 1944515"/>
              <a:gd name="connsiteX9" fmla="*/ 1043383 w 1213179"/>
              <a:gd name="connsiteY9" fmla="*/ 650941 h 1944515"/>
              <a:gd name="connsiteX10" fmla="*/ 1092116 w 1213179"/>
              <a:gd name="connsiteY10" fmla="*/ 1031389 h 1944515"/>
              <a:gd name="connsiteX11" fmla="*/ 997247 w 1213179"/>
              <a:gd name="connsiteY11" fmla="*/ 1508857 h 1944515"/>
              <a:gd name="connsiteX12" fmla="*/ 841558 w 1213179"/>
              <a:gd name="connsiteY12" fmla="*/ 1785878 h 1944515"/>
              <a:gd name="connsiteX13" fmla="*/ 720260 w 1213179"/>
              <a:gd name="connsiteY13" fmla="*/ 1813870 h 1944515"/>
              <a:gd name="connsiteX14" fmla="*/ 710929 w 1213179"/>
              <a:gd name="connsiteY14" fmla="*/ 1645919 h 1944515"/>
              <a:gd name="connsiteX15" fmla="*/ 813566 w 1213179"/>
              <a:gd name="connsiteY15" fmla="*/ 1412653 h 1944515"/>
              <a:gd name="connsiteX16" fmla="*/ 785574 w 1213179"/>
              <a:gd name="connsiteY16" fmla="*/ 1198049 h 1944515"/>
              <a:gd name="connsiteX17" fmla="*/ 673607 w 1213179"/>
              <a:gd name="connsiteY17" fmla="*/ 787502 h 1944515"/>
              <a:gd name="connsiteX18" fmla="*/ 524317 w 1213179"/>
              <a:gd name="connsiteY18" fmla="*/ 1160727 h 1944515"/>
              <a:gd name="connsiteX19" fmla="*/ 514986 w 1213179"/>
              <a:gd name="connsiteY19" fmla="*/ 1496629 h 1944515"/>
              <a:gd name="connsiteX20" fmla="*/ 608292 w 1213179"/>
              <a:gd name="connsiteY20" fmla="*/ 1673911 h 1944515"/>
              <a:gd name="connsiteX21" fmla="*/ 626953 w 1213179"/>
              <a:gd name="connsiteY21" fmla="*/ 1804539 h 1944515"/>
              <a:gd name="connsiteX22" fmla="*/ 296531 w 1213179"/>
              <a:gd name="connsiteY22" fmla="*/ 1528423 h 1944515"/>
              <a:gd name="connsiteX23" fmla="*/ 102596 w 1213179"/>
              <a:gd name="connsiteY23" fmla="*/ 780008 h 1944515"/>
              <a:gd name="connsiteX24" fmla="*/ 373983 w 1213179"/>
              <a:gd name="connsiteY24" fmla="*/ 60818 h 1944515"/>
              <a:gd name="connsiteX0" fmla="*/ 373983 w 1292648"/>
              <a:gd name="connsiteY0" fmla="*/ 60138 h 1943835"/>
              <a:gd name="connsiteX1" fmla="*/ 3601 w 1292648"/>
              <a:gd name="connsiteY1" fmla="*/ 700967 h 1943835"/>
              <a:gd name="connsiteX2" fmla="*/ 52161 w 1292648"/>
              <a:gd name="connsiteY2" fmla="*/ 1342849 h 1943835"/>
              <a:gd name="connsiteX3" fmla="*/ 340108 w 1292648"/>
              <a:gd name="connsiteY3" fmla="*/ 1821013 h 1943835"/>
              <a:gd name="connsiteX4" fmla="*/ 636284 w 1292648"/>
              <a:gd name="connsiteY4" fmla="*/ 1934488 h 1943835"/>
              <a:gd name="connsiteX5" fmla="*/ 897541 w 1292648"/>
              <a:gd name="connsiteY5" fmla="*/ 1869173 h 1943835"/>
              <a:gd name="connsiteX6" fmla="*/ 1163017 w 1292648"/>
              <a:gd name="connsiteY6" fmla="*/ 1333036 h 1943835"/>
              <a:gd name="connsiteX7" fmla="*/ 1278735 w 1292648"/>
              <a:gd name="connsiteY7" fmla="*/ 704114 h 1943835"/>
              <a:gd name="connsiteX8" fmla="*/ 853627 w 1292648"/>
              <a:gd name="connsiteY8" fmla="*/ 123 h 1943835"/>
              <a:gd name="connsiteX9" fmla="*/ 1043383 w 1292648"/>
              <a:gd name="connsiteY9" fmla="*/ 650261 h 1943835"/>
              <a:gd name="connsiteX10" fmla="*/ 1092116 w 1292648"/>
              <a:gd name="connsiteY10" fmla="*/ 1030709 h 1943835"/>
              <a:gd name="connsiteX11" fmla="*/ 997247 w 1292648"/>
              <a:gd name="connsiteY11" fmla="*/ 1508177 h 1943835"/>
              <a:gd name="connsiteX12" fmla="*/ 841558 w 1292648"/>
              <a:gd name="connsiteY12" fmla="*/ 1785198 h 1943835"/>
              <a:gd name="connsiteX13" fmla="*/ 720260 w 1292648"/>
              <a:gd name="connsiteY13" fmla="*/ 1813190 h 1943835"/>
              <a:gd name="connsiteX14" fmla="*/ 710929 w 1292648"/>
              <a:gd name="connsiteY14" fmla="*/ 1645239 h 1943835"/>
              <a:gd name="connsiteX15" fmla="*/ 813566 w 1292648"/>
              <a:gd name="connsiteY15" fmla="*/ 1411973 h 1943835"/>
              <a:gd name="connsiteX16" fmla="*/ 785574 w 1292648"/>
              <a:gd name="connsiteY16" fmla="*/ 1197369 h 1943835"/>
              <a:gd name="connsiteX17" fmla="*/ 673607 w 1292648"/>
              <a:gd name="connsiteY17" fmla="*/ 786822 h 1943835"/>
              <a:gd name="connsiteX18" fmla="*/ 524317 w 1292648"/>
              <a:gd name="connsiteY18" fmla="*/ 1160047 h 1943835"/>
              <a:gd name="connsiteX19" fmla="*/ 514986 w 1292648"/>
              <a:gd name="connsiteY19" fmla="*/ 1495949 h 1943835"/>
              <a:gd name="connsiteX20" fmla="*/ 608292 w 1292648"/>
              <a:gd name="connsiteY20" fmla="*/ 1673231 h 1943835"/>
              <a:gd name="connsiteX21" fmla="*/ 626953 w 1292648"/>
              <a:gd name="connsiteY21" fmla="*/ 1803859 h 1943835"/>
              <a:gd name="connsiteX22" fmla="*/ 296531 w 1292648"/>
              <a:gd name="connsiteY22" fmla="*/ 1527743 h 1943835"/>
              <a:gd name="connsiteX23" fmla="*/ 102596 w 1292648"/>
              <a:gd name="connsiteY23" fmla="*/ 779328 h 1943835"/>
              <a:gd name="connsiteX24" fmla="*/ 373983 w 1292648"/>
              <a:gd name="connsiteY24" fmla="*/ 60138 h 1943835"/>
              <a:gd name="connsiteX0" fmla="*/ 373983 w 1292648"/>
              <a:gd name="connsiteY0" fmla="*/ 60160 h 1943857"/>
              <a:gd name="connsiteX1" fmla="*/ 3601 w 1292648"/>
              <a:gd name="connsiteY1" fmla="*/ 700989 h 1943857"/>
              <a:gd name="connsiteX2" fmla="*/ 52161 w 1292648"/>
              <a:gd name="connsiteY2" fmla="*/ 1342871 h 1943857"/>
              <a:gd name="connsiteX3" fmla="*/ 340108 w 1292648"/>
              <a:gd name="connsiteY3" fmla="*/ 1821035 h 1943857"/>
              <a:gd name="connsiteX4" fmla="*/ 636284 w 1292648"/>
              <a:gd name="connsiteY4" fmla="*/ 1934510 h 1943857"/>
              <a:gd name="connsiteX5" fmla="*/ 897541 w 1292648"/>
              <a:gd name="connsiteY5" fmla="*/ 1869195 h 1943857"/>
              <a:gd name="connsiteX6" fmla="*/ 1163017 w 1292648"/>
              <a:gd name="connsiteY6" fmla="*/ 1333058 h 1943857"/>
              <a:gd name="connsiteX7" fmla="*/ 1278735 w 1292648"/>
              <a:gd name="connsiteY7" fmla="*/ 704136 h 1943857"/>
              <a:gd name="connsiteX8" fmla="*/ 853627 w 1292648"/>
              <a:gd name="connsiteY8" fmla="*/ 145 h 1943857"/>
              <a:gd name="connsiteX9" fmla="*/ 1043383 w 1292648"/>
              <a:gd name="connsiteY9" fmla="*/ 650283 h 1943857"/>
              <a:gd name="connsiteX10" fmla="*/ 997247 w 1292648"/>
              <a:gd name="connsiteY10" fmla="*/ 1508199 h 1943857"/>
              <a:gd name="connsiteX11" fmla="*/ 841558 w 1292648"/>
              <a:gd name="connsiteY11" fmla="*/ 1785220 h 1943857"/>
              <a:gd name="connsiteX12" fmla="*/ 720260 w 1292648"/>
              <a:gd name="connsiteY12" fmla="*/ 1813212 h 1943857"/>
              <a:gd name="connsiteX13" fmla="*/ 710929 w 1292648"/>
              <a:gd name="connsiteY13" fmla="*/ 1645261 h 1943857"/>
              <a:gd name="connsiteX14" fmla="*/ 813566 w 1292648"/>
              <a:gd name="connsiteY14" fmla="*/ 1411995 h 1943857"/>
              <a:gd name="connsiteX15" fmla="*/ 785574 w 1292648"/>
              <a:gd name="connsiteY15" fmla="*/ 1197391 h 1943857"/>
              <a:gd name="connsiteX16" fmla="*/ 673607 w 1292648"/>
              <a:gd name="connsiteY16" fmla="*/ 786844 h 1943857"/>
              <a:gd name="connsiteX17" fmla="*/ 524317 w 1292648"/>
              <a:gd name="connsiteY17" fmla="*/ 1160069 h 1943857"/>
              <a:gd name="connsiteX18" fmla="*/ 514986 w 1292648"/>
              <a:gd name="connsiteY18" fmla="*/ 1495971 h 1943857"/>
              <a:gd name="connsiteX19" fmla="*/ 608292 w 1292648"/>
              <a:gd name="connsiteY19" fmla="*/ 1673253 h 1943857"/>
              <a:gd name="connsiteX20" fmla="*/ 626953 w 1292648"/>
              <a:gd name="connsiteY20" fmla="*/ 1803881 h 1943857"/>
              <a:gd name="connsiteX21" fmla="*/ 296531 w 1292648"/>
              <a:gd name="connsiteY21" fmla="*/ 1527765 h 1943857"/>
              <a:gd name="connsiteX22" fmla="*/ 102596 w 1292648"/>
              <a:gd name="connsiteY22" fmla="*/ 779350 h 1943857"/>
              <a:gd name="connsiteX23" fmla="*/ 373983 w 1292648"/>
              <a:gd name="connsiteY23" fmla="*/ 60160 h 1943857"/>
              <a:gd name="connsiteX0" fmla="*/ 373983 w 1292648"/>
              <a:gd name="connsiteY0" fmla="*/ 60160 h 1943857"/>
              <a:gd name="connsiteX1" fmla="*/ 3601 w 1292648"/>
              <a:gd name="connsiteY1" fmla="*/ 700989 h 1943857"/>
              <a:gd name="connsiteX2" fmla="*/ 52161 w 1292648"/>
              <a:gd name="connsiteY2" fmla="*/ 1342871 h 1943857"/>
              <a:gd name="connsiteX3" fmla="*/ 340108 w 1292648"/>
              <a:gd name="connsiteY3" fmla="*/ 1821035 h 1943857"/>
              <a:gd name="connsiteX4" fmla="*/ 636284 w 1292648"/>
              <a:gd name="connsiteY4" fmla="*/ 1934510 h 1943857"/>
              <a:gd name="connsiteX5" fmla="*/ 897541 w 1292648"/>
              <a:gd name="connsiteY5" fmla="*/ 1869195 h 1943857"/>
              <a:gd name="connsiteX6" fmla="*/ 1163017 w 1292648"/>
              <a:gd name="connsiteY6" fmla="*/ 1333058 h 1943857"/>
              <a:gd name="connsiteX7" fmla="*/ 1278735 w 1292648"/>
              <a:gd name="connsiteY7" fmla="*/ 704136 h 1943857"/>
              <a:gd name="connsiteX8" fmla="*/ 853627 w 1292648"/>
              <a:gd name="connsiteY8" fmla="*/ 145 h 1943857"/>
              <a:gd name="connsiteX9" fmla="*/ 1043383 w 1292648"/>
              <a:gd name="connsiteY9" fmla="*/ 650283 h 1943857"/>
              <a:gd name="connsiteX10" fmla="*/ 997247 w 1292648"/>
              <a:gd name="connsiteY10" fmla="*/ 1508199 h 1943857"/>
              <a:gd name="connsiteX11" fmla="*/ 841558 w 1292648"/>
              <a:gd name="connsiteY11" fmla="*/ 1785220 h 1943857"/>
              <a:gd name="connsiteX12" fmla="*/ 720260 w 1292648"/>
              <a:gd name="connsiteY12" fmla="*/ 1813212 h 1943857"/>
              <a:gd name="connsiteX13" fmla="*/ 710929 w 1292648"/>
              <a:gd name="connsiteY13" fmla="*/ 1645261 h 1943857"/>
              <a:gd name="connsiteX14" fmla="*/ 813566 w 1292648"/>
              <a:gd name="connsiteY14" fmla="*/ 1411995 h 1943857"/>
              <a:gd name="connsiteX15" fmla="*/ 785574 w 1292648"/>
              <a:gd name="connsiteY15" fmla="*/ 1197391 h 1943857"/>
              <a:gd name="connsiteX16" fmla="*/ 673607 w 1292648"/>
              <a:gd name="connsiteY16" fmla="*/ 786844 h 1943857"/>
              <a:gd name="connsiteX17" fmla="*/ 524317 w 1292648"/>
              <a:gd name="connsiteY17" fmla="*/ 1160069 h 1943857"/>
              <a:gd name="connsiteX18" fmla="*/ 514986 w 1292648"/>
              <a:gd name="connsiteY18" fmla="*/ 1495971 h 1943857"/>
              <a:gd name="connsiteX19" fmla="*/ 608292 w 1292648"/>
              <a:gd name="connsiteY19" fmla="*/ 1673253 h 1943857"/>
              <a:gd name="connsiteX20" fmla="*/ 626953 w 1292648"/>
              <a:gd name="connsiteY20" fmla="*/ 1803881 h 1943857"/>
              <a:gd name="connsiteX21" fmla="*/ 296531 w 1292648"/>
              <a:gd name="connsiteY21" fmla="*/ 1527765 h 1943857"/>
              <a:gd name="connsiteX22" fmla="*/ 102596 w 1292648"/>
              <a:gd name="connsiteY22" fmla="*/ 779350 h 1943857"/>
              <a:gd name="connsiteX23" fmla="*/ 373983 w 1292648"/>
              <a:gd name="connsiteY23" fmla="*/ 60160 h 1943857"/>
              <a:gd name="connsiteX0" fmla="*/ 373983 w 1292648"/>
              <a:gd name="connsiteY0" fmla="*/ 60062 h 1943759"/>
              <a:gd name="connsiteX1" fmla="*/ 3601 w 1292648"/>
              <a:gd name="connsiteY1" fmla="*/ 700891 h 1943759"/>
              <a:gd name="connsiteX2" fmla="*/ 52161 w 1292648"/>
              <a:gd name="connsiteY2" fmla="*/ 1342773 h 1943759"/>
              <a:gd name="connsiteX3" fmla="*/ 340108 w 1292648"/>
              <a:gd name="connsiteY3" fmla="*/ 1820937 h 1943759"/>
              <a:gd name="connsiteX4" fmla="*/ 636284 w 1292648"/>
              <a:gd name="connsiteY4" fmla="*/ 1934412 h 1943759"/>
              <a:gd name="connsiteX5" fmla="*/ 897541 w 1292648"/>
              <a:gd name="connsiteY5" fmla="*/ 1869097 h 1943759"/>
              <a:gd name="connsiteX6" fmla="*/ 1163017 w 1292648"/>
              <a:gd name="connsiteY6" fmla="*/ 1332960 h 1943759"/>
              <a:gd name="connsiteX7" fmla="*/ 1278735 w 1292648"/>
              <a:gd name="connsiteY7" fmla="*/ 704038 h 1943759"/>
              <a:gd name="connsiteX8" fmla="*/ 853627 w 1292648"/>
              <a:gd name="connsiteY8" fmla="*/ 47 h 1943759"/>
              <a:gd name="connsiteX9" fmla="*/ 1043383 w 1292648"/>
              <a:gd name="connsiteY9" fmla="*/ 650185 h 1943759"/>
              <a:gd name="connsiteX10" fmla="*/ 997247 w 1292648"/>
              <a:gd name="connsiteY10" fmla="*/ 1508101 h 1943759"/>
              <a:gd name="connsiteX11" fmla="*/ 841558 w 1292648"/>
              <a:gd name="connsiteY11" fmla="*/ 1785122 h 1943759"/>
              <a:gd name="connsiteX12" fmla="*/ 720260 w 1292648"/>
              <a:gd name="connsiteY12" fmla="*/ 1813114 h 1943759"/>
              <a:gd name="connsiteX13" fmla="*/ 710929 w 1292648"/>
              <a:gd name="connsiteY13" fmla="*/ 1645163 h 1943759"/>
              <a:gd name="connsiteX14" fmla="*/ 813566 w 1292648"/>
              <a:gd name="connsiteY14" fmla="*/ 1411897 h 1943759"/>
              <a:gd name="connsiteX15" fmla="*/ 785574 w 1292648"/>
              <a:gd name="connsiteY15" fmla="*/ 1197293 h 1943759"/>
              <a:gd name="connsiteX16" fmla="*/ 673607 w 1292648"/>
              <a:gd name="connsiteY16" fmla="*/ 786746 h 1943759"/>
              <a:gd name="connsiteX17" fmla="*/ 524317 w 1292648"/>
              <a:gd name="connsiteY17" fmla="*/ 1159971 h 1943759"/>
              <a:gd name="connsiteX18" fmla="*/ 514986 w 1292648"/>
              <a:gd name="connsiteY18" fmla="*/ 1495873 h 1943759"/>
              <a:gd name="connsiteX19" fmla="*/ 608292 w 1292648"/>
              <a:gd name="connsiteY19" fmla="*/ 1673155 h 1943759"/>
              <a:gd name="connsiteX20" fmla="*/ 626953 w 1292648"/>
              <a:gd name="connsiteY20" fmla="*/ 1803783 h 1943759"/>
              <a:gd name="connsiteX21" fmla="*/ 296531 w 1292648"/>
              <a:gd name="connsiteY21" fmla="*/ 1527667 h 1943759"/>
              <a:gd name="connsiteX22" fmla="*/ 102596 w 1292648"/>
              <a:gd name="connsiteY22" fmla="*/ 779252 h 1943759"/>
              <a:gd name="connsiteX23" fmla="*/ 373983 w 1292648"/>
              <a:gd name="connsiteY23" fmla="*/ 60062 h 1943759"/>
              <a:gd name="connsiteX0" fmla="*/ 373983 w 1292648"/>
              <a:gd name="connsiteY0" fmla="*/ 60273 h 1943970"/>
              <a:gd name="connsiteX1" fmla="*/ 3601 w 1292648"/>
              <a:gd name="connsiteY1" fmla="*/ 701102 h 1943970"/>
              <a:gd name="connsiteX2" fmla="*/ 52161 w 1292648"/>
              <a:gd name="connsiteY2" fmla="*/ 1342984 h 1943970"/>
              <a:gd name="connsiteX3" fmla="*/ 340108 w 1292648"/>
              <a:gd name="connsiteY3" fmla="*/ 1821148 h 1943970"/>
              <a:gd name="connsiteX4" fmla="*/ 636284 w 1292648"/>
              <a:gd name="connsiteY4" fmla="*/ 1934623 h 1943970"/>
              <a:gd name="connsiteX5" fmla="*/ 897541 w 1292648"/>
              <a:gd name="connsiteY5" fmla="*/ 1869308 h 1943970"/>
              <a:gd name="connsiteX6" fmla="*/ 1163017 w 1292648"/>
              <a:gd name="connsiteY6" fmla="*/ 1333171 h 1943970"/>
              <a:gd name="connsiteX7" fmla="*/ 1278735 w 1292648"/>
              <a:gd name="connsiteY7" fmla="*/ 704249 h 1943970"/>
              <a:gd name="connsiteX8" fmla="*/ 853627 w 1292648"/>
              <a:gd name="connsiteY8" fmla="*/ 258 h 1943970"/>
              <a:gd name="connsiteX9" fmla="*/ 1125626 w 1292648"/>
              <a:gd name="connsiteY9" fmla="*/ 633495 h 1943970"/>
              <a:gd name="connsiteX10" fmla="*/ 997247 w 1292648"/>
              <a:gd name="connsiteY10" fmla="*/ 1508312 h 1943970"/>
              <a:gd name="connsiteX11" fmla="*/ 841558 w 1292648"/>
              <a:gd name="connsiteY11" fmla="*/ 1785333 h 1943970"/>
              <a:gd name="connsiteX12" fmla="*/ 720260 w 1292648"/>
              <a:gd name="connsiteY12" fmla="*/ 1813325 h 1943970"/>
              <a:gd name="connsiteX13" fmla="*/ 710929 w 1292648"/>
              <a:gd name="connsiteY13" fmla="*/ 1645374 h 1943970"/>
              <a:gd name="connsiteX14" fmla="*/ 813566 w 1292648"/>
              <a:gd name="connsiteY14" fmla="*/ 1412108 h 1943970"/>
              <a:gd name="connsiteX15" fmla="*/ 785574 w 1292648"/>
              <a:gd name="connsiteY15" fmla="*/ 1197504 h 1943970"/>
              <a:gd name="connsiteX16" fmla="*/ 673607 w 1292648"/>
              <a:gd name="connsiteY16" fmla="*/ 786957 h 1943970"/>
              <a:gd name="connsiteX17" fmla="*/ 524317 w 1292648"/>
              <a:gd name="connsiteY17" fmla="*/ 1160182 h 1943970"/>
              <a:gd name="connsiteX18" fmla="*/ 514986 w 1292648"/>
              <a:gd name="connsiteY18" fmla="*/ 1496084 h 1943970"/>
              <a:gd name="connsiteX19" fmla="*/ 608292 w 1292648"/>
              <a:gd name="connsiteY19" fmla="*/ 1673366 h 1943970"/>
              <a:gd name="connsiteX20" fmla="*/ 626953 w 1292648"/>
              <a:gd name="connsiteY20" fmla="*/ 1803994 h 1943970"/>
              <a:gd name="connsiteX21" fmla="*/ 296531 w 1292648"/>
              <a:gd name="connsiteY21" fmla="*/ 1527878 h 1943970"/>
              <a:gd name="connsiteX22" fmla="*/ 102596 w 1292648"/>
              <a:gd name="connsiteY22" fmla="*/ 779463 h 1943970"/>
              <a:gd name="connsiteX23" fmla="*/ 373983 w 1292648"/>
              <a:gd name="connsiteY23" fmla="*/ 60273 h 1943970"/>
              <a:gd name="connsiteX0" fmla="*/ 373983 w 1292648"/>
              <a:gd name="connsiteY0" fmla="*/ 60258 h 1943955"/>
              <a:gd name="connsiteX1" fmla="*/ 3601 w 1292648"/>
              <a:gd name="connsiteY1" fmla="*/ 701087 h 1943955"/>
              <a:gd name="connsiteX2" fmla="*/ 52161 w 1292648"/>
              <a:gd name="connsiteY2" fmla="*/ 1342969 h 1943955"/>
              <a:gd name="connsiteX3" fmla="*/ 340108 w 1292648"/>
              <a:gd name="connsiteY3" fmla="*/ 1821133 h 1943955"/>
              <a:gd name="connsiteX4" fmla="*/ 636284 w 1292648"/>
              <a:gd name="connsiteY4" fmla="*/ 1934608 h 1943955"/>
              <a:gd name="connsiteX5" fmla="*/ 897541 w 1292648"/>
              <a:gd name="connsiteY5" fmla="*/ 1869293 h 1943955"/>
              <a:gd name="connsiteX6" fmla="*/ 1163017 w 1292648"/>
              <a:gd name="connsiteY6" fmla="*/ 1333156 h 1943955"/>
              <a:gd name="connsiteX7" fmla="*/ 1278735 w 1292648"/>
              <a:gd name="connsiteY7" fmla="*/ 704234 h 1943955"/>
              <a:gd name="connsiteX8" fmla="*/ 853627 w 1292648"/>
              <a:gd name="connsiteY8" fmla="*/ 243 h 1943955"/>
              <a:gd name="connsiteX9" fmla="*/ 1125626 w 1292648"/>
              <a:gd name="connsiteY9" fmla="*/ 633480 h 1943955"/>
              <a:gd name="connsiteX10" fmla="*/ 1029224 w 1292648"/>
              <a:gd name="connsiteY10" fmla="*/ 1345635 h 1943955"/>
              <a:gd name="connsiteX11" fmla="*/ 841558 w 1292648"/>
              <a:gd name="connsiteY11" fmla="*/ 1785318 h 1943955"/>
              <a:gd name="connsiteX12" fmla="*/ 720260 w 1292648"/>
              <a:gd name="connsiteY12" fmla="*/ 1813310 h 1943955"/>
              <a:gd name="connsiteX13" fmla="*/ 710929 w 1292648"/>
              <a:gd name="connsiteY13" fmla="*/ 1645359 h 1943955"/>
              <a:gd name="connsiteX14" fmla="*/ 813566 w 1292648"/>
              <a:gd name="connsiteY14" fmla="*/ 1412093 h 1943955"/>
              <a:gd name="connsiteX15" fmla="*/ 785574 w 1292648"/>
              <a:gd name="connsiteY15" fmla="*/ 1197489 h 1943955"/>
              <a:gd name="connsiteX16" fmla="*/ 673607 w 1292648"/>
              <a:gd name="connsiteY16" fmla="*/ 786942 h 1943955"/>
              <a:gd name="connsiteX17" fmla="*/ 524317 w 1292648"/>
              <a:gd name="connsiteY17" fmla="*/ 1160167 h 1943955"/>
              <a:gd name="connsiteX18" fmla="*/ 514986 w 1292648"/>
              <a:gd name="connsiteY18" fmla="*/ 1496069 h 1943955"/>
              <a:gd name="connsiteX19" fmla="*/ 608292 w 1292648"/>
              <a:gd name="connsiteY19" fmla="*/ 1673351 h 1943955"/>
              <a:gd name="connsiteX20" fmla="*/ 626953 w 1292648"/>
              <a:gd name="connsiteY20" fmla="*/ 1803979 h 1943955"/>
              <a:gd name="connsiteX21" fmla="*/ 296531 w 1292648"/>
              <a:gd name="connsiteY21" fmla="*/ 1527863 h 1943955"/>
              <a:gd name="connsiteX22" fmla="*/ 102596 w 1292648"/>
              <a:gd name="connsiteY22" fmla="*/ 779448 h 1943955"/>
              <a:gd name="connsiteX23" fmla="*/ 373983 w 1292648"/>
              <a:gd name="connsiteY23" fmla="*/ 60258 h 1943955"/>
              <a:gd name="connsiteX0" fmla="*/ 373983 w 1277343"/>
              <a:gd name="connsiteY0" fmla="*/ 60040 h 1943737"/>
              <a:gd name="connsiteX1" fmla="*/ 3601 w 1277343"/>
              <a:gd name="connsiteY1" fmla="*/ 700869 h 1943737"/>
              <a:gd name="connsiteX2" fmla="*/ 52161 w 1277343"/>
              <a:gd name="connsiteY2" fmla="*/ 1342751 h 1943737"/>
              <a:gd name="connsiteX3" fmla="*/ 340108 w 1277343"/>
              <a:gd name="connsiteY3" fmla="*/ 1820915 h 1943737"/>
              <a:gd name="connsiteX4" fmla="*/ 636284 w 1277343"/>
              <a:gd name="connsiteY4" fmla="*/ 1934390 h 1943737"/>
              <a:gd name="connsiteX5" fmla="*/ 897541 w 1277343"/>
              <a:gd name="connsiteY5" fmla="*/ 1869075 h 1943737"/>
              <a:gd name="connsiteX6" fmla="*/ 1163017 w 1277343"/>
              <a:gd name="connsiteY6" fmla="*/ 1332938 h 1943737"/>
              <a:gd name="connsiteX7" fmla="*/ 1261980 w 1277343"/>
              <a:gd name="connsiteY7" fmla="*/ 655430 h 1943737"/>
              <a:gd name="connsiteX8" fmla="*/ 853627 w 1277343"/>
              <a:gd name="connsiteY8" fmla="*/ 25 h 1943737"/>
              <a:gd name="connsiteX9" fmla="*/ 1125626 w 1277343"/>
              <a:gd name="connsiteY9" fmla="*/ 633262 h 1943737"/>
              <a:gd name="connsiteX10" fmla="*/ 1029224 w 1277343"/>
              <a:gd name="connsiteY10" fmla="*/ 1345417 h 1943737"/>
              <a:gd name="connsiteX11" fmla="*/ 841558 w 1277343"/>
              <a:gd name="connsiteY11" fmla="*/ 1785100 h 1943737"/>
              <a:gd name="connsiteX12" fmla="*/ 720260 w 1277343"/>
              <a:gd name="connsiteY12" fmla="*/ 1813092 h 1943737"/>
              <a:gd name="connsiteX13" fmla="*/ 710929 w 1277343"/>
              <a:gd name="connsiteY13" fmla="*/ 1645141 h 1943737"/>
              <a:gd name="connsiteX14" fmla="*/ 813566 w 1277343"/>
              <a:gd name="connsiteY14" fmla="*/ 1411875 h 1943737"/>
              <a:gd name="connsiteX15" fmla="*/ 785574 w 1277343"/>
              <a:gd name="connsiteY15" fmla="*/ 1197271 h 1943737"/>
              <a:gd name="connsiteX16" fmla="*/ 673607 w 1277343"/>
              <a:gd name="connsiteY16" fmla="*/ 786724 h 1943737"/>
              <a:gd name="connsiteX17" fmla="*/ 524317 w 1277343"/>
              <a:gd name="connsiteY17" fmla="*/ 1159949 h 1943737"/>
              <a:gd name="connsiteX18" fmla="*/ 514986 w 1277343"/>
              <a:gd name="connsiteY18" fmla="*/ 1495851 h 1943737"/>
              <a:gd name="connsiteX19" fmla="*/ 608292 w 1277343"/>
              <a:gd name="connsiteY19" fmla="*/ 1673133 h 1943737"/>
              <a:gd name="connsiteX20" fmla="*/ 626953 w 1277343"/>
              <a:gd name="connsiteY20" fmla="*/ 1803761 h 1943737"/>
              <a:gd name="connsiteX21" fmla="*/ 296531 w 1277343"/>
              <a:gd name="connsiteY21" fmla="*/ 1527645 h 1943737"/>
              <a:gd name="connsiteX22" fmla="*/ 102596 w 1277343"/>
              <a:gd name="connsiteY22" fmla="*/ 779230 h 1943737"/>
              <a:gd name="connsiteX23" fmla="*/ 373983 w 1277343"/>
              <a:gd name="connsiteY23" fmla="*/ 60040 h 1943737"/>
              <a:gd name="connsiteX0" fmla="*/ 373983 w 1277343"/>
              <a:gd name="connsiteY0" fmla="*/ 60843 h 1944540"/>
              <a:gd name="connsiteX1" fmla="*/ 3601 w 1277343"/>
              <a:gd name="connsiteY1" fmla="*/ 701672 h 1944540"/>
              <a:gd name="connsiteX2" fmla="*/ 52161 w 1277343"/>
              <a:gd name="connsiteY2" fmla="*/ 1343554 h 1944540"/>
              <a:gd name="connsiteX3" fmla="*/ 340108 w 1277343"/>
              <a:gd name="connsiteY3" fmla="*/ 1821718 h 1944540"/>
              <a:gd name="connsiteX4" fmla="*/ 636284 w 1277343"/>
              <a:gd name="connsiteY4" fmla="*/ 1935193 h 1944540"/>
              <a:gd name="connsiteX5" fmla="*/ 897541 w 1277343"/>
              <a:gd name="connsiteY5" fmla="*/ 1869878 h 1944540"/>
              <a:gd name="connsiteX6" fmla="*/ 1163017 w 1277343"/>
              <a:gd name="connsiteY6" fmla="*/ 1333741 h 1944540"/>
              <a:gd name="connsiteX7" fmla="*/ 1261980 w 1277343"/>
              <a:gd name="connsiteY7" fmla="*/ 656233 h 1944540"/>
              <a:gd name="connsiteX8" fmla="*/ 853627 w 1277343"/>
              <a:gd name="connsiteY8" fmla="*/ 828 h 1944540"/>
              <a:gd name="connsiteX9" fmla="*/ 1125626 w 1277343"/>
              <a:gd name="connsiteY9" fmla="*/ 634065 h 1944540"/>
              <a:gd name="connsiteX10" fmla="*/ 1029224 w 1277343"/>
              <a:gd name="connsiteY10" fmla="*/ 1346220 h 1944540"/>
              <a:gd name="connsiteX11" fmla="*/ 841558 w 1277343"/>
              <a:gd name="connsiteY11" fmla="*/ 1785903 h 1944540"/>
              <a:gd name="connsiteX12" fmla="*/ 720260 w 1277343"/>
              <a:gd name="connsiteY12" fmla="*/ 1813895 h 1944540"/>
              <a:gd name="connsiteX13" fmla="*/ 710929 w 1277343"/>
              <a:gd name="connsiteY13" fmla="*/ 1645944 h 1944540"/>
              <a:gd name="connsiteX14" fmla="*/ 813566 w 1277343"/>
              <a:gd name="connsiteY14" fmla="*/ 1412678 h 1944540"/>
              <a:gd name="connsiteX15" fmla="*/ 785574 w 1277343"/>
              <a:gd name="connsiteY15" fmla="*/ 1198074 h 1944540"/>
              <a:gd name="connsiteX16" fmla="*/ 673607 w 1277343"/>
              <a:gd name="connsiteY16" fmla="*/ 787527 h 1944540"/>
              <a:gd name="connsiteX17" fmla="*/ 524317 w 1277343"/>
              <a:gd name="connsiteY17" fmla="*/ 1160752 h 1944540"/>
              <a:gd name="connsiteX18" fmla="*/ 514986 w 1277343"/>
              <a:gd name="connsiteY18" fmla="*/ 1496654 h 1944540"/>
              <a:gd name="connsiteX19" fmla="*/ 608292 w 1277343"/>
              <a:gd name="connsiteY19" fmla="*/ 1673936 h 1944540"/>
              <a:gd name="connsiteX20" fmla="*/ 626953 w 1277343"/>
              <a:gd name="connsiteY20" fmla="*/ 1804564 h 1944540"/>
              <a:gd name="connsiteX21" fmla="*/ 296531 w 1277343"/>
              <a:gd name="connsiteY21" fmla="*/ 1528448 h 1944540"/>
              <a:gd name="connsiteX22" fmla="*/ 102596 w 1277343"/>
              <a:gd name="connsiteY22" fmla="*/ 780033 h 1944540"/>
              <a:gd name="connsiteX23" fmla="*/ 373983 w 1277343"/>
              <a:gd name="connsiteY23" fmla="*/ 60843 h 1944540"/>
              <a:gd name="connsiteX0" fmla="*/ 373983 w 1277343"/>
              <a:gd name="connsiteY0" fmla="*/ 60843 h 1944540"/>
              <a:gd name="connsiteX1" fmla="*/ 3601 w 1277343"/>
              <a:gd name="connsiteY1" fmla="*/ 701672 h 1944540"/>
              <a:gd name="connsiteX2" fmla="*/ 52161 w 1277343"/>
              <a:gd name="connsiteY2" fmla="*/ 1343554 h 1944540"/>
              <a:gd name="connsiteX3" fmla="*/ 340108 w 1277343"/>
              <a:gd name="connsiteY3" fmla="*/ 1821718 h 1944540"/>
              <a:gd name="connsiteX4" fmla="*/ 636284 w 1277343"/>
              <a:gd name="connsiteY4" fmla="*/ 1935193 h 1944540"/>
              <a:gd name="connsiteX5" fmla="*/ 897541 w 1277343"/>
              <a:gd name="connsiteY5" fmla="*/ 1869878 h 1944540"/>
              <a:gd name="connsiteX6" fmla="*/ 1163017 w 1277343"/>
              <a:gd name="connsiteY6" fmla="*/ 1333741 h 1944540"/>
              <a:gd name="connsiteX7" fmla="*/ 1261980 w 1277343"/>
              <a:gd name="connsiteY7" fmla="*/ 656233 h 1944540"/>
              <a:gd name="connsiteX8" fmla="*/ 853627 w 1277343"/>
              <a:gd name="connsiteY8" fmla="*/ 828 h 1944540"/>
              <a:gd name="connsiteX9" fmla="*/ 1125626 w 1277343"/>
              <a:gd name="connsiteY9" fmla="*/ 634065 h 1944540"/>
              <a:gd name="connsiteX10" fmla="*/ 1029224 w 1277343"/>
              <a:gd name="connsiteY10" fmla="*/ 1346220 h 1944540"/>
              <a:gd name="connsiteX11" fmla="*/ 886953 w 1277343"/>
              <a:gd name="connsiteY11" fmla="*/ 1637828 h 1944540"/>
              <a:gd name="connsiteX12" fmla="*/ 720260 w 1277343"/>
              <a:gd name="connsiteY12" fmla="*/ 1813895 h 1944540"/>
              <a:gd name="connsiteX13" fmla="*/ 710929 w 1277343"/>
              <a:gd name="connsiteY13" fmla="*/ 1645944 h 1944540"/>
              <a:gd name="connsiteX14" fmla="*/ 813566 w 1277343"/>
              <a:gd name="connsiteY14" fmla="*/ 1412678 h 1944540"/>
              <a:gd name="connsiteX15" fmla="*/ 785574 w 1277343"/>
              <a:gd name="connsiteY15" fmla="*/ 1198074 h 1944540"/>
              <a:gd name="connsiteX16" fmla="*/ 673607 w 1277343"/>
              <a:gd name="connsiteY16" fmla="*/ 787527 h 1944540"/>
              <a:gd name="connsiteX17" fmla="*/ 524317 w 1277343"/>
              <a:gd name="connsiteY17" fmla="*/ 1160752 h 1944540"/>
              <a:gd name="connsiteX18" fmla="*/ 514986 w 1277343"/>
              <a:gd name="connsiteY18" fmla="*/ 1496654 h 1944540"/>
              <a:gd name="connsiteX19" fmla="*/ 608292 w 1277343"/>
              <a:gd name="connsiteY19" fmla="*/ 1673936 h 1944540"/>
              <a:gd name="connsiteX20" fmla="*/ 626953 w 1277343"/>
              <a:gd name="connsiteY20" fmla="*/ 1804564 h 1944540"/>
              <a:gd name="connsiteX21" fmla="*/ 296531 w 1277343"/>
              <a:gd name="connsiteY21" fmla="*/ 1528448 h 1944540"/>
              <a:gd name="connsiteX22" fmla="*/ 102596 w 1277343"/>
              <a:gd name="connsiteY22" fmla="*/ 780033 h 1944540"/>
              <a:gd name="connsiteX23" fmla="*/ 373983 w 1277343"/>
              <a:gd name="connsiteY23" fmla="*/ 60843 h 1944540"/>
              <a:gd name="connsiteX0" fmla="*/ 373983 w 1284631"/>
              <a:gd name="connsiteY0" fmla="*/ 60872 h 1940560"/>
              <a:gd name="connsiteX1" fmla="*/ 3601 w 1284631"/>
              <a:gd name="connsiteY1" fmla="*/ 701701 h 1940560"/>
              <a:gd name="connsiteX2" fmla="*/ 52161 w 1284631"/>
              <a:gd name="connsiteY2" fmla="*/ 1343583 h 1940560"/>
              <a:gd name="connsiteX3" fmla="*/ 340108 w 1284631"/>
              <a:gd name="connsiteY3" fmla="*/ 1821747 h 1940560"/>
              <a:gd name="connsiteX4" fmla="*/ 636284 w 1284631"/>
              <a:gd name="connsiteY4" fmla="*/ 1935222 h 1940560"/>
              <a:gd name="connsiteX5" fmla="*/ 897541 w 1284631"/>
              <a:gd name="connsiteY5" fmla="*/ 1869907 h 1940560"/>
              <a:gd name="connsiteX6" fmla="*/ 1196527 w 1284631"/>
              <a:gd name="connsiteY6" fmla="*/ 1430944 h 1940560"/>
              <a:gd name="connsiteX7" fmla="*/ 1261980 w 1284631"/>
              <a:gd name="connsiteY7" fmla="*/ 656262 h 1940560"/>
              <a:gd name="connsiteX8" fmla="*/ 853627 w 1284631"/>
              <a:gd name="connsiteY8" fmla="*/ 857 h 1940560"/>
              <a:gd name="connsiteX9" fmla="*/ 1125626 w 1284631"/>
              <a:gd name="connsiteY9" fmla="*/ 634094 h 1940560"/>
              <a:gd name="connsiteX10" fmla="*/ 1029224 w 1284631"/>
              <a:gd name="connsiteY10" fmla="*/ 1346249 h 1940560"/>
              <a:gd name="connsiteX11" fmla="*/ 886953 w 1284631"/>
              <a:gd name="connsiteY11" fmla="*/ 1637857 h 1940560"/>
              <a:gd name="connsiteX12" fmla="*/ 720260 w 1284631"/>
              <a:gd name="connsiteY12" fmla="*/ 1813924 h 1940560"/>
              <a:gd name="connsiteX13" fmla="*/ 710929 w 1284631"/>
              <a:gd name="connsiteY13" fmla="*/ 1645973 h 1940560"/>
              <a:gd name="connsiteX14" fmla="*/ 813566 w 1284631"/>
              <a:gd name="connsiteY14" fmla="*/ 1412707 h 1940560"/>
              <a:gd name="connsiteX15" fmla="*/ 785574 w 1284631"/>
              <a:gd name="connsiteY15" fmla="*/ 1198103 h 1940560"/>
              <a:gd name="connsiteX16" fmla="*/ 673607 w 1284631"/>
              <a:gd name="connsiteY16" fmla="*/ 787556 h 1940560"/>
              <a:gd name="connsiteX17" fmla="*/ 524317 w 1284631"/>
              <a:gd name="connsiteY17" fmla="*/ 1160781 h 1940560"/>
              <a:gd name="connsiteX18" fmla="*/ 514986 w 1284631"/>
              <a:gd name="connsiteY18" fmla="*/ 1496683 h 1940560"/>
              <a:gd name="connsiteX19" fmla="*/ 608292 w 1284631"/>
              <a:gd name="connsiteY19" fmla="*/ 1673965 h 1940560"/>
              <a:gd name="connsiteX20" fmla="*/ 626953 w 1284631"/>
              <a:gd name="connsiteY20" fmla="*/ 1804593 h 1940560"/>
              <a:gd name="connsiteX21" fmla="*/ 296531 w 1284631"/>
              <a:gd name="connsiteY21" fmla="*/ 1528477 h 1940560"/>
              <a:gd name="connsiteX22" fmla="*/ 102596 w 1284631"/>
              <a:gd name="connsiteY22" fmla="*/ 780062 h 1940560"/>
              <a:gd name="connsiteX23" fmla="*/ 373983 w 1284631"/>
              <a:gd name="connsiteY23" fmla="*/ 60872 h 1940560"/>
              <a:gd name="connsiteX0" fmla="*/ 373983 w 1279705"/>
              <a:gd name="connsiteY0" fmla="*/ 60872 h 1940559"/>
              <a:gd name="connsiteX1" fmla="*/ 3601 w 1279705"/>
              <a:gd name="connsiteY1" fmla="*/ 701701 h 1940559"/>
              <a:gd name="connsiteX2" fmla="*/ 52161 w 1279705"/>
              <a:gd name="connsiteY2" fmla="*/ 1343583 h 1940559"/>
              <a:gd name="connsiteX3" fmla="*/ 340108 w 1279705"/>
              <a:gd name="connsiteY3" fmla="*/ 1821747 h 1940559"/>
              <a:gd name="connsiteX4" fmla="*/ 636284 w 1279705"/>
              <a:gd name="connsiteY4" fmla="*/ 1935222 h 1940559"/>
              <a:gd name="connsiteX5" fmla="*/ 897541 w 1279705"/>
              <a:gd name="connsiteY5" fmla="*/ 1869907 h 1940559"/>
              <a:gd name="connsiteX6" fmla="*/ 1196527 w 1279705"/>
              <a:gd name="connsiteY6" fmla="*/ 1430944 h 1940559"/>
              <a:gd name="connsiteX7" fmla="*/ 1261980 w 1279705"/>
              <a:gd name="connsiteY7" fmla="*/ 656262 h 1940559"/>
              <a:gd name="connsiteX8" fmla="*/ 853627 w 1279705"/>
              <a:gd name="connsiteY8" fmla="*/ 857 h 1940559"/>
              <a:gd name="connsiteX9" fmla="*/ 1125626 w 1279705"/>
              <a:gd name="connsiteY9" fmla="*/ 634094 h 1940559"/>
              <a:gd name="connsiteX10" fmla="*/ 1029224 w 1279705"/>
              <a:gd name="connsiteY10" fmla="*/ 1346249 h 1940559"/>
              <a:gd name="connsiteX11" fmla="*/ 886953 w 1279705"/>
              <a:gd name="connsiteY11" fmla="*/ 1637857 h 1940559"/>
              <a:gd name="connsiteX12" fmla="*/ 720260 w 1279705"/>
              <a:gd name="connsiteY12" fmla="*/ 1813924 h 1940559"/>
              <a:gd name="connsiteX13" fmla="*/ 710929 w 1279705"/>
              <a:gd name="connsiteY13" fmla="*/ 1645973 h 1940559"/>
              <a:gd name="connsiteX14" fmla="*/ 813566 w 1279705"/>
              <a:gd name="connsiteY14" fmla="*/ 1412707 h 1940559"/>
              <a:gd name="connsiteX15" fmla="*/ 785574 w 1279705"/>
              <a:gd name="connsiteY15" fmla="*/ 1198103 h 1940559"/>
              <a:gd name="connsiteX16" fmla="*/ 673607 w 1279705"/>
              <a:gd name="connsiteY16" fmla="*/ 787556 h 1940559"/>
              <a:gd name="connsiteX17" fmla="*/ 524317 w 1279705"/>
              <a:gd name="connsiteY17" fmla="*/ 1160781 h 1940559"/>
              <a:gd name="connsiteX18" fmla="*/ 514986 w 1279705"/>
              <a:gd name="connsiteY18" fmla="*/ 1496683 h 1940559"/>
              <a:gd name="connsiteX19" fmla="*/ 608292 w 1279705"/>
              <a:gd name="connsiteY19" fmla="*/ 1673965 h 1940559"/>
              <a:gd name="connsiteX20" fmla="*/ 626953 w 1279705"/>
              <a:gd name="connsiteY20" fmla="*/ 1804593 h 1940559"/>
              <a:gd name="connsiteX21" fmla="*/ 296531 w 1279705"/>
              <a:gd name="connsiteY21" fmla="*/ 1528477 h 1940559"/>
              <a:gd name="connsiteX22" fmla="*/ 102596 w 1279705"/>
              <a:gd name="connsiteY22" fmla="*/ 780062 h 1940559"/>
              <a:gd name="connsiteX23" fmla="*/ 373983 w 1279705"/>
              <a:gd name="connsiteY23" fmla="*/ 60872 h 1940559"/>
              <a:gd name="connsiteX0" fmla="*/ 373983 w 1279705"/>
              <a:gd name="connsiteY0" fmla="*/ 60071 h 1939758"/>
              <a:gd name="connsiteX1" fmla="*/ 3601 w 1279705"/>
              <a:gd name="connsiteY1" fmla="*/ 700900 h 1939758"/>
              <a:gd name="connsiteX2" fmla="*/ 52161 w 1279705"/>
              <a:gd name="connsiteY2" fmla="*/ 1342782 h 1939758"/>
              <a:gd name="connsiteX3" fmla="*/ 340108 w 1279705"/>
              <a:gd name="connsiteY3" fmla="*/ 1820946 h 1939758"/>
              <a:gd name="connsiteX4" fmla="*/ 636284 w 1279705"/>
              <a:gd name="connsiteY4" fmla="*/ 1934421 h 1939758"/>
              <a:gd name="connsiteX5" fmla="*/ 897541 w 1279705"/>
              <a:gd name="connsiteY5" fmla="*/ 1869106 h 1939758"/>
              <a:gd name="connsiteX6" fmla="*/ 1196527 w 1279705"/>
              <a:gd name="connsiteY6" fmla="*/ 1430143 h 1939758"/>
              <a:gd name="connsiteX7" fmla="*/ 1261980 w 1279705"/>
              <a:gd name="connsiteY7" fmla="*/ 655461 h 1939758"/>
              <a:gd name="connsiteX8" fmla="*/ 853627 w 1279705"/>
              <a:gd name="connsiteY8" fmla="*/ 56 h 1939758"/>
              <a:gd name="connsiteX9" fmla="*/ 1107135 w 1279705"/>
              <a:gd name="connsiteY9" fmla="*/ 689124 h 1939758"/>
              <a:gd name="connsiteX10" fmla="*/ 1029224 w 1279705"/>
              <a:gd name="connsiteY10" fmla="*/ 1345448 h 1939758"/>
              <a:gd name="connsiteX11" fmla="*/ 886953 w 1279705"/>
              <a:gd name="connsiteY11" fmla="*/ 1637056 h 1939758"/>
              <a:gd name="connsiteX12" fmla="*/ 720260 w 1279705"/>
              <a:gd name="connsiteY12" fmla="*/ 1813123 h 1939758"/>
              <a:gd name="connsiteX13" fmla="*/ 710929 w 1279705"/>
              <a:gd name="connsiteY13" fmla="*/ 1645172 h 1939758"/>
              <a:gd name="connsiteX14" fmla="*/ 813566 w 1279705"/>
              <a:gd name="connsiteY14" fmla="*/ 1411906 h 1939758"/>
              <a:gd name="connsiteX15" fmla="*/ 785574 w 1279705"/>
              <a:gd name="connsiteY15" fmla="*/ 1197302 h 1939758"/>
              <a:gd name="connsiteX16" fmla="*/ 673607 w 1279705"/>
              <a:gd name="connsiteY16" fmla="*/ 786755 h 1939758"/>
              <a:gd name="connsiteX17" fmla="*/ 524317 w 1279705"/>
              <a:gd name="connsiteY17" fmla="*/ 1159980 h 1939758"/>
              <a:gd name="connsiteX18" fmla="*/ 514986 w 1279705"/>
              <a:gd name="connsiteY18" fmla="*/ 1495882 h 1939758"/>
              <a:gd name="connsiteX19" fmla="*/ 608292 w 1279705"/>
              <a:gd name="connsiteY19" fmla="*/ 1673164 h 1939758"/>
              <a:gd name="connsiteX20" fmla="*/ 626953 w 1279705"/>
              <a:gd name="connsiteY20" fmla="*/ 1803792 h 1939758"/>
              <a:gd name="connsiteX21" fmla="*/ 296531 w 1279705"/>
              <a:gd name="connsiteY21" fmla="*/ 1527676 h 1939758"/>
              <a:gd name="connsiteX22" fmla="*/ 102596 w 1279705"/>
              <a:gd name="connsiteY22" fmla="*/ 779261 h 1939758"/>
              <a:gd name="connsiteX23" fmla="*/ 373983 w 1279705"/>
              <a:gd name="connsiteY23" fmla="*/ 60071 h 1939758"/>
              <a:gd name="connsiteX0" fmla="*/ 382609 w 1279705"/>
              <a:gd name="connsiteY0" fmla="*/ 13862 h 1939758"/>
              <a:gd name="connsiteX1" fmla="*/ 3601 w 1279705"/>
              <a:gd name="connsiteY1" fmla="*/ 700900 h 1939758"/>
              <a:gd name="connsiteX2" fmla="*/ 52161 w 1279705"/>
              <a:gd name="connsiteY2" fmla="*/ 1342782 h 1939758"/>
              <a:gd name="connsiteX3" fmla="*/ 340108 w 1279705"/>
              <a:gd name="connsiteY3" fmla="*/ 1820946 h 1939758"/>
              <a:gd name="connsiteX4" fmla="*/ 636284 w 1279705"/>
              <a:gd name="connsiteY4" fmla="*/ 1934421 h 1939758"/>
              <a:gd name="connsiteX5" fmla="*/ 897541 w 1279705"/>
              <a:gd name="connsiteY5" fmla="*/ 1869106 h 1939758"/>
              <a:gd name="connsiteX6" fmla="*/ 1196527 w 1279705"/>
              <a:gd name="connsiteY6" fmla="*/ 1430143 h 1939758"/>
              <a:gd name="connsiteX7" fmla="*/ 1261980 w 1279705"/>
              <a:gd name="connsiteY7" fmla="*/ 655461 h 1939758"/>
              <a:gd name="connsiteX8" fmla="*/ 853627 w 1279705"/>
              <a:gd name="connsiteY8" fmla="*/ 56 h 1939758"/>
              <a:gd name="connsiteX9" fmla="*/ 1107135 w 1279705"/>
              <a:gd name="connsiteY9" fmla="*/ 689124 h 1939758"/>
              <a:gd name="connsiteX10" fmla="*/ 1029224 w 1279705"/>
              <a:gd name="connsiteY10" fmla="*/ 1345448 h 1939758"/>
              <a:gd name="connsiteX11" fmla="*/ 886953 w 1279705"/>
              <a:gd name="connsiteY11" fmla="*/ 1637056 h 1939758"/>
              <a:gd name="connsiteX12" fmla="*/ 720260 w 1279705"/>
              <a:gd name="connsiteY12" fmla="*/ 1813123 h 1939758"/>
              <a:gd name="connsiteX13" fmla="*/ 710929 w 1279705"/>
              <a:gd name="connsiteY13" fmla="*/ 1645172 h 1939758"/>
              <a:gd name="connsiteX14" fmla="*/ 813566 w 1279705"/>
              <a:gd name="connsiteY14" fmla="*/ 1411906 h 1939758"/>
              <a:gd name="connsiteX15" fmla="*/ 785574 w 1279705"/>
              <a:gd name="connsiteY15" fmla="*/ 1197302 h 1939758"/>
              <a:gd name="connsiteX16" fmla="*/ 673607 w 1279705"/>
              <a:gd name="connsiteY16" fmla="*/ 786755 h 1939758"/>
              <a:gd name="connsiteX17" fmla="*/ 524317 w 1279705"/>
              <a:gd name="connsiteY17" fmla="*/ 1159980 h 1939758"/>
              <a:gd name="connsiteX18" fmla="*/ 514986 w 1279705"/>
              <a:gd name="connsiteY18" fmla="*/ 1495882 h 1939758"/>
              <a:gd name="connsiteX19" fmla="*/ 608292 w 1279705"/>
              <a:gd name="connsiteY19" fmla="*/ 1673164 h 1939758"/>
              <a:gd name="connsiteX20" fmla="*/ 626953 w 1279705"/>
              <a:gd name="connsiteY20" fmla="*/ 1803792 h 1939758"/>
              <a:gd name="connsiteX21" fmla="*/ 296531 w 1279705"/>
              <a:gd name="connsiteY21" fmla="*/ 1527676 h 1939758"/>
              <a:gd name="connsiteX22" fmla="*/ 102596 w 1279705"/>
              <a:gd name="connsiteY22" fmla="*/ 779261 h 1939758"/>
              <a:gd name="connsiteX23" fmla="*/ 382609 w 1279705"/>
              <a:gd name="connsiteY23" fmla="*/ 13862 h 1939758"/>
              <a:gd name="connsiteX0" fmla="*/ 382609 w 1279705"/>
              <a:gd name="connsiteY0" fmla="*/ 13862 h 1939758"/>
              <a:gd name="connsiteX1" fmla="*/ 3601 w 1279705"/>
              <a:gd name="connsiteY1" fmla="*/ 700900 h 1939758"/>
              <a:gd name="connsiteX2" fmla="*/ 52161 w 1279705"/>
              <a:gd name="connsiteY2" fmla="*/ 1342782 h 1939758"/>
              <a:gd name="connsiteX3" fmla="*/ 340108 w 1279705"/>
              <a:gd name="connsiteY3" fmla="*/ 1820946 h 1939758"/>
              <a:gd name="connsiteX4" fmla="*/ 636284 w 1279705"/>
              <a:gd name="connsiteY4" fmla="*/ 1934421 h 1939758"/>
              <a:gd name="connsiteX5" fmla="*/ 897541 w 1279705"/>
              <a:gd name="connsiteY5" fmla="*/ 1869106 h 1939758"/>
              <a:gd name="connsiteX6" fmla="*/ 1196527 w 1279705"/>
              <a:gd name="connsiteY6" fmla="*/ 1430143 h 1939758"/>
              <a:gd name="connsiteX7" fmla="*/ 1261980 w 1279705"/>
              <a:gd name="connsiteY7" fmla="*/ 655461 h 1939758"/>
              <a:gd name="connsiteX8" fmla="*/ 853627 w 1279705"/>
              <a:gd name="connsiteY8" fmla="*/ 56 h 1939758"/>
              <a:gd name="connsiteX9" fmla="*/ 1107135 w 1279705"/>
              <a:gd name="connsiteY9" fmla="*/ 689124 h 1939758"/>
              <a:gd name="connsiteX10" fmla="*/ 1029224 w 1279705"/>
              <a:gd name="connsiteY10" fmla="*/ 1345448 h 1939758"/>
              <a:gd name="connsiteX11" fmla="*/ 886953 w 1279705"/>
              <a:gd name="connsiteY11" fmla="*/ 1637056 h 1939758"/>
              <a:gd name="connsiteX12" fmla="*/ 720260 w 1279705"/>
              <a:gd name="connsiteY12" fmla="*/ 1813123 h 1939758"/>
              <a:gd name="connsiteX13" fmla="*/ 710929 w 1279705"/>
              <a:gd name="connsiteY13" fmla="*/ 1645172 h 1939758"/>
              <a:gd name="connsiteX14" fmla="*/ 813566 w 1279705"/>
              <a:gd name="connsiteY14" fmla="*/ 1411906 h 1939758"/>
              <a:gd name="connsiteX15" fmla="*/ 785574 w 1279705"/>
              <a:gd name="connsiteY15" fmla="*/ 1197302 h 1939758"/>
              <a:gd name="connsiteX16" fmla="*/ 673607 w 1279705"/>
              <a:gd name="connsiteY16" fmla="*/ 786755 h 1939758"/>
              <a:gd name="connsiteX17" fmla="*/ 524317 w 1279705"/>
              <a:gd name="connsiteY17" fmla="*/ 1159980 h 1939758"/>
              <a:gd name="connsiteX18" fmla="*/ 514986 w 1279705"/>
              <a:gd name="connsiteY18" fmla="*/ 1495882 h 1939758"/>
              <a:gd name="connsiteX19" fmla="*/ 608292 w 1279705"/>
              <a:gd name="connsiteY19" fmla="*/ 1673164 h 1939758"/>
              <a:gd name="connsiteX20" fmla="*/ 626953 w 1279705"/>
              <a:gd name="connsiteY20" fmla="*/ 1803792 h 1939758"/>
              <a:gd name="connsiteX21" fmla="*/ 296531 w 1279705"/>
              <a:gd name="connsiteY21" fmla="*/ 1527676 h 1939758"/>
              <a:gd name="connsiteX22" fmla="*/ 102596 w 1279705"/>
              <a:gd name="connsiteY22" fmla="*/ 779261 h 1939758"/>
              <a:gd name="connsiteX23" fmla="*/ 382609 w 1279705"/>
              <a:gd name="connsiteY23" fmla="*/ 13862 h 1939758"/>
              <a:gd name="connsiteX0" fmla="*/ 382609 w 1279705"/>
              <a:gd name="connsiteY0" fmla="*/ 13862 h 1939758"/>
              <a:gd name="connsiteX1" fmla="*/ 3601 w 1279705"/>
              <a:gd name="connsiteY1" fmla="*/ 700900 h 1939758"/>
              <a:gd name="connsiteX2" fmla="*/ 52161 w 1279705"/>
              <a:gd name="connsiteY2" fmla="*/ 1342782 h 1939758"/>
              <a:gd name="connsiteX3" fmla="*/ 340108 w 1279705"/>
              <a:gd name="connsiteY3" fmla="*/ 1820946 h 1939758"/>
              <a:gd name="connsiteX4" fmla="*/ 636284 w 1279705"/>
              <a:gd name="connsiteY4" fmla="*/ 1934421 h 1939758"/>
              <a:gd name="connsiteX5" fmla="*/ 897541 w 1279705"/>
              <a:gd name="connsiteY5" fmla="*/ 1869106 h 1939758"/>
              <a:gd name="connsiteX6" fmla="*/ 1196527 w 1279705"/>
              <a:gd name="connsiteY6" fmla="*/ 1430143 h 1939758"/>
              <a:gd name="connsiteX7" fmla="*/ 1261980 w 1279705"/>
              <a:gd name="connsiteY7" fmla="*/ 655461 h 1939758"/>
              <a:gd name="connsiteX8" fmla="*/ 853627 w 1279705"/>
              <a:gd name="connsiteY8" fmla="*/ 56 h 1939758"/>
              <a:gd name="connsiteX9" fmla="*/ 1107135 w 1279705"/>
              <a:gd name="connsiteY9" fmla="*/ 689124 h 1939758"/>
              <a:gd name="connsiteX10" fmla="*/ 1029224 w 1279705"/>
              <a:gd name="connsiteY10" fmla="*/ 1345448 h 1939758"/>
              <a:gd name="connsiteX11" fmla="*/ 886953 w 1279705"/>
              <a:gd name="connsiteY11" fmla="*/ 1637056 h 1939758"/>
              <a:gd name="connsiteX12" fmla="*/ 720260 w 1279705"/>
              <a:gd name="connsiteY12" fmla="*/ 1813123 h 1939758"/>
              <a:gd name="connsiteX13" fmla="*/ 710929 w 1279705"/>
              <a:gd name="connsiteY13" fmla="*/ 1645172 h 1939758"/>
              <a:gd name="connsiteX14" fmla="*/ 813566 w 1279705"/>
              <a:gd name="connsiteY14" fmla="*/ 1411906 h 1939758"/>
              <a:gd name="connsiteX15" fmla="*/ 785574 w 1279705"/>
              <a:gd name="connsiteY15" fmla="*/ 1197302 h 1939758"/>
              <a:gd name="connsiteX16" fmla="*/ 673607 w 1279705"/>
              <a:gd name="connsiteY16" fmla="*/ 786755 h 1939758"/>
              <a:gd name="connsiteX17" fmla="*/ 524317 w 1279705"/>
              <a:gd name="connsiteY17" fmla="*/ 1159980 h 1939758"/>
              <a:gd name="connsiteX18" fmla="*/ 514986 w 1279705"/>
              <a:gd name="connsiteY18" fmla="*/ 1495882 h 1939758"/>
              <a:gd name="connsiteX19" fmla="*/ 608292 w 1279705"/>
              <a:gd name="connsiteY19" fmla="*/ 1673164 h 1939758"/>
              <a:gd name="connsiteX20" fmla="*/ 626953 w 1279705"/>
              <a:gd name="connsiteY20" fmla="*/ 1803792 h 1939758"/>
              <a:gd name="connsiteX21" fmla="*/ 296531 w 1279705"/>
              <a:gd name="connsiteY21" fmla="*/ 1527676 h 1939758"/>
              <a:gd name="connsiteX22" fmla="*/ 102596 w 1279705"/>
              <a:gd name="connsiteY22" fmla="*/ 779261 h 1939758"/>
              <a:gd name="connsiteX23" fmla="*/ 382609 w 1279705"/>
              <a:gd name="connsiteY23" fmla="*/ 13862 h 1939758"/>
              <a:gd name="connsiteX0" fmla="*/ 364516 w 1261612"/>
              <a:gd name="connsiteY0" fmla="*/ 13862 h 1939758"/>
              <a:gd name="connsiteX1" fmla="*/ 10700 w 1261612"/>
              <a:gd name="connsiteY1" fmla="*/ 689374 h 1939758"/>
              <a:gd name="connsiteX2" fmla="*/ 34068 w 1261612"/>
              <a:gd name="connsiteY2" fmla="*/ 1342782 h 1939758"/>
              <a:gd name="connsiteX3" fmla="*/ 322015 w 1261612"/>
              <a:gd name="connsiteY3" fmla="*/ 1820946 h 1939758"/>
              <a:gd name="connsiteX4" fmla="*/ 618191 w 1261612"/>
              <a:gd name="connsiteY4" fmla="*/ 1934421 h 1939758"/>
              <a:gd name="connsiteX5" fmla="*/ 879448 w 1261612"/>
              <a:gd name="connsiteY5" fmla="*/ 1869106 h 1939758"/>
              <a:gd name="connsiteX6" fmla="*/ 1178434 w 1261612"/>
              <a:gd name="connsiteY6" fmla="*/ 1430143 h 1939758"/>
              <a:gd name="connsiteX7" fmla="*/ 1243887 w 1261612"/>
              <a:gd name="connsiteY7" fmla="*/ 655461 h 1939758"/>
              <a:gd name="connsiteX8" fmla="*/ 835534 w 1261612"/>
              <a:gd name="connsiteY8" fmla="*/ 56 h 1939758"/>
              <a:gd name="connsiteX9" fmla="*/ 1089042 w 1261612"/>
              <a:gd name="connsiteY9" fmla="*/ 689124 h 1939758"/>
              <a:gd name="connsiteX10" fmla="*/ 1011131 w 1261612"/>
              <a:gd name="connsiteY10" fmla="*/ 1345448 h 1939758"/>
              <a:gd name="connsiteX11" fmla="*/ 868860 w 1261612"/>
              <a:gd name="connsiteY11" fmla="*/ 1637056 h 1939758"/>
              <a:gd name="connsiteX12" fmla="*/ 702167 w 1261612"/>
              <a:gd name="connsiteY12" fmla="*/ 1813123 h 1939758"/>
              <a:gd name="connsiteX13" fmla="*/ 692836 w 1261612"/>
              <a:gd name="connsiteY13" fmla="*/ 1645172 h 1939758"/>
              <a:gd name="connsiteX14" fmla="*/ 795473 w 1261612"/>
              <a:gd name="connsiteY14" fmla="*/ 1411906 h 1939758"/>
              <a:gd name="connsiteX15" fmla="*/ 767481 w 1261612"/>
              <a:gd name="connsiteY15" fmla="*/ 1197302 h 1939758"/>
              <a:gd name="connsiteX16" fmla="*/ 655514 w 1261612"/>
              <a:gd name="connsiteY16" fmla="*/ 786755 h 1939758"/>
              <a:gd name="connsiteX17" fmla="*/ 506224 w 1261612"/>
              <a:gd name="connsiteY17" fmla="*/ 1159980 h 1939758"/>
              <a:gd name="connsiteX18" fmla="*/ 496893 w 1261612"/>
              <a:gd name="connsiteY18" fmla="*/ 1495882 h 1939758"/>
              <a:gd name="connsiteX19" fmla="*/ 590199 w 1261612"/>
              <a:gd name="connsiteY19" fmla="*/ 1673164 h 1939758"/>
              <a:gd name="connsiteX20" fmla="*/ 608860 w 1261612"/>
              <a:gd name="connsiteY20" fmla="*/ 1803792 h 1939758"/>
              <a:gd name="connsiteX21" fmla="*/ 278438 w 1261612"/>
              <a:gd name="connsiteY21" fmla="*/ 1527676 h 1939758"/>
              <a:gd name="connsiteX22" fmla="*/ 84503 w 1261612"/>
              <a:gd name="connsiteY22" fmla="*/ 779261 h 1939758"/>
              <a:gd name="connsiteX23" fmla="*/ 364516 w 1261612"/>
              <a:gd name="connsiteY23" fmla="*/ 13862 h 1939758"/>
              <a:gd name="connsiteX0" fmla="*/ 371688 w 1268784"/>
              <a:gd name="connsiteY0" fmla="*/ 13862 h 1939758"/>
              <a:gd name="connsiteX1" fmla="*/ 17872 w 1268784"/>
              <a:gd name="connsiteY1" fmla="*/ 689374 h 1939758"/>
              <a:gd name="connsiteX2" fmla="*/ 41240 w 1268784"/>
              <a:gd name="connsiteY2" fmla="*/ 1342782 h 1939758"/>
              <a:gd name="connsiteX3" fmla="*/ 329187 w 1268784"/>
              <a:gd name="connsiteY3" fmla="*/ 1820946 h 1939758"/>
              <a:gd name="connsiteX4" fmla="*/ 625363 w 1268784"/>
              <a:gd name="connsiteY4" fmla="*/ 1934421 h 1939758"/>
              <a:gd name="connsiteX5" fmla="*/ 886620 w 1268784"/>
              <a:gd name="connsiteY5" fmla="*/ 1869106 h 1939758"/>
              <a:gd name="connsiteX6" fmla="*/ 1185606 w 1268784"/>
              <a:gd name="connsiteY6" fmla="*/ 1430143 h 1939758"/>
              <a:gd name="connsiteX7" fmla="*/ 1251059 w 1268784"/>
              <a:gd name="connsiteY7" fmla="*/ 655461 h 1939758"/>
              <a:gd name="connsiteX8" fmla="*/ 842706 w 1268784"/>
              <a:gd name="connsiteY8" fmla="*/ 56 h 1939758"/>
              <a:gd name="connsiteX9" fmla="*/ 1096214 w 1268784"/>
              <a:gd name="connsiteY9" fmla="*/ 689124 h 1939758"/>
              <a:gd name="connsiteX10" fmla="*/ 1018303 w 1268784"/>
              <a:gd name="connsiteY10" fmla="*/ 1345448 h 1939758"/>
              <a:gd name="connsiteX11" fmla="*/ 876032 w 1268784"/>
              <a:gd name="connsiteY11" fmla="*/ 1637056 h 1939758"/>
              <a:gd name="connsiteX12" fmla="*/ 709339 w 1268784"/>
              <a:gd name="connsiteY12" fmla="*/ 1813123 h 1939758"/>
              <a:gd name="connsiteX13" fmla="*/ 700008 w 1268784"/>
              <a:gd name="connsiteY13" fmla="*/ 1645172 h 1939758"/>
              <a:gd name="connsiteX14" fmla="*/ 802645 w 1268784"/>
              <a:gd name="connsiteY14" fmla="*/ 1411906 h 1939758"/>
              <a:gd name="connsiteX15" fmla="*/ 774653 w 1268784"/>
              <a:gd name="connsiteY15" fmla="*/ 1197302 h 1939758"/>
              <a:gd name="connsiteX16" fmla="*/ 662686 w 1268784"/>
              <a:gd name="connsiteY16" fmla="*/ 786755 h 1939758"/>
              <a:gd name="connsiteX17" fmla="*/ 513396 w 1268784"/>
              <a:gd name="connsiteY17" fmla="*/ 1159980 h 1939758"/>
              <a:gd name="connsiteX18" fmla="*/ 504065 w 1268784"/>
              <a:gd name="connsiteY18" fmla="*/ 1495882 h 1939758"/>
              <a:gd name="connsiteX19" fmla="*/ 597371 w 1268784"/>
              <a:gd name="connsiteY19" fmla="*/ 1673164 h 1939758"/>
              <a:gd name="connsiteX20" fmla="*/ 616032 w 1268784"/>
              <a:gd name="connsiteY20" fmla="*/ 1803792 h 1939758"/>
              <a:gd name="connsiteX21" fmla="*/ 285610 w 1268784"/>
              <a:gd name="connsiteY21" fmla="*/ 1527676 h 1939758"/>
              <a:gd name="connsiteX22" fmla="*/ 91675 w 1268784"/>
              <a:gd name="connsiteY22" fmla="*/ 779261 h 1939758"/>
              <a:gd name="connsiteX23" fmla="*/ 371688 w 1268784"/>
              <a:gd name="connsiteY23"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291605 w 1274779"/>
              <a:gd name="connsiteY21" fmla="*/ 1527676 h 1939758"/>
              <a:gd name="connsiteX22" fmla="*/ 97670 w 1274779"/>
              <a:gd name="connsiteY22" fmla="*/ 779261 h 1939758"/>
              <a:gd name="connsiteX23" fmla="*/ 377683 w 1274779"/>
              <a:gd name="connsiteY23"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291605 w 1274779"/>
              <a:gd name="connsiteY21" fmla="*/ 1527676 h 1939758"/>
              <a:gd name="connsiteX22" fmla="*/ 97670 w 1274779"/>
              <a:gd name="connsiteY22" fmla="*/ 779261 h 1939758"/>
              <a:gd name="connsiteX23" fmla="*/ 377683 w 1274779"/>
              <a:gd name="connsiteY23"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291605 w 1274779"/>
              <a:gd name="connsiteY21" fmla="*/ 1527676 h 1939758"/>
              <a:gd name="connsiteX22" fmla="*/ 97670 w 1274779"/>
              <a:gd name="connsiteY22" fmla="*/ 779261 h 1939758"/>
              <a:gd name="connsiteX23" fmla="*/ 377683 w 1274779"/>
              <a:gd name="connsiteY23"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291605 w 1274779"/>
              <a:gd name="connsiteY21" fmla="*/ 1527676 h 1939758"/>
              <a:gd name="connsiteX22" fmla="*/ 97670 w 1274779"/>
              <a:gd name="connsiteY22" fmla="*/ 779261 h 1939758"/>
              <a:gd name="connsiteX23" fmla="*/ 377683 w 1274779"/>
              <a:gd name="connsiteY23"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291605 w 1274779"/>
              <a:gd name="connsiteY21" fmla="*/ 1527676 h 1939758"/>
              <a:gd name="connsiteX22" fmla="*/ 97670 w 1274779"/>
              <a:gd name="connsiteY22" fmla="*/ 779261 h 1939758"/>
              <a:gd name="connsiteX23" fmla="*/ 285109 w 1274779"/>
              <a:gd name="connsiteY23" fmla="*/ 334719 h 1939758"/>
              <a:gd name="connsiteX24" fmla="*/ 377683 w 1274779"/>
              <a:gd name="connsiteY24"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291605 w 1274779"/>
              <a:gd name="connsiteY21" fmla="*/ 1527676 h 1939758"/>
              <a:gd name="connsiteX22" fmla="*/ 97670 w 1274779"/>
              <a:gd name="connsiteY22" fmla="*/ 779261 h 1939758"/>
              <a:gd name="connsiteX23" fmla="*/ 235973 w 1274779"/>
              <a:gd name="connsiteY23" fmla="*/ 325774 h 1939758"/>
              <a:gd name="connsiteX24" fmla="*/ 377683 w 1274779"/>
              <a:gd name="connsiteY24"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291605 w 1274779"/>
              <a:gd name="connsiteY21" fmla="*/ 1527676 h 1939758"/>
              <a:gd name="connsiteX22" fmla="*/ 97670 w 1274779"/>
              <a:gd name="connsiteY22" fmla="*/ 779261 h 1939758"/>
              <a:gd name="connsiteX23" fmla="*/ 235973 w 1274779"/>
              <a:gd name="connsiteY23" fmla="*/ 325774 h 1939758"/>
              <a:gd name="connsiteX24" fmla="*/ 377683 w 1274779"/>
              <a:gd name="connsiteY24"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291605 w 1274779"/>
              <a:gd name="connsiteY21" fmla="*/ 1527676 h 1939758"/>
              <a:gd name="connsiteX22" fmla="*/ 167307 w 1274779"/>
              <a:gd name="connsiteY22" fmla="*/ 1190506 h 1939758"/>
              <a:gd name="connsiteX23" fmla="*/ 97670 w 1274779"/>
              <a:gd name="connsiteY23" fmla="*/ 779261 h 1939758"/>
              <a:gd name="connsiteX24" fmla="*/ 235973 w 1274779"/>
              <a:gd name="connsiteY24" fmla="*/ 325774 h 1939758"/>
              <a:gd name="connsiteX25" fmla="*/ 377683 w 1274779"/>
              <a:gd name="connsiteY25"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291605 w 1274779"/>
              <a:gd name="connsiteY21" fmla="*/ 1527676 h 1939758"/>
              <a:gd name="connsiteX22" fmla="*/ 131022 w 1274779"/>
              <a:gd name="connsiteY22" fmla="*/ 1267790 h 1939758"/>
              <a:gd name="connsiteX23" fmla="*/ 97670 w 1274779"/>
              <a:gd name="connsiteY23" fmla="*/ 779261 h 1939758"/>
              <a:gd name="connsiteX24" fmla="*/ 235973 w 1274779"/>
              <a:gd name="connsiteY24" fmla="*/ 325774 h 1939758"/>
              <a:gd name="connsiteX25" fmla="*/ 377683 w 1274779"/>
              <a:gd name="connsiteY25"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284200 w 1274779"/>
              <a:gd name="connsiteY21" fmla="*/ 1586329 h 1939758"/>
              <a:gd name="connsiteX22" fmla="*/ 131022 w 1274779"/>
              <a:gd name="connsiteY22" fmla="*/ 1267790 h 1939758"/>
              <a:gd name="connsiteX23" fmla="*/ 97670 w 1274779"/>
              <a:gd name="connsiteY23" fmla="*/ 779261 h 1939758"/>
              <a:gd name="connsiteX24" fmla="*/ 235973 w 1274779"/>
              <a:gd name="connsiteY24" fmla="*/ 325774 h 1939758"/>
              <a:gd name="connsiteX25" fmla="*/ 377683 w 1274779"/>
              <a:gd name="connsiteY25"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303844 w 1274779"/>
              <a:gd name="connsiteY21" fmla="*/ 1607683 h 1939758"/>
              <a:gd name="connsiteX22" fmla="*/ 131022 w 1274779"/>
              <a:gd name="connsiteY22" fmla="*/ 1267790 h 1939758"/>
              <a:gd name="connsiteX23" fmla="*/ 97670 w 1274779"/>
              <a:gd name="connsiteY23" fmla="*/ 779261 h 1939758"/>
              <a:gd name="connsiteX24" fmla="*/ 235973 w 1274779"/>
              <a:gd name="connsiteY24" fmla="*/ 325774 h 1939758"/>
              <a:gd name="connsiteX25" fmla="*/ 377683 w 1274779"/>
              <a:gd name="connsiteY25" fmla="*/ 13862 h 1939758"/>
              <a:gd name="connsiteX0" fmla="*/ 377683 w 1274779"/>
              <a:gd name="connsiteY0" fmla="*/ 13862 h 1939758"/>
              <a:gd name="connsiteX1" fmla="*/ 23867 w 1274779"/>
              <a:gd name="connsiteY1" fmla="*/ 689374 h 1939758"/>
              <a:gd name="connsiteX2" fmla="*/ 47235 w 1274779"/>
              <a:gd name="connsiteY2" fmla="*/ 1342782 h 1939758"/>
              <a:gd name="connsiteX3" fmla="*/ 335182 w 1274779"/>
              <a:gd name="connsiteY3" fmla="*/ 1820946 h 1939758"/>
              <a:gd name="connsiteX4" fmla="*/ 631358 w 1274779"/>
              <a:gd name="connsiteY4" fmla="*/ 1934421 h 1939758"/>
              <a:gd name="connsiteX5" fmla="*/ 892615 w 1274779"/>
              <a:gd name="connsiteY5" fmla="*/ 1869106 h 1939758"/>
              <a:gd name="connsiteX6" fmla="*/ 1191601 w 1274779"/>
              <a:gd name="connsiteY6" fmla="*/ 1430143 h 1939758"/>
              <a:gd name="connsiteX7" fmla="*/ 1257054 w 1274779"/>
              <a:gd name="connsiteY7" fmla="*/ 655461 h 1939758"/>
              <a:gd name="connsiteX8" fmla="*/ 848701 w 1274779"/>
              <a:gd name="connsiteY8" fmla="*/ 56 h 1939758"/>
              <a:gd name="connsiteX9" fmla="*/ 1102209 w 1274779"/>
              <a:gd name="connsiteY9" fmla="*/ 689124 h 1939758"/>
              <a:gd name="connsiteX10" fmla="*/ 1024298 w 1274779"/>
              <a:gd name="connsiteY10" fmla="*/ 1345448 h 1939758"/>
              <a:gd name="connsiteX11" fmla="*/ 882027 w 1274779"/>
              <a:gd name="connsiteY11" fmla="*/ 1637056 h 1939758"/>
              <a:gd name="connsiteX12" fmla="*/ 715334 w 1274779"/>
              <a:gd name="connsiteY12" fmla="*/ 1813123 h 1939758"/>
              <a:gd name="connsiteX13" fmla="*/ 706003 w 1274779"/>
              <a:gd name="connsiteY13" fmla="*/ 1645172 h 1939758"/>
              <a:gd name="connsiteX14" fmla="*/ 808640 w 1274779"/>
              <a:gd name="connsiteY14" fmla="*/ 1411906 h 1939758"/>
              <a:gd name="connsiteX15" fmla="*/ 780648 w 1274779"/>
              <a:gd name="connsiteY15" fmla="*/ 1197302 h 1939758"/>
              <a:gd name="connsiteX16" fmla="*/ 668681 w 1274779"/>
              <a:gd name="connsiteY16" fmla="*/ 786755 h 1939758"/>
              <a:gd name="connsiteX17" fmla="*/ 519391 w 1274779"/>
              <a:gd name="connsiteY17" fmla="*/ 1159980 h 1939758"/>
              <a:gd name="connsiteX18" fmla="*/ 510060 w 1274779"/>
              <a:gd name="connsiteY18" fmla="*/ 1495882 h 1939758"/>
              <a:gd name="connsiteX19" fmla="*/ 603366 w 1274779"/>
              <a:gd name="connsiteY19" fmla="*/ 1673164 h 1939758"/>
              <a:gd name="connsiteX20" fmla="*/ 622027 w 1274779"/>
              <a:gd name="connsiteY20" fmla="*/ 1803792 h 1939758"/>
              <a:gd name="connsiteX21" fmla="*/ 303844 w 1274779"/>
              <a:gd name="connsiteY21" fmla="*/ 1607683 h 1939758"/>
              <a:gd name="connsiteX22" fmla="*/ 131022 w 1274779"/>
              <a:gd name="connsiteY22" fmla="*/ 1267790 h 1939758"/>
              <a:gd name="connsiteX23" fmla="*/ 97670 w 1274779"/>
              <a:gd name="connsiteY23" fmla="*/ 779261 h 1939758"/>
              <a:gd name="connsiteX24" fmla="*/ 235973 w 1274779"/>
              <a:gd name="connsiteY24" fmla="*/ 325774 h 1939758"/>
              <a:gd name="connsiteX25" fmla="*/ 377683 w 1274779"/>
              <a:gd name="connsiteY25" fmla="*/ 13862 h 1939758"/>
              <a:gd name="connsiteX0" fmla="*/ 377683 w 1274779"/>
              <a:gd name="connsiteY0" fmla="*/ 13862 h 1959048"/>
              <a:gd name="connsiteX1" fmla="*/ 23867 w 1274779"/>
              <a:gd name="connsiteY1" fmla="*/ 689374 h 1959048"/>
              <a:gd name="connsiteX2" fmla="*/ 47235 w 1274779"/>
              <a:gd name="connsiteY2" fmla="*/ 1342782 h 1959048"/>
              <a:gd name="connsiteX3" fmla="*/ 335182 w 1274779"/>
              <a:gd name="connsiteY3" fmla="*/ 1820946 h 1959048"/>
              <a:gd name="connsiteX4" fmla="*/ 615989 w 1274779"/>
              <a:gd name="connsiteY4" fmla="*/ 1956625 h 1959048"/>
              <a:gd name="connsiteX5" fmla="*/ 892615 w 1274779"/>
              <a:gd name="connsiteY5" fmla="*/ 1869106 h 1959048"/>
              <a:gd name="connsiteX6" fmla="*/ 1191601 w 1274779"/>
              <a:gd name="connsiteY6" fmla="*/ 1430143 h 1959048"/>
              <a:gd name="connsiteX7" fmla="*/ 1257054 w 1274779"/>
              <a:gd name="connsiteY7" fmla="*/ 655461 h 1959048"/>
              <a:gd name="connsiteX8" fmla="*/ 848701 w 1274779"/>
              <a:gd name="connsiteY8" fmla="*/ 56 h 1959048"/>
              <a:gd name="connsiteX9" fmla="*/ 1102209 w 1274779"/>
              <a:gd name="connsiteY9" fmla="*/ 689124 h 1959048"/>
              <a:gd name="connsiteX10" fmla="*/ 1024298 w 1274779"/>
              <a:gd name="connsiteY10" fmla="*/ 1345448 h 1959048"/>
              <a:gd name="connsiteX11" fmla="*/ 882027 w 1274779"/>
              <a:gd name="connsiteY11" fmla="*/ 1637056 h 1959048"/>
              <a:gd name="connsiteX12" fmla="*/ 715334 w 1274779"/>
              <a:gd name="connsiteY12" fmla="*/ 1813123 h 1959048"/>
              <a:gd name="connsiteX13" fmla="*/ 706003 w 1274779"/>
              <a:gd name="connsiteY13" fmla="*/ 1645172 h 1959048"/>
              <a:gd name="connsiteX14" fmla="*/ 808640 w 1274779"/>
              <a:gd name="connsiteY14" fmla="*/ 1411906 h 1959048"/>
              <a:gd name="connsiteX15" fmla="*/ 780648 w 1274779"/>
              <a:gd name="connsiteY15" fmla="*/ 1197302 h 1959048"/>
              <a:gd name="connsiteX16" fmla="*/ 668681 w 1274779"/>
              <a:gd name="connsiteY16" fmla="*/ 786755 h 1959048"/>
              <a:gd name="connsiteX17" fmla="*/ 519391 w 1274779"/>
              <a:gd name="connsiteY17" fmla="*/ 1159980 h 1959048"/>
              <a:gd name="connsiteX18" fmla="*/ 510060 w 1274779"/>
              <a:gd name="connsiteY18" fmla="*/ 1495882 h 1959048"/>
              <a:gd name="connsiteX19" fmla="*/ 603366 w 1274779"/>
              <a:gd name="connsiteY19" fmla="*/ 1673164 h 1959048"/>
              <a:gd name="connsiteX20" fmla="*/ 622027 w 1274779"/>
              <a:gd name="connsiteY20" fmla="*/ 1803792 h 1959048"/>
              <a:gd name="connsiteX21" fmla="*/ 303844 w 1274779"/>
              <a:gd name="connsiteY21" fmla="*/ 1607683 h 1959048"/>
              <a:gd name="connsiteX22" fmla="*/ 131022 w 1274779"/>
              <a:gd name="connsiteY22" fmla="*/ 1267790 h 1959048"/>
              <a:gd name="connsiteX23" fmla="*/ 97670 w 1274779"/>
              <a:gd name="connsiteY23" fmla="*/ 779261 h 1959048"/>
              <a:gd name="connsiteX24" fmla="*/ 235973 w 1274779"/>
              <a:gd name="connsiteY24" fmla="*/ 325774 h 1959048"/>
              <a:gd name="connsiteX25" fmla="*/ 377683 w 1274779"/>
              <a:gd name="connsiteY25" fmla="*/ 13862 h 1959048"/>
              <a:gd name="connsiteX0" fmla="*/ 377683 w 1278622"/>
              <a:gd name="connsiteY0" fmla="*/ 13862 h 1976333"/>
              <a:gd name="connsiteX1" fmla="*/ 23867 w 1278622"/>
              <a:gd name="connsiteY1" fmla="*/ 689374 h 1976333"/>
              <a:gd name="connsiteX2" fmla="*/ 47235 w 1278622"/>
              <a:gd name="connsiteY2" fmla="*/ 1342782 h 1976333"/>
              <a:gd name="connsiteX3" fmla="*/ 335182 w 1278622"/>
              <a:gd name="connsiteY3" fmla="*/ 1820946 h 1976333"/>
              <a:gd name="connsiteX4" fmla="*/ 615989 w 1278622"/>
              <a:gd name="connsiteY4" fmla="*/ 1956625 h 1976333"/>
              <a:gd name="connsiteX5" fmla="*/ 932515 w 1278622"/>
              <a:gd name="connsiteY5" fmla="*/ 1918037 h 1976333"/>
              <a:gd name="connsiteX6" fmla="*/ 1191601 w 1278622"/>
              <a:gd name="connsiteY6" fmla="*/ 1430143 h 1976333"/>
              <a:gd name="connsiteX7" fmla="*/ 1257054 w 1278622"/>
              <a:gd name="connsiteY7" fmla="*/ 655461 h 1976333"/>
              <a:gd name="connsiteX8" fmla="*/ 848701 w 1278622"/>
              <a:gd name="connsiteY8" fmla="*/ 56 h 1976333"/>
              <a:gd name="connsiteX9" fmla="*/ 1102209 w 1278622"/>
              <a:gd name="connsiteY9" fmla="*/ 689124 h 1976333"/>
              <a:gd name="connsiteX10" fmla="*/ 1024298 w 1278622"/>
              <a:gd name="connsiteY10" fmla="*/ 1345448 h 1976333"/>
              <a:gd name="connsiteX11" fmla="*/ 882027 w 1278622"/>
              <a:gd name="connsiteY11" fmla="*/ 1637056 h 1976333"/>
              <a:gd name="connsiteX12" fmla="*/ 715334 w 1278622"/>
              <a:gd name="connsiteY12" fmla="*/ 1813123 h 1976333"/>
              <a:gd name="connsiteX13" fmla="*/ 706003 w 1278622"/>
              <a:gd name="connsiteY13" fmla="*/ 1645172 h 1976333"/>
              <a:gd name="connsiteX14" fmla="*/ 808640 w 1278622"/>
              <a:gd name="connsiteY14" fmla="*/ 1411906 h 1976333"/>
              <a:gd name="connsiteX15" fmla="*/ 780648 w 1278622"/>
              <a:gd name="connsiteY15" fmla="*/ 1197302 h 1976333"/>
              <a:gd name="connsiteX16" fmla="*/ 668681 w 1278622"/>
              <a:gd name="connsiteY16" fmla="*/ 786755 h 1976333"/>
              <a:gd name="connsiteX17" fmla="*/ 519391 w 1278622"/>
              <a:gd name="connsiteY17" fmla="*/ 1159980 h 1976333"/>
              <a:gd name="connsiteX18" fmla="*/ 510060 w 1278622"/>
              <a:gd name="connsiteY18" fmla="*/ 1495882 h 1976333"/>
              <a:gd name="connsiteX19" fmla="*/ 603366 w 1278622"/>
              <a:gd name="connsiteY19" fmla="*/ 1673164 h 1976333"/>
              <a:gd name="connsiteX20" fmla="*/ 622027 w 1278622"/>
              <a:gd name="connsiteY20" fmla="*/ 1803792 h 1976333"/>
              <a:gd name="connsiteX21" fmla="*/ 303844 w 1278622"/>
              <a:gd name="connsiteY21" fmla="*/ 1607683 h 1976333"/>
              <a:gd name="connsiteX22" fmla="*/ 131022 w 1278622"/>
              <a:gd name="connsiteY22" fmla="*/ 1267790 h 1976333"/>
              <a:gd name="connsiteX23" fmla="*/ 97670 w 1278622"/>
              <a:gd name="connsiteY23" fmla="*/ 779261 h 1976333"/>
              <a:gd name="connsiteX24" fmla="*/ 235973 w 1278622"/>
              <a:gd name="connsiteY24" fmla="*/ 325774 h 1976333"/>
              <a:gd name="connsiteX25" fmla="*/ 377683 w 1278622"/>
              <a:gd name="connsiteY25" fmla="*/ 13862 h 1976333"/>
              <a:gd name="connsiteX0" fmla="*/ 377683 w 1278622"/>
              <a:gd name="connsiteY0" fmla="*/ 13862 h 1966245"/>
              <a:gd name="connsiteX1" fmla="*/ 23867 w 1278622"/>
              <a:gd name="connsiteY1" fmla="*/ 689374 h 1966245"/>
              <a:gd name="connsiteX2" fmla="*/ 47235 w 1278622"/>
              <a:gd name="connsiteY2" fmla="*/ 1342782 h 1966245"/>
              <a:gd name="connsiteX3" fmla="*/ 335182 w 1278622"/>
              <a:gd name="connsiteY3" fmla="*/ 1820946 h 1966245"/>
              <a:gd name="connsiteX4" fmla="*/ 615989 w 1278622"/>
              <a:gd name="connsiteY4" fmla="*/ 1956625 h 1966245"/>
              <a:gd name="connsiteX5" fmla="*/ 932515 w 1278622"/>
              <a:gd name="connsiteY5" fmla="*/ 1918037 h 1966245"/>
              <a:gd name="connsiteX6" fmla="*/ 1191601 w 1278622"/>
              <a:gd name="connsiteY6" fmla="*/ 1430143 h 1966245"/>
              <a:gd name="connsiteX7" fmla="*/ 1257054 w 1278622"/>
              <a:gd name="connsiteY7" fmla="*/ 655461 h 1966245"/>
              <a:gd name="connsiteX8" fmla="*/ 848701 w 1278622"/>
              <a:gd name="connsiteY8" fmla="*/ 56 h 1966245"/>
              <a:gd name="connsiteX9" fmla="*/ 1102209 w 1278622"/>
              <a:gd name="connsiteY9" fmla="*/ 689124 h 1966245"/>
              <a:gd name="connsiteX10" fmla="*/ 1024298 w 1278622"/>
              <a:gd name="connsiteY10" fmla="*/ 1345448 h 1966245"/>
              <a:gd name="connsiteX11" fmla="*/ 882027 w 1278622"/>
              <a:gd name="connsiteY11" fmla="*/ 1637056 h 1966245"/>
              <a:gd name="connsiteX12" fmla="*/ 715334 w 1278622"/>
              <a:gd name="connsiteY12" fmla="*/ 1813123 h 1966245"/>
              <a:gd name="connsiteX13" fmla="*/ 706003 w 1278622"/>
              <a:gd name="connsiteY13" fmla="*/ 1645172 h 1966245"/>
              <a:gd name="connsiteX14" fmla="*/ 808640 w 1278622"/>
              <a:gd name="connsiteY14" fmla="*/ 1411906 h 1966245"/>
              <a:gd name="connsiteX15" fmla="*/ 780648 w 1278622"/>
              <a:gd name="connsiteY15" fmla="*/ 1197302 h 1966245"/>
              <a:gd name="connsiteX16" fmla="*/ 668681 w 1278622"/>
              <a:gd name="connsiteY16" fmla="*/ 786755 h 1966245"/>
              <a:gd name="connsiteX17" fmla="*/ 519391 w 1278622"/>
              <a:gd name="connsiteY17" fmla="*/ 1159980 h 1966245"/>
              <a:gd name="connsiteX18" fmla="*/ 510060 w 1278622"/>
              <a:gd name="connsiteY18" fmla="*/ 1495882 h 1966245"/>
              <a:gd name="connsiteX19" fmla="*/ 603366 w 1278622"/>
              <a:gd name="connsiteY19" fmla="*/ 1673164 h 1966245"/>
              <a:gd name="connsiteX20" fmla="*/ 622027 w 1278622"/>
              <a:gd name="connsiteY20" fmla="*/ 1803792 h 1966245"/>
              <a:gd name="connsiteX21" fmla="*/ 303844 w 1278622"/>
              <a:gd name="connsiteY21" fmla="*/ 1607683 h 1966245"/>
              <a:gd name="connsiteX22" fmla="*/ 131022 w 1278622"/>
              <a:gd name="connsiteY22" fmla="*/ 1267790 h 1966245"/>
              <a:gd name="connsiteX23" fmla="*/ 97670 w 1278622"/>
              <a:gd name="connsiteY23" fmla="*/ 779261 h 1966245"/>
              <a:gd name="connsiteX24" fmla="*/ 235973 w 1278622"/>
              <a:gd name="connsiteY24" fmla="*/ 325774 h 1966245"/>
              <a:gd name="connsiteX25" fmla="*/ 377683 w 1278622"/>
              <a:gd name="connsiteY25" fmla="*/ 13862 h 1966245"/>
              <a:gd name="connsiteX0" fmla="*/ 377683 w 1317946"/>
              <a:gd name="connsiteY0" fmla="*/ 13862 h 1971881"/>
              <a:gd name="connsiteX1" fmla="*/ 23867 w 1317946"/>
              <a:gd name="connsiteY1" fmla="*/ 689374 h 1971881"/>
              <a:gd name="connsiteX2" fmla="*/ 47235 w 1317946"/>
              <a:gd name="connsiteY2" fmla="*/ 1342782 h 1971881"/>
              <a:gd name="connsiteX3" fmla="*/ 335182 w 1317946"/>
              <a:gd name="connsiteY3" fmla="*/ 1820946 h 1971881"/>
              <a:gd name="connsiteX4" fmla="*/ 615989 w 1317946"/>
              <a:gd name="connsiteY4" fmla="*/ 1956625 h 1971881"/>
              <a:gd name="connsiteX5" fmla="*/ 932515 w 1317946"/>
              <a:gd name="connsiteY5" fmla="*/ 1918037 h 1971881"/>
              <a:gd name="connsiteX6" fmla="*/ 1282469 w 1317946"/>
              <a:gd name="connsiteY6" fmla="*/ 1506687 h 1971881"/>
              <a:gd name="connsiteX7" fmla="*/ 1257054 w 1317946"/>
              <a:gd name="connsiteY7" fmla="*/ 655461 h 1971881"/>
              <a:gd name="connsiteX8" fmla="*/ 848701 w 1317946"/>
              <a:gd name="connsiteY8" fmla="*/ 56 h 1971881"/>
              <a:gd name="connsiteX9" fmla="*/ 1102209 w 1317946"/>
              <a:gd name="connsiteY9" fmla="*/ 689124 h 1971881"/>
              <a:gd name="connsiteX10" fmla="*/ 1024298 w 1317946"/>
              <a:gd name="connsiteY10" fmla="*/ 1345448 h 1971881"/>
              <a:gd name="connsiteX11" fmla="*/ 882027 w 1317946"/>
              <a:gd name="connsiteY11" fmla="*/ 1637056 h 1971881"/>
              <a:gd name="connsiteX12" fmla="*/ 715334 w 1317946"/>
              <a:gd name="connsiteY12" fmla="*/ 1813123 h 1971881"/>
              <a:gd name="connsiteX13" fmla="*/ 706003 w 1317946"/>
              <a:gd name="connsiteY13" fmla="*/ 1645172 h 1971881"/>
              <a:gd name="connsiteX14" fmla="*/ 808640 w 1317946"/>
              <a:gd name="connsiteY14" fmla="*/ 1411906 h 1971881"/>
              <a:gd name="connsiteX15" fmla="*/ 780648 w 1317946"/>
              <a:gd name="connsiteY15" fmla="*/ 1197302 h 1971881"/>
              <a:gd name="connsiteX16" fmla="*/ 668681 w 1317946"/>
              <a:gd name="connsiteY16" fmla="*/ 786755 h 1971881"/>
              <a:gd name="connsiteX17" fmla="*/ 519391 w 1317946"/>
              <a:gd name="connsiteY17" fmla="*/ 1159980 h 1971881"/>
              <a:gd name="connsiteX18" fmla="*/ 510060 w 1317946"/>
              <a:gd name="connsiteY18" fmla="*/ 1495882 h 1971881"/>
              <a:gd name="connsiteX19" fmla="*/ 603366 w 1317946"/>
              <a:gd name="connsiteY19" fmla="*/ 1673164 h 1971881"/>
              <a:gd name="connsiteX20" fmla="*/ 622027 w 1317946"/>
              <a:gd name="connsiteY20" fmla="*/ 1803792 h 1971881"/>
              <a:gd name="connsiteX21" fmla="*/ 303844 w 1317946"/>
              <a:gd name="connsiteY21" fmla="*/ 1607683 h 1971881"/>
              <a:gd name="connsiteX22" fmla="*/ 131022 w 1317946"/>
              <a:gd name="connsiteY22" fmla="*/ 1267790 h 1971881"/>
              <a:gd name="connsiteX23" fmla="*/ 97670 w 1317946"/>
              <a:gd name="connsiteY23" fmla="*/ 779261 h 1971881"/>
              <a:gd name="connsiteX24" fmla="*/ 235973 w 1317946"/>
              <a:gd name="connsiteY24" fmla="*/ 325774 h 1971881"/>
              <a:gd name="connsiteX25" fmla="*/ 377683 w 1317946"/>
              <a:gd name="connsiteY25" fmla="*/ 13862 h 1971881"/>
              <a:gd name="connsiteX0" fmla="*/ 377683 w 1317946"/>
              <a:gd name="connsiteY0" fmla="*/ 13862 h 1971881"/>
              <a:gd name="connsiteX1" fmla="*/ 23867 w 1317946"/>
              <a:gd name="connsiteY1" fmla="*/ 689374 h 1971881"/>
              <a:gd name="connsiteX2" fmla="*/ 47235 w 1317946"/>
              <a:gd name="connsiteY2" fmla="*/ 1342782 h 1971881"/>
              <a:gd name="connsiteX3" fmla="*/ 335182 w 1317946"/>
              <a:gd name="connsiteY3" fmla="*/ 1820946 h 1971881"/>
              <a:gd name="connsiteX4" fmla="*/ 615989 w 1317946"/>
              <a:gd name="connsiteY4" fmla="*/ 1956625 h 1971881"/>
              <a:gd name="connsiteX5" fmla="*/ 932515 w 1317946"/>
              <a:gd name="connsiteY5" fmla="*/ 1918037 h 1971881"/>
              <a:gd name="connsiteX6" fmla="*/ 1282469 w 1317946"/>
              <a:gd name="connsiteY6" fmla="*/ 1506687 h 1971881"/>
              <a:gd name="connsiteX7" fmla="*/ 1257054 w 1317946"/>
              <a:gd name="connsiteY7" fmla="*/ 655461 h 1971881"/>
              <a:gd name="connsiteX8" fmla="*/ 848701 w 1317946"/>
              <a:gd name="connsiteY8" fmla="*/ 56 h 1971881"/>
              <a:gd name="connsiteX9" fmla="*/ 1102209 w 1317946"/>
              <a:gd name="connsiteY9" fmla="*/ 689124 h 1971881"/>
              <a:gd name="connsiteX10" fmla="*/ 1182749 w 1317946"/>
              <a:gd name="connsiteY10" fmla="*/ 1395407 h 1971881"/>
              <a:gd name="connsiteX11" fmla="*/ 882027 w 1317946"/>
              <a:gd name="connsiteY11" fmla="*/ 1637056 h 1971881"/>
              <a:gd name="connsiteX12" fmla="*/ 715334 w 1317946"/>
              <a:gd name="connsiteY12" fmla="*/ 1813123 h 1971881"/>
              <a:gd name="connsiteX13" fmla="*/ 706003 w 1317946"/>
              <a:gd name="connsiteY13" fmla="*/ 1645172 h 1971881"/>
              <a:gd name="connsiteX14" fmla="*/ 808640 w 1317946"/>
              <a:gd name="connsiteY14" fmla="*/ 1411906 h 1971881"/>
              <a:gd name="connsiteX15" fmla="*/ 780648 w 1317946"/>
              <a:gd name="connsiteY15" fmla="*/ 1197302 h 1971881"/>
              <a:gd name="connsiteX16" fmla="*/ 668681 w 1317946"/>
              <a:gd name="connsiteY16" fmla="*/ 786755 h 1971881"/>
              <a:gd name="connsiteX17" fmla="*/ 519391 w 1317946"/>
              <a:gd name="connsiteY17" fmla="*/ 1159980 h 1971881"/>
              <a:gd name="connsiteX18" fmla="*/ 510060 w 1317946"/>
              <a:gd name="connsiteY18" fmla="*/ 1495882 h 1971881"/>
              <a:gd name="connsiteX19" fmla="*/ 603366 w 1317946"/>
              <a:gd name="connsiteY19" fmla="*/ 1673164 h 1971881"/>
              <a:gd name="connsiteX20" fmla="*/ 622027 w 1317946"/>
              <a:gd name="connsiteY20" fmla="*/ 1803792 h 1971881"/>
              <a:gd name="connsiteX21" fmla="*/ 303844 w 1317946"/>
              <a:gd name="connsiteY21" fmla="*/ 1607683 h 1971881"/>
              <a:gd name="connsiteX22" fmla="*/ 131022 w 1317946"/>
              <a:gd name="connsiteY22" fmla="*/ 1267790 h 1971881"/>
              <a:gd name="connsiteX23" fmla="*/ 97670 w 1317946"/>
              <a:gd name="connsiteY23" fmla="*/ 779261 h 1971881"/>
              <a:gd name="connsiteX24" fmla="*/ 235973 w 1317946"/>
              <a:gd name="connsiteY24" fmla="*/ 325774 h 1971881"/>
              <a:gd name="connsiteX25" fmla="*/ 377683 w 1317946"/>
              <a:gd name="connsiteY25" fmla="*/ 13862 h 1971881"/>
              <a:gd name="connsiteX0" fmla="*/ 377683 w 1317946"/>
              <a:gd name="connsiteY0" fmla="*/ 13862 h 1971881"/>
              <a:gd name="connsiteX1" fmla="*/ 23867 w 1317946"/>
              <a:gd name="connsiteY1" fmla="*/ 689374 h 1971881"/>
              <a:gd name="connsiteX2" fmla="*/ 47235 w 1317946"/>
              <a:gd name="connsiteY2" fmla="*/ 1342782 h 1971881"/>
              <a:gd name="connsiteX3" fmla="*/ 335182 w 1317946"/>
              <a:gd name="connsiteY3" fmla="*/ 1820946 h 1971881"/>
              <a:gd name="connsiteX4" fmla="*/ 615989 w 1317946"/>
              <a:gd name="connsiteY4" fmla="*/ 1956625 h 1971881"/>
              <a:gd name="connsiteX5" fmla="*/ 932515 w 1317946"/>
              <a:gd name="connsiteY5" fmla="*/ 1918037 h 1971881"/>
              <a:gd name="connsiteX6" fmla="*/ 1282469 w 1317946"/>
              <a:gd name="connsiteY6" fmla="*/ 1506687 h 1971881"/>
              <a:gd name="connsiteX7" fmla="*/ 1257054 w 1317946"/>
              <a:gd name="connsiteY7" fmla="*/ 655461 h 1971881"/>
              <a:gd name="connsiteX8" fmla="*/ 848701 w 1317946"/>
              <a:gd name="connsiteY8" fmla="*/ 56 h 1971881"/>
              <a:gd name="connsiteX9" fmla="*/ 1102209 w 1317946"/>
              <a:gd name="connsiteY9" fmla="*/ 689124 h 1971881"/>
              <a:gd name="connsiteX10" fmla="*/ 1182749 w 1317946"/>
              <a:gd name="connsiteY10" fmla="*/ 1395407 h 1971881"/>
              <a:gd name="connsiteX11" fmla="*/ 973530 w 1317946"/>
              <a:gd name="connsiteY11" fmla="*/ 1675381 h 1971881"/>
              <a:gd name="connsiteX12" fmla="*/ 715334 w 1317946"/>
              <a:gd name="connsiteY12" fmla="*/ 1813123 h 1971881"/>
              <a:gd name="connsiteX13" fmla="*/ 706003 w 1317946"/>
              <a:gd name="connsiteY13" fmla="*/ 1645172 h 1971881"/>
              <a:gd name="connsiteX14" fmla="*/ 808640 w 1317946"/>
              <a:gd name="connsiteY14" fmla="*/ 1411906 h 1971881"/>
              <a:gd name="connsiteX15" fmla="*/ 780648 w 1317946"/>
              <a:gd name="connsiteY15" fmla="*/ 1197302 h 1971881"/>
              <a:gd name="connsiteX16" fmla="*/ 668681 w 1317946"/>
              <a:gd name="connsiteY16" fmla="*/ 786755 h 1971881"/>
              <a:gd name="connsiteX17" fmla="*/ 519391 w 1317946"/>
              <a:gd name="connsiteY17" fmla="*/ 1159980 h 1971881"/>
              <a:gd name="connsiteX18" fmla="*/ 510060 w 1317946"/>
              <a:gd name="connsiteY18" fmla="*/ 1495882 h 1971881"/>
              <a:gd name="connsiteX19" fmla="*/ 603366 w 1317946"/>
              <a:gd name="connsiteY19" fmla="*/ 1673164 h 1971881"/>
              <a:gd name="connsiteX20" fmla="*/ 622027 w 1317946"/>
              <a:gd name="connsiteY20" fmla="*/ 1803792 h 1971881"/>
              <a:gd name="connsiteX21" fmla="*/ 303844 w 1317946"/>
              <a:gd name="connsiteY21" fmla="*/ 1607683 h 1971881"/>
              <a:gd name="connsiteX22" fmla="*/ 131022 w 1317946"/>
              <a:gd name="connsiteY22" fmla="*/ 1267790 h 1971881"/>
              <a:gd name="connsiteX23" fmla="*/ 97670 w 1317946"/>
              <a:gd name="connsiteY23" fmla="*/ 779261 h 1971881"/>
              <a:gd name="connsiteX24" fmla="*/ 235973 w 1317946"/>
              <a:gd name="connsiteY24" fmla="*/ 325774 h 1971881"/>
              <a:gd name="connsiteX25" fmla="*/ 377683 w 1317946"/>
              <a:gd name="connsiteY25" fmla="*/ 13862 h 1971881"/>
              <a:gd name="connsiteX0" fmla="*/ 377683 w 1317946"/>
              <a:gd name="connsiteY0" fmla="*/ 13862 h 1971881"/>
              <a:gd name="connsiteX1" fmla="*/ 23867 w 1317946"/>
              <a:gd name="connsiteY1" fmla="*/ 689374 h 1971881"/>
              <a:gd name="connsiteX2" fmla="*/ 47235 w 1317946"/>
              <a:gd name="connsiteY2" fmla="*/ 1342782 h 1971881"/>
              <a:gd name="connsiteX3" fmla="*/ 335182 w 1317946"/>
              <a:gd name="connsiteY3" fmla="*/ 1820946 h 1971881"/>
              <a:gd name="connsiteX4" fmla="*/ 615989 w 1317946"/>
              <a:gd name="connsiteY4" fmla="*/ 1956625 h 1971881"/>
              <a:gd name="connsiteX5" fmla="*/ 932515 w 1317946"/>
              <a:gd name="connsiteY5" fmla="*/ 1918037 h 1971881"/>
              <a:gd name="connsiteX6" fmla="*/ 1282469 w 1317946"/>
              <a:gd name="connsiteY6" fmla="*/ 1506687 h 1971881"/>
              <a:gd name="connsiteX7" fmla="*/ 1257054 w 1317946"/>
              <a:gd name="connsiteY7" fmla="*/ 655461 h 1971881"/>
              <a:gd name="connsiteX8" fmla="*/ 848701 w 1317946"/>
              <a:gd name="connsiteY8" fmla="*/ 56 h 1971881"/>
              <a:gd name="connsiteX9" fmla="*/ 1102209 w 1317946"/>
              <a:gd name="connsiteY9" fmla="*/ 689124 h 1971881"/>
              <a:gd name="connsiteX10" fmla="*/ 1199390 w 1317946"/>
              <a:gd name="connsiteY10" fmla="*/ 1296769 h 1971881"/>
              <a:gd name="connsiteX11" fmla="*/ 973530 w 1317946"/>
              <a:gd name="connsiteY11" fmla="*/ 1675381 h 1971881"/>
              <a:gd name="connsiteX12" fmla="*/ 715334 w 1317946"/>
              <a:gd name="connsiteY12" fmla="*/ 1813123 h 1971881"/>
              <a:gd name="connsiteX13" fmla="*/ 706003 w 1317946"/>
              <a:gd name="connsiteY13" fmla="*/ 1645172 h 1971881"/>
              <a:gd name="connsiteX14" fmla="*/ 808640 w 1317946"/>
              <a:gd name="connsiteY14" fmla="*/ 1411906 h 1971881"/>
              <a:gd name="connsiteX15" fmla="*/ 780648 w 1317946"/>
              <a:gd name="connsiteY15" fmla="*/ 1197302 h 1971881"/>
              <a:gd name="connsiteX16" fmla="*/ 668681 w 1317946"/>
              <a:gd name="connsiteY16" fmla="*/ 786755 h 1971881"/>
              <a:gd name="connsiteX17" fmla="*/ 519391 w 1317946"/>
              <a:gd name="connsiteY17" fmla="*/ 1159980 h 1971881"/>
              <a:gd name="connsiteX18" fmla="*/ 510060 w 1317946"/>
              <a:gd name="connsiteY18" fmla="*/ 1495882 h 1971881"/>
              <a:gd name="connsiteX19" fmla="*/ 603366 w 1317946"/>
              <a:gd name="connsiteY19" fmla="*/ 1673164 h 1971881"/>
              <a:gd name="connsiteX20" fmla="*/ 622027 w 1317946"/>
              <a:gd name="connsiteY20" fmla="*/ 1803792 h 1971881"/>
              <a:gd name="connsiteX21" fmla="*/ 303844 w 1317946"/>
              <a:gd name="connsiteY21" fmla="*/ 1607683 h 1971881"/>
              <a:gd name="connsiteX22" fmla="*/ 131022 w 1317946"/>
              <a:gd name="connsiteY22" fmla="*/ 1267790 h 1971881"/>
              <a:gd name="connsiteX23" fmla="*/ 97670 w 1317946"/>
              <a:gd name="connsiteY23" fmla="*/ 779261 h 1971881"/>
              <a:gd name="connsiteX24" fmla="*/ 235973 w 1317946"/>
              <a:gd name="connsiteY24" fmla="*/ 325774 h 1971881"/>
              <a:gd name="connsiteX25" fmla="*/ 377683 w 1317946"/>
              <a:gd name="connsiteY25" fmla="*/ 13862 h 1971881"/>
              <a:gd name="connsiteX0" fmla="*/ 377683 w 1317946"/>
              <a:gd name="connsiteY0" fmla="*/ 13812 h 1971831"/>
              <a:gd name="connsiteX1" fmla="*/ 23867 w 1317946"/>
              <a:gd name="connsiteY1" fmla="*/ 689324 h 1971831"/>
              <a:gd name="connsiteX2" fmla="*/ 47235 w 1317946"/>
              <a:gd name="connsiteY2" fmla="*/ 1342732 h 1971831"/>
              <a:gd name="connsiteX3" fmla="*/ 335182 w 1317946"/>
              <a:gd name="connsiteY3" fmla="*/ 1820896 h 1971831"/>
              <a:gd name="connsiteX4" fmla="*/ 615989 w 1317946"/>
              <a:gd name="connsiteY4" fmla="*/ 1956575 h 1971831"/>
              <a:gd name="connsiteX5" fmla="*/ 932515 w 1317946"/>
              <a:gd name="connsiteY5" fmla="*/ 1917987 h 1971831"/>
              <a:gd name="connsiteX6" fmla="*/ 1282469 w 1317946"/>
              <a:gd name="connsiteY6" fmla="*/ 1506637 h 1971831"/>
              <a:gd name="connsiteX7" fmla="*/ 1257054 w 1317946"/>
              <a:gd name="connsiteY7" fmla="*/ 655411 h 1971831"/>
              <a:gd name="connsiteX8" fmla="*/ 848701 w 1317946"/>
              <a:gd name="connsiteY8" fmla="*/ 6 h 1971831"/>
              <a:gd name="connsiteX9" fmla="*/ 1121879 w 1317946"/>
              <a:gd name="connsiteY9" fmla="*/ 665987 h 1971831"/>
              <a:gd name="connsiteX10" fmla="*/ 1199390 w 1317946"/>
              <a:gd name="connsiteY10" fmla="*/ 1296719 h 1971831"/>
              <a:gd name="connsiteX11" fmla="*/ 973530 w 1317946"/>
              <a:gd name="connsiteY11" fmla="*/ 1675331 h 1971831"/>
              <a:gd name="connsiteX12" fmla="*/ 715334 w 1317946"/>
              <a:gd name="connsiteY12" fmla="*/ 1813073 h 1971831"/>
              <a:gd name="connsiteX13" fmla="*/ 706003 w 1317946"/>
              <a:gd name="connsiteY13" fmla="*/ 1645122 h 1971831"/>
              <a:gd name="connsiteX14" fmla="*/ 808640 w 1317946"/>
              <a:gd name="connsiteY14" fmla="*/ 1411856 h 1971831"/>
              <a:gd name="connsiteX15" fmla="*/ 780648 w 1317946"/>
              <a:gd name="connsiteY15" fmla="*/ 1197252 h 1971831"/>
              <a:gd name="connsiteX16" fmla="*/ 668681 w 1317946"/>
              <a:gd name="connsiteY16" fmla="*/ 786705 h 1971831"/>
              <a:gd name="connsiteX17" fmla="*/ 519391 w 1317946"/>
              <a:gd name="connsiteY17" fmla="*/ 1159930 h 1971831"/>
              <a:gd name="connsiteX18" fmla="*/ 510060 w 1317946"/>
              <a:gd name="connsiteY18" fmla="*/ 1495832 h 1971831"/>
              <a:gd name="connsiteX19" fmla="*/ 603366 w 1317946"/>
              <a:gd name="connsiteY19" fmla="*/ 1673114 h 1971831"/>
              <a:gd name="connsiteX20" fmla="*/ 622027 w 1317946"/>
              <a:gd name="connsiteY20" fmla="*/ 1803742 h 1971831"/>
              <a:gd name="connsiteX21" fmla="*/ 303844 w 1317946"/>
              <a:gd name="connsiteY21" fmla="*/ 1607633 h 1971831"/>
              <a:gd name="connsiteX22" fmla="*/ 131022 w 1317946"/>
              <a:gd name="connsiteY22" fmla="*/ 1267740 h 1971831"/>
              <a:gd name="connsiteX23" fmla="*/ 97670 w 1317946"/>
              <a:gd name="connsiteY23" fmla="*/ 779211 h 1971831"/>
              <a:gd name="connsiteX24" fmla="*/ 235973 w 1317946"/>
              <a:gd name="connsiteY24" fmla="*/ 325724 h 1971831"/>
              <a:gd name="connsiteX25" fmla="*/ 377683 w 1317946"/>
              <a:gd name="connsiteY25" fmla="*/ 13812 h 1971831"/>
              <a:gd name="connsiteX0" fmla="*/ 377683 w 1312971"/>
              <a:gd name="connsiteY0" fmla="*/ 34138 h 1992157"/>
              <a:gd name="connsiteX1" fmla="*/ 23867 w 1312971"/>
              <a:gd name="connsiteY1" fmla="*/ 709650 h 1992157"/>
              <a:gd name="connsiteX2" fmla="*/ 47235 w 1312971"/>
              <a:gd name="connsiteY2" fmla="*/ 1363058 h 1992157"/>
              <a:gd name="connsiteX3" fmla="*/ 335182 w 1312971"/>
              <a:gd name="connsiteY3" fmla="*/ 1841222 h 1992157"/>
              <a:gd name="connsiteX4" fmla="*/ 615989 w 1312971"/>
              <a:gd name="connsiteY4" fmla="*/ 1976901 h 1992157"/>
              <a:gd name="connsiteX5" fmla="*/ 932515 w 1312971"/>
              <a:gd name="connsiteY5" fmla="*/ 1938313 h 1992157"/>
              <a:gd name="connsiteX6" fmla="*/ 1282469 w 1312971"/>
              <a:gd name="connsiteY6" fmla="*/ 1526963 h 1992157"/>
              <a:gd name="connsiteX7" fmla="*/ 1257054 w 1312971"/>
              <a:gd name="connsiteY7" fmla="*/ 675737 h 1992157"/>
              <a:gd name="connsiteX8" fmla="*/ 947608 w 1312971"/>
              <a:gd name="connsiteY8" fmla="*/ 5 h 1992157"/>
              <a:gd name="connsiteX9" fmla="*/ 1121879 w 1312971"/>
              <a:gd name="connsiteY9" fmla="*/ 686313 h 1992157"/>
              <a:gd name="connsiteX10" fmla="*/ 1199390 w 1312971"/>
              <a:gd name="connsiteY10" fmla="*/ 1317045 h 1992157"/>
              <a:gd name="connsiteX11" fmla="*/ 973530 w 1312971"/>
              <a:gd name="connsiteY11" fmla="*/ 1695657 h 1992157"/>
              <a:gd name="connsiteX12" fmla="*/ 715334 w 1312971"/>
              <a:gd name="connsiteY12" fmla="*/ 1833399 h 1992157"/>
              <a:gd name="connsiteX13" fmla="*/ 706003 w 1312971"/>
              <a:gd name="connsiteY13" fmla="*/ 1665448 h 1992157"/>
              <a:gd name="connsiteX14" fmla="*/ 808640 w 1312971"/>
              <a:gd name="connsiteY14" fmla="*/ 1432182 h 1992157"/>
              <a:gd name="connsiteX15" fmla="*/ 780648 w 1312971"/>
              <a:gd name="connsiteY15" fmla="*/ 1217578 h 1992157"/>
              <a:gd name="connsiteX16" fmla="*/ 668681 w 1312971"/>
              <a:gd name="connsiteY16" fmla="*/ 807031 h 1992157"/>
              <a:gd name="connsiteX17" fmla="*/ 519391 w 1312971"/>
              <a:gd name="connsiteY17" fmla="*/ 1180256 h 1992157"/>
              <a:gd name="connsiteX18" fmla="*/ 510060 w 1312971"/>
              <a:gd name="connsiteY18" fmla="*/ 1516158 h 1992157"/>
              <a:gd name="connsiteX19" fmla="*/ 603366 w 1312971"/>
              <a:gd name="connsiteY19" fmla="*/ 1693440 h 1992157"/>
              <a:gd name="connsiteX20" fmla="*/ 622027 w 1312971"/>
              <a:gd name="connsiteY20" fmla="*/ 1824068 h 1992157"/>
              <a:gd name="connsiteX21" fmla="*/ 303844 w 1312971"/>
              <a:gd name="connsiteY21" fmla="*/ 1627959 h 1992157"/>
              <a:gd name="connsiteX22" fmla="*/ 131022 w 1312971"/>
              <a:gd name="connsiteY22" fmla="*/ 1288066 h 1992157"/>
              <a:gd name="connsiteX23" fmla="*/ 97670 w 1312971"/>
              <a:gd name="connsiteY23" fmla="*/ 799537 h 1992157"/>
              <a:gd name="connsiteX24" fmla="*/ 235973 w 1312971"/>
              <a:gd name="connsiteY24" fmla="*/ 346050 h 1992157"/>
              <a:gd name="connsiteX25" fmla="*/ 377683 w 1312971"/>
              <a:gd name="connsiteY25" fmla="*/ 34138 h 1992157"/>
              <a:gd name="connsiteX0" fmla="*/ 377683 w 1400946"/>
              <a:gd name="connsiteY0" fmla="*/ 34178 h 1992197"/>
              <a:gd name="connsiteX1" fmla="*/ 23867 w 1400946"/>
              <a:gd name="connsiteY1" fmla="*/ 709690 h 1992197"/>
              <a:gd name="connsiteX2" fmla="*/ 47235 w 1400946"/>
              <a:gd name="connsiteY2" fmla="*/ 1363098 h 1992197"/>
              <a:gd name="connsiteX3" fmla="*/ 335182 w 1400946"/>
              <a:gd name="connsiteY3" fmla="*/ 1841262 h 1992197"/>
              <a:gd name="connsiteX4" fmla="*/ 615989 w 1400946"/>
              <a:gd name="connsiteY4" fmla="*/ 1976941 h 1992197"/>
              <a:gd name="connsiteX5" fmla="*/ 932515 w 1400946"/>
              <a:gd name="connsiteY5" fmla="*/ 1938353 h 1992197"/>
              <a:gd name="connsiteX6" fmla="*/ 1282469 w 1400946"/>
              <a:gd name="connsiteY6" fmla="*/ 1527003 h 1992197"/>
              <a:gd name="connsiteX7" fmla="*/ 1382374 w 1400946"/>
              <a:gd name="connsiteY7" fmla="*/ 656369 h 1992197"/>
              <a:gd name="connsiteX8" fmla="*/ 947608 w 1400946"/>
              <a:gd name="connsiteY8" fmla="*/ 45 h 1992197"/>
              <a:gd name="connsiteX9" fmla="*/ 1121879 w 1400946"/>
              <a:gd name="connsiteY9" fmla="*/ 686353 h 1992197"/>
              <a:gd name="connsiteX10" fmla="*/ 1199390 w 1400946"/>
              <a:gd name="connsiteY10" fmla="*/ 1317085 h 1992197"/>
              <a:gd name="connsiteX11" fmla="*/ 973530 w 1400946"/>
              <a:gd name="connsiteY11" fmla="*/ 1695697 h 1992197"/>
              <a:gd name="connsiteX12" fmla="*/ 715334 w 1400946"/>
              <a:gd name="connsiteY12" fmla="*/ 1833439 h 1992197"/>
              <a:gd name="connsiteX13" fmla="*/ 706003 w 1400946"/>
              <a:gd name="connsiteY13" fmla="*/ 1665488 h 1992197"/>
              <a:gd name="connsiteX14" fmla="*/ 808640 w 1400946"/>
              <a:gd name="connsiteY14" fmla="*/ 1432222 h 1992197"/>
              <a:gd name="connsiteX15" fmla="*/ 780648 w 1400946"/>
              <a:gd name="connsiteY15" fmla="*/ 1217618 h 1992197"/>
              <a:gd name="connsiteX16" fmla="*/ 668681 w 1400946"/>
              <a:gd name="connsiteY16" fmla="*/ 807071 h 1992197"/>
              <a:gd name="connsiteX17" fmla="*/ 519391 w 1400946"/>
              <a:gd name="connsiteY17" fmla="*/ 1180296 h 1992197"/>
              <a:gd name="connsiteX18" fmla="*/ 510060 w 1400946"/>
              <a:gd name="connsiteY18" fmla="*/ 1516198 h 1992197"/>
              <a:gd name="connsiteX19" fmla="*/ 603366 w 1400946"/>
              <a:gd name="connsiteY19" fmla="*/ 1693480 h 1992197"/>
              <a:gd name="connsiteX20" fmla="*/ 622027 w 1400946"/>
              <a:gd name="connsiteY20" fmla="*/ 1824108 h 1992197"/>
              <a:gd name="connsiteX21" fmla="*/ 303844 w 1400946"/>
              <a:gd name="connsiteY21" fmla="*/ 1627999 h 1992197"/>
              <a:gd name="connsiteX22" fmla="*/ 131022 w 1400946"/>
              <a:gd name="connsiteY22" fmla="*/ 1288106 h 1992197"/>
              <a:gd name="connsiteX23" fmla="*/ 97670 w 1400946"/>
              <a:gd name="connsiteY23" fmla="*/ 799577 h 1992197"/>
              <a:gd name="connsiteX24" fmla="*/ 235973 w 1400946"/>
              <a:gd name="connsiteY24" fmla="*/ 346090 h 1992197"/>
              <a:gd name="connsiteX25" fmla="*/ 377683 w 1400946"/>
              <a:gd name="connsiteY25" fmla="*/ 34178 h 1992197"/>
              <a:gd name="connsiteX0" fmla="*/ 377683 w 1400946"/>
              <a:gd name="connsiteY0" fmla="*/ 34145 h 1992164"/>
              <a:gd name="connsiteX1" fmla="*/ 23867 w 1400946"/>
              <a:gd name="connsiteY1" fmla="*/ 709657 h 1992164"/>
              <a:gd name="connsiteX2" fmla="*/ 47235 w 1400946"/>
              <a:gd name="connsiteY2" fmla="*/ 1363065 h 1992164"/>
              <a:gd name="connsiteX3" fmla="*/ 335182 w 1400946"/>
              <a:gd name="connsiteY3" fmla="*/ 1841229 h 1992164"/>
              <a:gd name="connsiteX4" fmla="*/ 615989 w 1400946"/>
              <a:gd name="connsiteY4" fmla="*/ 1976908 h 1992164"/>
              <a:gd name="connsiteX5" fmla="*/ 932515 w 1400946"/>
              <a:gd name="connsiteY5" fmla="*/ 1938320 h 1992164"/>
              <a:gd name="connsiteX6" fmla="*/ 1282469 w 1400946"/>
              <a:gd name="connsiteY6" fmla="*/ 1526970 h 1992164"/>
              <a:gd name="connsiteX7" fmla="*/ 1382374 w 1400946"/>
              <a:gd name="connsiteY7" fmla="*/ 656336 h 1992164"/>
              <a:gd name="connsiteX8" fmla="*/ 947608 w 1400946"/>
              <a:gd name="connsiteY8" fmla="*/ 12 h 1992164"/>
              <a:gd name="connsiteX9" fmla="*/ 1287122 w 1400946"/>
              <a:gd name="connsiteY9" fmla="*/ 671404 h 1992164"/>
              <a:gd name="connsiteX10" fmla="*/ 1199390 w 1400946"/>
              <a:gd name="connsiteY10" fmla="*/ 1317052 h 1992164"/>
              <a:gd name="connsiteX11" fmla="*/ 973530 w 1400946"/>
              <a:gd name="connsiteY11" fmla="*/ 1695664 h 1992164"/>
              <a:gd name="connsiteX12" fmla="*/ 715334 w 1400946"/>
              <a:gd name="connsiteY12" fmla="*/ 1833406 h 1992164"/>
              <a:gd name="connsiteX13" fmla="*/ 706003 w 1400946"/>
              <a:gd name="connsiteY13" fmla="*/ 1665455 h 1992164"/>
              <a:gd name="connsiteX14" fmla="*/ 808640 w 1400946"/>
              <a:gd name="connsiteY14" fmla="*/ 1432189 h 1992164"/>
              <a:gd name="connsiteX15" fmla="*/ 780648 w 1400946"/>
              <a:gd name="connsiteY15" fmla="*/ 1217585 h 1992164"/>
              <a:gd name="connsiteX16" fmla="*/ 668681 w 1400946"/>
              <a:gd name="connsiteY16" fmla="*/ 807038 h 1992164"/>
              <a:gd name="connsiteX17" fmla="*/ 519391 w 1400946"/>
              <a:gd name="connsiteY17" fmla="*/ 1180263 h 1992164"/>
              <a:gd name="connsiteX18" fmla="*/ 510060 w 1400946"/>
              <a:gd name="connsiteY18" fmla="*/ 1516165 h 1992164"/>
              <a:gd name="connsiteX19" fmla="*/ 603366 w 1400946"/>
              <a:gd name="connsiteY19" fmla="*/ 1693447 h 1992164"/>
              <a:gd name="connsiteX20" fmla="*/ 622027 w 1400946"/>
              <a:gd name="connsiteY20" fmla="*/ 1824075 h 1992164"/>
              <a:gd name="connsiteX21" fmla="*/ 303844 w 1400946"/>
              <a:gd name="connsiteY21" fmla="*/ 1627966 h 1992164"/>
              <a:gd name="connsiteX22" fmla="*/ 131022 w 1400946"/>
              <a:gd name="connsiteY22" fmla="*/ 1288073 h 1992164"/>
              <a:gd name="connsiteX23" fmla="*/ 97670 w 1400946"/>
              <a:gd name="connsiteY23" fmla="*/ 799544 h 1992164"/>
              <a:gd name="connsiteX24" fmla="*/ 235973 w 1400946"/>
              <a:gd name="connsiteY24" fmla="*/ 346057 h 1992164"/>
              <a:gd name="connsiteX25" fmla="*/ 377683 w 1400946"/>
              <a:gd name="connsiteY25" fmla="*/ 34145 h 1992164"/>
              <a:gd name="connsiteX0" fmla="*/ 377683 w 1400946"/>
              <a:gd name="connsiteY0" fmla="*/ 42824 h 2000843"/>
              <a:gd name="connsiteX1" fmla="*/ 23867 w 1400946"/>
              <a:gd name="connsiteY1" fmla="*/ 718336 h 2000843"/>
              <a:gd name="connsiteX2" fmla="*/ 47235 w 1400946"/>
              <a:gd name="connsiteY2" fmla="*/ 1371744 h 2000843"/>
              <a:gd name="connsiteX3" fmla="*/ 335182 w 1400946"/>
              <a:gd name="connsiteY3" fmla="*/ 1849908 h 2000843"/>
              <a:gd name="connsiteX4" fmla="*/ 615989 w 1400946"/>
              <a:gd name="connsiteY4" fmla="*/ 1985587 h 2000843"/>
              <a:gd name="connsiteX5" fmla="*/ 932515 w 1400946"/>
              <a:gd name="connsiteY5" fmla="*/ 1946999 h 2000843"/>
              <a:gd name="connsiteX6" fmla="*/ 1282469 w 1400946"/>
              <a:gd name="connsiteY6" fmla="*/ 1535649 h 2000843"/>
              <a:gd name="connsiteX7" fmla="*/ 1382374 w 1400946"/>
              <a:gd name="connsiteY7" fmla="*/ 665015 h 2000843"/>
              <a:gd name="connsiteX8" fmla="*/ 947608 w 1400946"/>
              <a:gd name="connsiteY8" fmla="*/ 8691 h 2000843"/>
              <a:gd name="connsiteX9" fmla="*/ 1113773 w 1400946"/>
              <a:gd name="connsiteY9" fmla="*/ 313989 h 2000843"/>
              <a:gd name="connsiteX10" fmla="*/ 1287122 w 1400946"/>
              <a:gd name="connsiteY10" fmla="*/ 680083 h 2000843"/>
              <a:gd name="connsiteX11" fmla="*/ 1199390 w 1400946"/>
              <a:gd name="connsiteY11" fmla="*/ 1325731 h 2000843"/>
              <a:gd name="connsiteX12" fmla="*/ 973530 w 1400946"/>
              <a:gd name="connsiteY12" fmla="*/ 1704343 h 2000843"/>
              <a:gd name="connsiteX13" fmla="*/ 715334 w 1400946"/>
              <a:gd name="connsiteY13" fmla="*/ 1842085 h 2000843"/>
              <a:gd name="connsiteX14" fmla="*/ 706003 w 1400946"/>
              <a:gd name="connsiteY14" fmla="*/ 1674134 h 2000843"/>
              <a:gd name="connsiteX15" fmla="*/ 808640 w 1400946"/>
              <a:gd name="connsiteY15" fmla="*/ 1440868 h 2000843"/>
              <a:gd name="connsiteX16" fmla="*/ 780648 w 1400946"/>
              <a:gd name="connsiteY16" fmla="*/ 1226264 h 2000843"/>
              <a:gd name="connsiteX17" fmla="*/ 668681 w 1400946"/>
              <a:gd name="connsiteY17" fmla="*/ 815717 h 2000843"/>
              <a:gd name="connsiteX18" fmla="*/ 519391 w 1400946"/>
              <a:gd name="connsiteY18" fmla="*/ 1188942 h 2000843"/>
              <a:gd name="connsiteX19" fmla="*/ 510060 w 1400946"/>
              <a:gd name="connsiteY19" fmla="*/ 1524844 h 2000843"/>
              <a:gd name="connsiteX20" fmla="*/ 603366 w 1400946"/>
              <a:gd name="connsiteY20" fmla="*/ 1702126 h 2000843"/>
              <a:gd name="connsiteX21" fmla="*/ 622027 w 1400946"/>
              <a:gd name="connsiteY21" fmla="*/ 1832754 h 2000843"/>
              <a:gd name="connsiteX22" fmla="*/ 303844 w 1400946"/>
              <a:gd name="connsiteY22" fmla="*/ 1636645 h 2000843"/>
              <a:gd name="connsiteX23" fmla="*/ 131022 w 1400946"/>
              <a:gd name="connsiteY23" fmla="*/ 1296752 h 2000843"/>
              <a:gd name="connsiteX24" fmla="*/ 97670 w 1400946"/>
              <a:gd name="connsiteY24" fmla="*/ 808223 h 2000843"/>
              <a:gd name="connsiteX25" fmla="*/ 235973 w 1400946"/>
              <a:gd name="connsiteY25" fmla="*/ 354736 h 2000843"/>
              <a:gd name="connsiteX26" fmla="*/ 377683 w 1400946"/>
              <a:gd name="connsiteY26" fmla="*/ 42824 h 2000843"/>
              <a:gd name="connsiteX0" fmla="*/ 377683 w 1400946"/>
              <a:gd name="connsiteY0" fmla="*/ 35486 h 1993505"/>
              <a:gd name="connsiteX1" fmla="*/ 23867 w 1400946"/>
              <a:gd name="connsiteY1" fmla="*/ 710998 h 1993505"/>
              <a:gd name="connsiteX2" fmla="*/ 47235 w 1400946"/>
              <a:gd name="connsiteY2" fmla="*/ 1364406 h 1993505"/>
              <a:gd name="connsiteX3" fmla="*/ 335182 w 1400946"/>
              <a:gd name="connsiteY3" fmla="*/ 1842570 h 1993505"/>
              <a:gd name="connsiteX4" fmla="*/ 615989 w 1400946"/>
              <a:gd name="connsiteY4" fmla="*/ 1978249 h 1993505"/>
              <a:gd name="connsiteX5" fmla="*/ 932515 w 1400946"/>
              <a:gd name="connsiteY5" fmla="*/ 1939661 h 1993505"/>
              <a:gd name="connsiteX6" fmla="*/ 1282469 w 1400946"/>
              <a:gd name="connsiteY6" fmla="*/ 1528311 h 1993505"/>
              <a:gd name="connsiteX7" fmla="*/ 1382374 w 1400946"/>
              <a:gd name="connsiteY7" fmla="*/ 657677 h 1993505"/>
              <a:gd name="connsiteX8" fmla="*/ 947608 w 1400946"/>
              <a:gd name="connsiteY8" fmla="*/ 1353 h 1993505"/>
              <a:gd name="connsiteX9" fmla="*/ 1113773 w 1400946"/>
              <a:gd name="connsiteY9" fmla="*/ 306651 h 1993505"/>
              <a:gd name="connsiteX10" fmla="*/ 1287122 w 1400946"/>
              <a:gd name="connsiteY10" fmla="*/ 672745 h 1993505"/>
              <a:gd name="connsiteX11" fmla="*/ 1199390 w 1400946"/>
              <a:gd name="connsiteY11" fmla="*/ 1318393 h 1993505"/>
              <a:gd name="connsiteX12" fmla="*/ 973530 w 1400946"/>
              <a:gd name="connsiteY12" fmla="*/ 1697005 h 1993505"/>
              <a:gd name="connsiteX13" fmla="*/ 715334 w 1400946"/>
              <a:gd name="connsiteY13" fmla="*/ 1834747 h 1993505"/>
              <a:gd name="connsiteX14" fmla="*/ 706003 w 1400946"/>
              <a:gd name="connsiteY14" fmla="*/ 1666796 h 1993505"/>
              <a:gd name="connsiteX15" fmla="*/ 808640 w 1400946"/>
              <a:gd name="connsiteY15" fmla="*/ 1433530 h 1993505"/>
              <a:gd name="connsiteX16" fmla="*/ 780648 w 1400946"/>
              <a:gd name="connsiteY16" fmla="*/ 1218926 h 1993505"/>
              <a:gd name="connsiteX17" fmla="*/ 668681 w 1400946"/>
              <a:gd name="connsiteY17" fmla="*/ 808379 h 1993505"/>
              <a:gd name="connsiteX18" fmla="*/ 519391 w 1400946"/>
              <a:gd name="connsiteY18" fmla="*/ 1181604 h 1993505"/>
              <a:gd name="connsiteX19" fmla="*/ 510060 w 1400946"/>
              <a:gd name="connsiteY19" fmla="*/ 1517506 h 1993505"/>
              <a:gd name="connsiteX20" fmla="*/ 603366 w 1400946"/>
              <a:gd name="connsiteY20" fmla="*/ 1694788 h 1993505"/>
              <a:gd name="connsiteX21" fmla="*/ 622027 w 1400946"/>
              <a:gd name="connsiteY21" fmla="*/ 1825416 h 1993505"/>
              <a:gd name="connsiteX22" fmla="*/ 303844 w 1400946"/>
              <a:gd name="connsiteY22" fmla="*/ 1629307 h 1993505"/>
              <a:gd name="connsiteX23" fmla="*/ 131022 w 1400946"/>
              <a:gd name="connsiteY23" fmla="*/ 1289414 h 1993505"/>
              <a:gd name="connsiteX24" fmla="*/ 97670 w 1400946"/>
              <a:gd name="connsiteY24" fmla="*/ 800885 h 1993505"/>
              <a:gd name="connsiteX25" fmla="*/ 235973 w 1400946"/>
              <a:gd name="connsiteY25" fmla="*/ 347398 h 1993505"/>
              <a:gd name="connsiteX26" fmla="*/ 377683 w 1400946"/>
              <a:gd name="connsiteY26" fmla="*/ 35486 h 1993505"/>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7122 w 1400946"/>
              <a:gd name="connsiteY10" fmla="*/ 674614 h 1995374"/>
              <a:gd name="connsiteX11" fmla="*/ 1199390 w 1400946"/>
              <a:gd name="connsiteY11" fmla="*/ 1320262 h 1995374"/>
              <a:gd name="connsiteX12" fmla="*/ 973530 w 1400946"/>
              <a:gd name="connsiteY12" fmla="*/ 1698874 h 1995374"/>
              <a:gd name="connsiteX13" fmla="*/ 715334 w 1400946"/>
              <a:gd name="connsiteY13" fmla="*/ 1836616 h 1995374"/>
              <a:gd name="connsiteX14" fmla="*/ 706003 w 1400946"/>
              <a:gd name="connsiteY14" fmla="*/ 1668665 h 1995374"/>
              <a:gd name="connsiteX15" fmla="*/ 808640 w 1400946"/>
              <a:gd name="connsiteY15" fmla="*/ 1435399 h 1995374"/>
              <a:gd name="connsiteX16" fmla="*/ 780648 w 1400946"/>
              <a:gd name="connsiteY16" fmla="*/ 1220795 h 1995374"/>
              <a:gd name="connsiteX17" fmla="*/ 668681 w 1400946"/>
              <a:gd name="connsiteY17" fmla="*/ 810248 h 1995374"/>
              <a:gd name="connsiteX18" fmla="*/ 519391 w 1400946"/>
              <a:gd name="connsiteY18" fmla="*/ 1183473 h 1995374"/>
              <a:gd name="connsiteX19" fmla="*/ 510060 w 1400946"/>
              <a:gd name="connsiteY19" fmla="*/ 1519375 h 1995374"/>
              <a:gd name="connsiteX20" fmla="*/ 603366 w 1400946"/>
              <a:gd name="connsiteY20" fmla="*/ 169665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715334 w 1400946"/>
              <a:gd name="connsiteY13" fmla="*/ 1836616 h 1995374"/>
              <a:gd name="connsiteX14" fmla="*/ 706003 w 1400946"/>
              <a:gd name="connsiteY14" fmla="*/ 1668665 h 1995374"/>
              <a:gd name="connsiteX15" fmla="*/ 808640 w 1400946"/>
              <a:gd name="connsiteY15" fmla="*/ 1435399 h 1995374"/>
              <a:gd name="connsiteX16" fmla="*/ 780648 w 1400946"/>
              <a:gd name="connsiteY16" fmla="*/ 1220795 h 1995374"/>
              <a:gd name="connsiteX17" fmla="*/ 668681 w 1400946"/>
              <a:gd name="connsiteY17" fmla="*/ 810248 h 1995374"/>
              <a:gd name="connsiteX18" fmla="*/ 519391 w 1400946"/>
              <a:gd name="connsiteY18" fmla="*/ 1183473 h 1995374"/>
              <a:gd name="connsiteX19" fmla="*/ 510060 w 1400946"/>
              <a:gd name="connsiteY19" fmla="*/ 1519375 h 1995374"/>
              <a:gd name="connsiteX20" fmla="*/ 603366 w 1400946"/>
              <a:gd name="connsiteY20" fmla="*/ 169665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06003 w 1400946"/>
              <a:gd name="connsiteY14" fmla="*/ 1668665 h 1995374"/>
              <a:gd name="connsiteX15" fmla="*/ 808640 w 1400946"/>
              <a:gd name="connsiteY15" fmla="*/ 1435399 h 1995374"/>
              <a:gd name="connsiteX16" fmla="*/ 780648 w 1400946"/>
              <a:gd name="connsiteY16" fmla="*/ 1220795 h 1995374"/>
              <a:gd name="connsiteX17" fmla="*/ 668681 w 1400946"/>
              <a:gd name="connsiteY17" fmla="*/ 810248 h 1995374"/>
              <a:gd name="connsiteX18" fmla="*/ 519391 w 1400946"/>
              <a:gd name="connsiteY18" fmla="*/ 1183473 h 1995374"/>
              <a:gd name="connsiteX19" fmla="*/ 510060 w 1400946"/>
              <a:gd name="connsiteY19" fmla="*/ 1519375 h 1995374"/>
              <a:gd name="connsiteX20" fmla="*/ 603366 w 1400946"/>
              <a:gd name="connsiteY20" fmla="*/ 169665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808640 w 1400946"/>
              <a:gd name="connsiteY15" fmla="*/ 1435399 h 1995374"/>
              <a:gd name="connsiteX16" fmla="*/ 780648 w 1400946"/>
              <a:gd name="connsiteY16" fmla="*/ 1220795 h 1995374"/>
              <a:gd name="connsiteX17" fmla="*/ 668681 w 1400946"/>
              <a:gd name="connsiteY17" fmla="*/ 810248 h 1995374"/>
              <a:gd name="connsiteX18" fmla="*/ 519391 w 1400946"/>
              <a:gd name="connsiteY18" fmla="*/ 1183473 h 1995374"/>
              <a:gd name="connsiteX19" fmla="*/ 510060 w 1400946"/>
              <a:gd name="connsiteY19" fmla="*/ 1519375 h 1995374"/>
              <a:gd name="connsiteX20" fmla="*/ 603366 w 1400946"/>
              <a:gd name="connsiteY20" fmla="*/ 169665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808640 w 1400946"/>
              <a:gd name="connsiteY15" fmla="*/ 1435399 h 1995374"/>
              <a:gd name="connsiteX16" fmla="*/ 780648 w 1400946"/>
              <a:gd name="connsiteY16" fmla="*/ 1220795 h 1995374"/>
              <a:gd name="connsiteX17" fmla="*/ 680047 w 1400946"/>
              <a:gd name="connsiteY17" fmla="*/ 255644 h 1995374"/>
              <a:gd name="connsiteX18" fmla="*/ 519391 w 1400946"/>
              <a:gd name="connsiteY18" fmla="*/ 1183473 h 1995374"/>
              <a:gd name="connsiteX19" fmla="*/ 510060 w 1400946"/>
              <a:gd name="connsiteY19" fmla="*/ 1519375 h 1995374"/>
              <a:gd name="connsiteX20" fmla="*/ 603366 w 1400946"/>
              <a:gd name="connsiteY20" fmla="*/ 169665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808640 w 1400946"/>
              <a:gd name="connsiteY15" fmla="*/ 1435399 h 1995374"/>
              <a:gd name="connsiteX16" fmla="*/ 887109 w 1400946"/>
              <a:gd name="connsiteY16" fmla="*/ 875173 h 1995374"/>
              <a:gd name="connsiteX17" fmla="*/ 680047 w 1400946"/>
              <a:gd name="connsiteY17" fmla="*/ 255644 h 1995374"/>
              <a:gd name="connsiteX18" fmla="*/ 519391 w 1400946"/>
              <a:gd name="connsiteY18" fmla="*/ 1183473 h 1995374"/>
              <a:gd name="connsiteX19" fmla="*/ 510060 w 1400946"/>
              <a:gd name="connsiteY19" fmla="*/ 1519375 h 1995374"/>
              <a:gd name="connsiteX20" fmla="*/ 603366 w 1400946"/>
              <a:gd name="connsiteY20" fmla="*/ 169665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519391 w 1400946"/>
              <a:gd name="connsiteY18" fmla="*/ 1183473 h 1995374"/>
              <a:gd name="connsiteX19" fmla="*/ 510060 w 1400946"/>
              <a:gd name="connsiteY19" fmla="*/ 1519375 h 1995374"/>
              <a:gd name="connsiteX20" fmla="*/ 603366 w 1400946"/>
              <a:gd name="connsiteY20" fmla="*/ 169665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510060 w 1400946"/>
              <a:gd name="connsiteY19" fmla="*/ 1519375 h 1995374"/>
              <a:gd name="connsiteX20" fmla="*/ 603366 w 1400946"/>
              <a:gd name="connsiteY20" fmla="*/ 169665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75196 w 1400946"/>
              <a:gd name="connsiteY19" fmla="*/ 1253581 h 1995374"/>
              <a:gd name="connsiteX20" fmla="*/ 603366 w 1400946"/>
              <a:gd name="connsiteY20" fmla="*/ 169665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75196 w 1400946"/>
              <a:gd name="connsiteY19" fmla="*/ 1253581 h 1995374"/>
              <a:gd name="connsiteX20" fmla="*/ 624917 w 1400946"/>
              <a:gd name="connsiteY20" fmla="*/ 160335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75196 w 1400946"/>
              <a:gd name="connsiteY19" fmla="*/ 1253581 h 1995374"/>
              <a:gd name="connsiteX20" fmla="*/ 624917 w 1400946"/>
              <a:gd name="connsiteY20" fmla="*/ 160335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75196 w 1400946"/>
              <a:gd name="connsiteY19" fmla="*/ 1253581 h 1995374"/>
              <a:gd name="connsiteX20" fmla="*/ 606494 w 1400946"/>
              <a:gd name="connsiteY20" fmla="*/ 159444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75197 w 1400946"/>
              <a:gd name="connsiteY19" fmla="*/ 1253580 h 1995374"/>
              <a:gd name="connsiteX20" fmla="*/ 606494 w 1400946"/>
              <a:gd name="connsiteY20" fmla="*/ 159444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75197 w 1400946"/>
              <a:gd name="connsiteY19" fmla="*/ 1253580 h 1995374"/>
              <a:gd name="connsiteX20" fmla="*/ 606494 w 1400946"/>
              <a:gd name="connsiteY20" fmla="*/ 159444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75197 w 1400946"/>
              <a:gd name="connsiteY19" fmla="*/ 1253580 h 1995374"/>
              <a:gd name="connsiteX20" fmla="*/ 606494 w 1400946"/>
              <a:gd name="connsiteY20" fmla="*/ 159444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75197 w 1400946"/>
              <a:gd name="connsiteY19" fmla="*/ 1253580 h 1995374"/>
              <a:gd name="connsiteX20" fmla="*/ 606494 w 1400946"/>
              <a:gd name="connsiteY20" fmla="*/ 159444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59829 w 1400946"/>
              <a:gd name="connsiteY19" fmla="*/ 1275782 h 1995374"/>
              <a:gd name="connsiteX20" fmla="*/ 606494 w 1400946"/>
              <a:gd name="connsiteY20" fmla="*/ 159444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199390 w 1400946"/>
              <a:gd name="connsiteY11" fmla="*/ 1320262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59829 w 1400946"/>
              <a:gd name="connsiteY19" fmla="*/ 1275782 h 1995374"/>
              <a:gd name="connsiteX20" fmla="*/ 606494 w 1400946"/>
              <a:gd name="connsiteY20" fmla="*/ 159444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223947 w 1400946"/>
              <a:gd name="connsiteY11" fmla="*/ 1346954 h 1995374"/>
              <a:gd name="connsiteX12" fmla="*/ 973530 w 1400946"/>
              <a:gd name="connsiteY12" fmla="*/ 1698874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59829 w 1400946"/>
              <a:gd name="connsiteY19" fmla="*/ 1275782 h 1995374"/>
              <a:gd name="connsiteX20" fmla="*/ 606494 w 1400946"/>
              <a:gd name="connsiteY20" fmla="*/ 159444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 name="connsiteX0" fmla="*/ 377683 w 1400946"/>
              <a:gd name="connsiteY0" fmla="*/ 37355 h 1995374"/>
              <a:gd name="connsiteX1" fmla="*/ 23867 w 1400946"/>
              <a:gd name="connsiteY1" fmla="*/ 712867 h 1995374"/>
              <a:gd name="connsiteX2" fmla="*/ 47235 w 1400946"/>
              <a:gd name="connsiteY2" fmla="*/ 1366275 h 1995374"/>
              <a:gd name="connsiteX3" fmla="*/ 335182 w 1400946"/>
              <a:gd name="connsiteY3" fmla="*/ 1844439 h 1995374"/>
              <a:gd name="connsiteX4" fmla="*/ 615989 w 1400946"/>
              <a:gd name="connsiteY4" fmla="*/ 1980118 h 1995374"/>
              <a:gd name="connsiteX5" fmla="*/ 932515 w 1400946"/>
              <a:gd name="connsiteY5" fmla="*/ 1941530 h 1995374"/>
              <a:gd name="connsiteX6" fmla="*/ 1282469 w 1400946"/>
              <a:gd name="connsiteY6" fmla="*/ 1530180 h 1995374"/>
              <a:gd name="connsiteX7" fmla="*/ 1382374 w 1400946"/>
              <a:gd name="connsiteY7" fmla="*/ 659546 h 1995374"/>
              <a:gd name="connsiteX8" fmla="*/ 947608 w 1400946"/>
              <a:gd name="connsiteY8" fmla="*/ 3222 h 1995374"/>
              <a:gd name="connsiteX9" fmla="*/ 1113773 w 1400946"/>
              <a:gd name="connsiteY9" fmla="*/ 308520 h 1995374"/>
              <a:gd name="connsiteX10" fmla="*/ 1288929 w 1400946"/>
              <a:gd name="connsiteY10" fmla="*/ 737721 h 1995374"/>
              <a:gd name="connsiteX11" fmla="*/ 1223947 w 1400946"/>
              <a:gd name="connsiteY11" fmla="*/ 1346954 h 1995374"/>
              <a:gd name="connsiteX12" fmla="*/ 997474 w 1400946"/>
              <a:gd name="connsiteY12" fmla="*/ 1719346 h 1995374"/>
              <a:gd name="connsiteX13" fmla="*/ 809330 w 1400946"/>
              <a:gd name="connsiteY13" fmla="*/ 1810950 h 1995374"/>
              <a:gd name="connsiteX14" fmla="*/ 785265 w 1400946"/>
              <a:gd name="connsiteY14" fmla="*/ 1626984 h 1995374"/>
              <a:gd name="connsiteX15" fmla="*/ 931541 w 1400946"/>
              <a:gd name="connsiteY15" fmla="*/ 1346662 h 1995374"/>
              <a:gd name="connsiteX16" fmla="*/ 887109 w 1400946"/>
              <a:gd name="connsiteY16" fmla="*/ 875173 h 1995374"/>
              <a:gd name="connsiteX17" fmla="*/ 680047 w 1400946"/>
              <a:gd name="connsiteY17" fmla="*/ 255644 h 1995374"/>
              <a:gd name="connsiteX18" fmla="*/ 499920 w 1400946"/>
              <a:gd name="connsiteY18" fmla="*/ 851035 h 1995374"/>
              <a:gd name="connsiteX19" fmla="*/ 459829 w 1400946"/>
              <a:gd name="connsiteY19" fmla="*/ 1275782 h 1995374"/>
              <a:gd name="connsiteX20" fmla="*/ 606494 w 1400946"/>
              <a:gd name="connsiteY20" fmla="*/ 1594447 h 1995374"/>
              <a:gd name="connsiteX21" fmla="*/ 622027 w 1400946"/>
              <a:gd name="connsiteY21" fmla="*/ 1827285 h 1995374"/>
              <a:gd name="connsiteX22" fmla="*/ 303844 w 1400946"/>
              <a:gd name="connsiteY22" fmla="*/ 1631176 h 1995374"/>
              <a:gd name="connsiteX23" fmla="*/ 131022 w 1400946"/>
              <a:gd name="connsiteY23" fmla="*/ 1291283 h 1995374"/>
              <a:gd name="connsiteX24" fmla="*/ 97670 w 1400946"/>
              <a:gd name="connsiteY24" fmla="*/ 802754 h 1995374"/>
              <a:gd name="connsiteX25" fmla="*/ 235973 w 1400946"/>
              <a:gd name="connsiteY25" fmla="*/ 349267 h 1995374"/>
              <a:gd name="connsiteX26" fmla="*/ 377683 w 1400946"/>
              <a:gd name="connsiteY26" fmla="*/ 37355 h 199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00946" h="1995374">
                <a:moveTo>
                  <a:pt x="377683" y="37355"/>
                </a:moveTo>
                <a:cubicBezTo>
                  <a:pt x="168486" y="214741"/>
                  <a:pt x="61189" y="476491"/>
                  <a:pt x="23867" y="712867"/>
                </a:cubicBezTo>
                <a:cubicBezTo>
                  <a:pt x="-15817" y="884546"/>
                  <a:pt x="-4651" y="1177680"/>
                  <a:pt x="47235" y="1366275"/>
                </a:cubicBezTo>
                <a:cubicBezTo>
                  <a:pt x="99121" y="1554870"/>
                  <a:pt x="254317" y="1771349"/>
                  <a:pt x="335182" y="1844439"/>
                </a:cubicBezTo>
                <a:cubicBezTo>
                  <a:pt x="416047" y="1917529"/>
                  <a:pt x="516433" y="1963936"/>
                  <a:pt x="615989" y="1980118"/>
                </a:cubicBezTo>
                <a:cubicBezTo>
                  <a:pt x="715545" y="1996300"/>
                  <a:pt x="821435" y="2016520"/>
                  <a:pt x="932515" y="1941530"/>
                </a:cubicBezTo>
                <a:cubicBezTo>
                  <a:pt x="1043595" y="1866540"/>
                  <a:pt x="1207493" y="1743844"/>
                  <a:pt x="1282469" y="1530180"/>
                </a:cubicBezTo>
                <a:cubicBezTo>
                  <a:pt x="1357445" y="1316516"/>
                  <a:pt x="1438184" y="914039"/>
                  <a:pt x="1382374" y="659546"/>
                </a:cubicBezTo>
                <a:cubicBezTo>
                  <a:pt x="1326564" y="405053"/>
                  <a:pt x="973389" y="-42287"/>
                  <a:pt x="947608" y="3222"/>
                </a:cubicBezTo>
                <a:cubicBezTo>
                  <a:pt x="921827" y="48731"/>
                  <a:pt x="1057187" y="196621"/>
                  <a:pt x="1113773" y="308520"/>
                </a:cubicBezTo>
                <a:cubicBezTo>
                  <a:pt x="1170359" y="420419"/>
                  <a:pt x="1270567" y="564649"/>
                  <a:pt x="1288929" y="737721"/>
                </a:cubicBezTo>
                <a:cubicBezTo>
                  <a:pt x="1307291" y="910793"/>
                  <a:pt x="1272523" y="1183350"/>
                  <a:pt x="1223947" y="1346954"/>
                </a:cubicBezTo>
                <a:cubicBezTo>
                  <a:pt x="1175371" y="1510558"/>
                  <a:pt x="1066577" y="1642013"/>
                  <a:pt x="997474" y="1719346"/>
                </a:cubicBezTo>
                <a:cubicBezTo>
                  <a:pt x="928371" y="1796679"/>
                  <a:pt x="844698" y="1826344"/>
                  <a:pt x="809330" y="1810950"/>
                </a:cubicBezTo>
                <a:cubicBezTo>
                  <a:pt x="773962" y="1795556"/>
                  <a:pt x="764896" y="1704365"/>
                  <a:pt x="785265" y="1626984"/>
                </a:cubicBezTo>
                <a:cubicBezTo>
                  <a:pt x="805634" y="1549603"/>
                  <a:pt x="914567" y="1471964"/>
                  <a:pt x="931541" y="1346662"/>
                </a:cubicBezTo>
                <a:cubicBezTo>
                  <a:pt x="948515" y="1221360"/>
                  <a:pt x="929025" y="1057009"/>
                  <a:pt x="887109" y="875173"/>
                </a:cubicBezTo>
                <a:cubicBezTo>
                  <a:pt x="845193" y="693337"/>
                  <a:pt x="744578" y="259667"/>
                  <a:pt x="680047" y="255644"/>
                </a:cubicBezTo>
                <a:cubicBezTo>
                  <a:pt x="615516" y="251621"/>
                  <a:pt x="536623" y="681012"/>
                  <a:pt x="499920" y="851035"/>
                </a:cubicBezTo>
                <a:cubicBezTo>
                  <a:pt x="463217" y="1021058"/>
                  <a:pt x="431047" y="1084318"/>
                  <a:pt x="459829" y="1275782"/>
                </a:cubicBezTo>
                <a:cubicBezTo>
                  <a:pt x="488611" y="1467246"/>
                  <a:pt x="579461" y="1502530"/>
                  <a:pt x="606494" y="1594447"/>
                </a:cubicBezTo>
                <a:cubicBezTo>
                  <a:pt x="633527" y="1686364"/>
                  <a:pt x="672469" y="1821164"/>
                  <a:pt x="622027" y="1827285"/>
                </a:cubicBezTo>
                <a:cubicBezTo>
                  <a:pt x="571585" y="1833406"/>
                  <a:pt x="385678" y="1720510"/>
                  <a:pt x="303844" y="1631176"/>
                </a:cubicBezTo>
                <a:cubicBezTo>
                  <a:pt x="222010" y="1541842"/>
                  <a:pt x="163344" y="1416019"/>
                  <a:pt x="131022" y="1291283"/>
                </a:cubicBezTo>
                <a:cubicBezTo>
                  <a:pt x="98700" y="1166547"/>
                  <a:pt x="86226" y="946876"/>
                  <a:pt x="97670" y="802754"/>
                </a:cubicBezTo>
                <a:cubicBezTo>
                  <a:pt x="109114" y="658632"/>
                  <a:pt x="189304" y="476834"/>
                  <a:pt x="235973" y="349267"/>
                </a:cubicBezTo>
                <a:cubicBezTo>
                  <a:pt x="282642" y="221701"/>
                  <a:pt x="421223" y="-21754"/>
                  <a:pt x="377683" y="37355"/>
                </a:cubicBezTo>
                <a:close/>
              </a:path>
            </a:pathLst>
          </a:custGeom>
          <a:solidFill>
            <a:srgbClr val="0070C0"/>
          </a:solidFill>
          <a:ln w="9525" cap="flat" cmpd="sng" algn="ctr">
            <a:noFill/>
            <a:prstDash val="dash"/>
            <a:round/>
            <a:headEnd type="none" w="med" len="med"/>
            <a:tailEnd type="none" w="med" len="med"/>
          </a:ln>
          <a:effectLst>
            <a:softEdge rad="0"/>
          </a:effectLst>
          <a:scene3d>
            <a:camera prst="orthographicFront"/>
            <a:lightRig rig="threePt" dir="t">
              <a:rot lat="0" lon="0" rev="5400000"/>
            </a:lightRig>
          </a:scene3d>
          <a:sp3d>
            <a:bevelT w="152400" h="50800" prst="softRound"/>
          </a:sp3d>
        </p:spPr>
        <p:txBody>
          <a:bodyPr vert="horz" wrap="square" lIns="91440" tIns="45720" rIns="91440" bIns="45720" numCol="1" rtlCol="0" anchor="t" anchorCtr="0" compatLnSpc="1">
            <a:prstTxWarp prst="textNoShape">
              <a:avLst/>
            </a:prstTxWarp>
          </a:bodyPr>
          <a:lstStyle/>
          <a:p>
            <a:pPr eaLnBrk="0" hangingPunct="0"/>
            <a:endParaRPr lang="en-US" sz="2800">
              <a:latin typeface="Arial" charset="0"/>
              <a:ea typeface="ヒラギノ角ゴ Pro W3" pitchFamily="48" charset="-128"/>
              <a:cs typeface="Arial" charset="0"/>
            </a:endParaRPr>
          </a:p>
        </p:txBody>
      </p:sp>
      <p:grpSp>
        <p:nvGrpSpPr>
          <p:cNvPr id="39" name="Group 38"/>
          <p:cNvGrpSpPr/>
          <p:nvPr/>
        </p:nvGrpSpPr>
        <p:grpSpPr>
          <a:xfrm>
            <a:off x="2054740" y="2705938"/>
            <a:ext cx="911467" cy="864448"/>
            <a:chOff x="7215986" y="313794"/>
            <a:chExt cx="828186" cy="756295"/>
          </a:xfrm>
        </p:grpSpPr>
        <p:sp>
          <p:nvSpPr>
            <p:cNvPr id="40" name="Oval 39"/>
            <p:cNvSpPr/>
            <p:nvPr/>
          </p:nvSpPr>
          <p:spPr>
            <a:xfrm>
              <a:off x="7288172" y="314089"/>
              <a:ext cx="756000" cy="756000"/>
            </a:xfrm>
            <a:prstGeom prst="ellipse">
              <a:avLst/>
            </a:prstGeom>
            <a:solidFill>
              <a:srgbClr val="005295"/>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extrusionH="190500">
              <a:bevelT w="666750" h="69850"/>
              <a:extrusionClr>
                <a:schemeClr val="tx1"/>
              </a:extrusionClr>
            </a:sp3d>
          </p:spPr>
          <p:txBody>
            <a:bodyPr vert="horz" wrap="square" lIns="91440" tIns="45720" rIns="91440" bIns="45720" numCol="1" rtlCol="0" anchor="t" anchorCtr="0" compatLnSpc="1">
              <a:prstTxWarp prst="textNoShape">
                <a:avLst/>
              </a:prstTxWarp>
            </a:bodyPr>
            <a:lstStyle/>
            <a:p>
              <a:pPr eaLnBrk="0" hangingPunct="0"/>
              <a:endParaRPr lang="en-US" sz="2800">
                <a:latin typeface="Arial" charset="0"/>
                <a:ea typeface="ヒラギノ角ゴ Pro W3" pitchFamily="48" charset="-128"/>
                <a:cs typeface="Arial" charset="0"/>
              </a:endParaRPr>
            </a:p>
          </p:txBody>
        </p:sp>
        <p:sp>
          <p:nvSpPr>
            <p:cNvPr id="42" name="Freeform 41"/>
            <p:cNvSpPr/>
            <p:nvPr/>
          </p:nvSpPr>
          <p:spPr bwMode="auto">
            <a:xfrm>
              <a:off x="7484705" y="313794"/>
              <a:ext cx="363896" cy="738348"/>
            </a:xfrm>
            <a:custGeom>
              <a:avLst/>
              <a:gdLst>
                <a:gd name="connsiteX0" fmla="*/ 118937 w 1223178"/>
                <a:gd name="connsiteY0" fmla="*/ 4214 h 1843402"/>
                <a:gd name="connsiteX1" fmla="*/ 6970 w 1223178"/>
                <a:gd name="connsiteY1" fmla="*/ 685349 h 1843402"/>
                <a:gd name="connsiteX2" fmla="*/ 72284 w 1223178"/>
                <a:gd name="connsiteY2" fmla="*/ 1375814 h 1843402"/>
                <a:gd name="connsiteX3" fmla="*/ 557476 w 1223178"/>
                <a:gd name="connsiteY3" fmla="*/ 1814353 h 1843402"/>
                <a:gd name="connsiteX4" fmla="*/ 818733 w 1223178"/>
                <a:gd name="connsiteY4" fmla="*/ 1749038 h 1843402"/>
                <a:gd name="connsiteX5" fmla="*/ 1154635 w 1223178"/>
                <a:gd name="connsiteY5" fmla="*/ 1319830 h 1843402"/>
                <a:gd name="connsiteX6" fmla="*/ 1219950 w 1223178"/>
                <a:gd name="connsiteY6" fmla="*/ 787985 h 1843402"/>
                <a:gd name="connsiteX7" fmla="*/ 1098652 w 1223178"/>
                <a:gd name="connsiteY7" fmla="*/ 4214 h 1843402"/>
                <a:gd name="connsiteX8" fmla="*/ 1117313 w 1223178"/>
                <a:gd name="connsiteY8" fmla="*/ 498736 h 1843402"/>
                <a:gd name="connsiteX9" fmla="*/ 1117313 w 1223178"/>
                <a:gd name="connsiteY9" fmla="*/ 993259 h 1843402"/>
                <a:gd name="connsiteX10" fmla="*/ 958692 w 1223178"/>
                <a:gd name="connsiteY10" fmla="*/ 1431798 h 1843402"/>
                <a:gd name="connsiteX11" fmla="*/ 762750 w 1223178"/>
                <a:gd name="connsiteY11" fmla="*/ 1665063 h 1843402"/>
                <a:gd name="connsiteX12" fmla="*/ 641452 w 1223178"/>
                <a:gd name="connsiteY12" fmla="*/ 1693055 h 1843402"/>
                <a:gd name="connsiteX13" fmla="*/ 632121 w 1223178"/>
                <a:gd name="connsiteY13" fmla="*/ 1525104 h 1843402"/>
                <a:gd name="connsiteX14" fmla="*/ 734758 w 1223178"/>
                <a:gd name="connsiteY14" fmla="*/ 1291838 h 1843402"/>
                <a:gd name="connsiteX15" fmla="*/ 706766 w 1223178"/>
                <a:gd name="connsiteY15" fmla="*/ 1077234 h 1843402"/>
                <a:gd name="connsiteX16" fmla="*/ 594799 w 1223178"/>
                <a:gd name="connsiteY16" fmla="*/ 666687 h 1843402"/>
                <a:gd name="connsiteX17" fmla="*/ 445509 w 1223178"/>
                <a:gd name="connsiteY17" fmla="*/ 1039912 h 1843402"/>
                <a:gd name="connsiteX18" fmla="*/ 436178 w 1223178"/>
                <a:gd name="connsiteY18" fmla="*/ 1375814 h 1843402"/>
                <a:gd name="connsiteX19" fmla="*/ 529484 w 1223178"/>
                <a:gd name="connsiteY19" fmla="*/ 1553096 h 1843402"/>
                <a:gd name="connsiteX20" fmla="*/ 548145 w 1223178"/>
                <a:gd name="connsiteY20" fmla="*/ 1683724 h 1843402"/>
                <a:gd name="connsiteX21" fmla="*/ 249566 w 1223178"/>
                <a:gd name="connsiteY21" fmla="*/ 1487781 h 1843402"/>
                <a:gd name="connsiteX22" fmla="*/ 100276 w 1223178"/>
                <a:gd name="connsiteY22" fmla="*/ 1049242 h 1843402"/>
                <a:gd name="connsiteX23" fmla="*/ 146929 w 1223178"/>
                <a:gd name="connsiteY23" fmla="*/ 508067 h 1843402"/>
                <a:gd name="connsiteX24" fmla="*/ 174921 w 1223178"/>
                <a:gd name="connsiteY24" fmla="*/ 13545 h 1843402"/>
                <a:gd name="connsiteX25" fmla="*/ 174921 w 1223178"/>
                <a:gd name="connsiteY25" fmla="*/ 13545 h 1843402"/>
                <a:gd name="connsiteX0" fmla="*/ 118937 w 1223178"/>
                <a:gd name="connsiteY0" fmla="*/ 38655 h 1877843"/>
                <a:gd name="connsiteX1" fmla="*/ 6970 w 1223178"/>
                <a:gd name="connsiteY1" fmla="*/ 719790 h 1877843"/>
                <a:gd name="connsiteX2" fmla="*/ 72284 w 1223178"/>
                <a:gd name="connsiteY2" fmla="*/ 1410255 h 1877843"/>
                <a:gd name="connsiteX3" fmla="*/ 557476 w 1223178"/>
                <a:gd name="connsiteY3" fmla="*/ 1848794 h 1877843"/>
                <a:gd name="connsiteX4" fmla="*/ 818733 w 1223178"/>
                <a:gd name="connsiteY4" fmla="*/ 1783479 h 1877843"/>
                <a:gd name="connsiteX5" fmla="*/ 1154635 w 1223178"/>
                <a:gd name="connsiteY5" fmla="*/ 1354271 h 1877843"/>
                <a:gd name="connsiteX6" fmla="*/ 1219950 w 1223178"/>
                <a:gd name="connsiteY6" fmla="*/ 822426 h 1877843"/>
                <a:gd name="connsiteX7" fmla="*/ 1098652 w 1223178"/>
                <a:gd name="connsiteY7" fmla="*/ 38655 h 1877843"/>
                <a:gd name="connsiteX8" fmla="*/ 1117313 w 1223178"/>
                <a:gd name="connsiteY8" fmla="*/ 533177 h 1877843"/>
                <a:gd name="connsiteX9" fmla="*/ 1117313 w 1223178"/>
                <a:gd name="connsiteY9" fmla="*/ 1027700 h 1877843"/>
                <a:gd name="connsiteX10" fmla="*/ 958692 w 1223178"/>
                <a:gd name="connsiteY10" fmla="*/ 1466239 h 1877843"/>
                <a:gd name="connsiteX11" fmla="*/ 762750 w 1223178"/>
                <a:gd name="connsiteY11" fmla="*/ 1699504 h 1877843"/>
                <a:gd name="connsiteX12" fmla="*/ 641452 w 1223178"/>
                <a:gd name="connsiteY12" fmla="*/ 1727496 h 1877843"/>
                <a:gd name="connsiteX13" fmla="*/ 632121 w 1223178"/>
                <a:gd name="connsiteY13" fmla="*/ 1559545 h 1877843"/>
                <a:gd name="connsiteX14" fmla="*/ 734758 w 1223178"/>
                <a:gd name="connsiteY14" fmla="*/ 1326279 h 1877843"/>
                <a:gd name="connsiteX15" fmla="*/ 706766 w 1223178"/>
                <a:gd name="connsiteY15" fmla="*/ 1111675 h 1877843"/>
                <a:gd name="connsiteX16" fmla="*/ 594799 w 1223178"/>
                <a:gd name="connsiteY16" fmla="*/ 701128 h 1877843"/>
                <a:gd name="connsiteX17" fmla="*/ 445509 w 1223178"/>
                <a:gd name="connsiteY17" fmla="*/ 1074353 h 1877843"/>
                <a:gd name="connsiteX18" fmla="*/ 436178 w 1223178"/>
                <a:gd name="connsiteY18" fmla="*/ 1410255 h 1877843"/>
                <a:gd name="connsiteX19" fmla="*/ 529484 w 1223178"/>
                <a:gd name="connsiteY19" fmla="*/ 1587537 h 1877843"/>
                <a:gd name="connsiteX20" fmla="*/ 548145 w 1223178"/>
                <a:gd name="connsiteY20" fmla="*/ 1718165 h 1877843"/>
                <a:gd name="connsiteX21" fmla="*/ 249566 w 1223178"/>
                <a:gd name="connsiteY21" fmla="*/ 1522222 h 1877843"/>
                <a:gd name="connsiteX22" fmla="*/ 100276 w 1223178"/>
                <a:gd name="connsiteY22" fmla="*/ 1083683 h 1877843"/>
                <a:gd name="connsiteX23" fmla="*/ 146929 w 1223178"/>
                <a:gd name="connsiteY23" fmla="*/ 542508 h 1877843"/>
                <a:gd name="connsiteX24" fmla="*/ 174921 w 1223178"/>
                <a:gd name="connsiteY24" fmla="*/ 47986 h 1877843"/>
                <a:gd name="connsiteX25" fmla="*/ 118937 w 1223178"/>
                <a:gd name="connsiteY25" fmla="*/ 10663 h 1877843"/>
                <a:gd name="connsiteX0" fmla="*/ 118937 w 1223178"/>
                <a:gd name="connsiteY0" fmla="*/ 38655 h 1877843"/>
                <a:gd name="connsiteX1" fmla="*/ 6970 w 1223178"/>
                <a:gd name="connsiteY1" fmla="*/ 719790 h 1877843"/>
                <a:gd name="connsiteX2" fmla="*/ 72284 w 1223178"/>
                <a:gd name="connsiteY2" fmla="*/ 1410255 h 1877843"/>
                <a:gd name="connsiteX3" fmla="*/ 557476 w 1223178"/>
                <a:gd name="connsiteY3" fmla="*/ 1848794 h 1877843"/>
                <a:gd name="connsiteX4" fmla="*/ 818733 w 1223178"/>
                <a:gd name="connsiteY4" fmla="*/ 1783479 h 1877843"/>
                <a:gd name="connsiteX5" fmla="*/ 1154635 w 1223178"/>
                <a:gd name="connsiteY5" fmla="*/ 1354271 h 1877843"/>
                <a:gd name="connsiteX6" fmla="*/ 1219950 w 1223178"/>
                <a:gd name="connsiteY6" fmla="*/ 822426 h 1877843"/>
                <a:gd name="connsiteX7" fmla="*/ 1098652 w 1223178"/>
                <a:gd name="connsiteY7" fmla="*/ 38655 h 1877843"/>
                <a:gd name="connsiteX8" fmla="*/ 1117313 w 1223178"/>
                <a:gd name="connsiteY8" fmla="*/ 533177 h 1877843"/>
                <a:gd name="connsiteX9" fmla="*/ 1117313 w 1223178"/>
                <a:gd name="connsiteY9" fmla="*/ 1027700 h 1877843"/>
                <a:gd name="connsiteX10" fmla="*/ 958692 w 1223178"/>
                <a:gd name="connsiteY10" fmla="*/ 1466239 h 1877843"/>
                <a:gd name="connsiteX11" fmla="*/ 762750 w 1223178"/>
                <a:gd name="connsiteY11" fmla="*/ 1699504 h 1877843"/>
                <a:gd name="connsiteX12" fmla="*/ 641452 w 1223178"/>
                <a:gd name="connsiteY12" fmla="*/ 1727496 h 1877843"/>
                <a:gd name="connsiteX13" fmla="*/ 632121 w 1223178"/>
                <a:gd name="connsiteY13" fmla="*/ 1559545 h 1877843"/>
                <a:gd name="connsiteX14" fmla="*/ 734758 w 1223178"/>
                <a:gd name="connsiteY14" fmla="*/ 1326279 h 1877843"/>
                <a:gd name="connsiteX15" fmla="*/ 706766 w 1223178"/>
                <a:gd name="connsiteY15" fmla="*/ 1111675 h 1877843"/>
                <a:gd name="connsiteX16" fmla="*/ 594799 w 1223178"/>
                <a:gd name="connsiteY16" fmla="*/ 701128 h 1877843"/>
                <a:gd name="connsiteX17" fmla="*/ 445509 w 1223178"/>
                <a:gd name="connsiteY17" fmla="*/ 1074353 h 1877843"/>
                <a:gd name="connsiteX18" fmla="*/ 436178 w 1223178"/>
                <a:gd name="connsiteY18" fmla="*/ 1410255 h 1877843"/>
                <a:gd name="connsiteX19" fmla="*/ 529484 w 1223178"/>
                <a:gd name="connsiteY19" fmla="*/ 1587537 h 1877843"/>
                <a:gd name="connsiteX20" fmla="*/ 548145 w 1223178"/>
                <a:gd name="connsiteY20" fmla="*/ 1718165 h 1877843"/>
                <a:gd name="connsiteX21" fmla="*/ 249566 w 1223178"/>
                <a:gd name="connsiteY21" fmla="*/ 1522222 h 1877843"/>
                <a:gd name="connsiteX22" fmla="*/ 100276 w 1223178"/>
                <a:gd name="connsiteY22" fmla="*/ 1083683 h 1877843"/>
                <a:gd name="connsiteX23" fmla="*/ 146929 w 1223178"/>
                <a:gd name="connsiteY23" fmla="*/ 542508 h 1877843"/>
                <a:gd name="connsiteX24" fmla="*/ 174921 w 1223178"/>
                <a:gd name="connsiteY24" fmla="*/ 47986 h 1877843"/>
                <a:gd name="connsiteX25" fmla="*/ 118937 w 1223178"/>
                <a:gd name="connsiteY25" fmla="*/ 10663 h 1877843"/>
                <a:gd name="connsiteX26" fmla="*/ 118937 w 1223178"/>
                <a:gd name="connsiteY26" fmla="*/ 38655 h 1877843"/>
                <a:gd name="connsiteX0" fmla="*/ 118937 w 1223178"/>
                <a:gd name="connsiteY0" fmla="*/ 10663 h 1877843"/>
                <a:gd name="connsiteX1" fmla="*/ 6970 w 1223178"/>
                <a:gd name="connsiteY1" fmla="*/ 719790 h 1877843"/>
                <a:gd name="connsiteX2" fmla="*/ 72284 w 1223178"/>
                <a:gd name="connsiteY2" fmla="*/ 1410255 h 1877843"/>
                <a:gd name="connsiteX3" fmla="*/ 557476 w 1223178"/>
                <a:gd name="connsiteY3" fmla="*/ 1848794 h 1877843"/>
                <a:gd name="connsiteX4" fmla="*/ 818733 w 1223178"/>
                <a:gd name="connsiteY4" fmla="*/ 1783479 h 1877843"/>
                <a:gd name="connsiteX5" fmla="*/ 1154635 w 1223178"/>
                <a:gd name="connsiteY5" fmla="*/ 1354271 h 1877843"/>
                <a:gd name="connsiteX6" fmla="*/ 1219950 w 1223178"/>
                <a:gd name="connsiteY6" fmla="*/ 822426 h 1877843"/>
                <a:gd name="connsiteX7" fmla="*/ 1098652 w 1223178"/>
                <a:gd name="connsiteY7" fmla="*/ 38655 h 1877843"/>
                <a:gd name="connsiteX8" fmla="*/ 1117313 w 1223178"/>
                <a:gd name="connsiteY8" fmla="*/ 533177 h 1877843"/>
                <a:gd name="connsiteX9" fmla="*/ 1117313 w 1223178"/>
                <a:gd name="connsiteY9" fmla="*/ 1027700 h 1877843"/>
                <a:gd name="connsiteX10" fmla="*/ 958692 w 1223178"/>
                <a:gd name="connsiteY10" fmla="*/ 1466239 h 1877843"/>
                <a:gd name="connsiteX11" fmla="*/ 762750 w 1223178"/>
                <a:gd name="connsiteY11" fmla="*/ 1699504 h 1877843"/>
                <a:gd name="connsiteX12" fmla="*/ 641452 w 1223178"/>
                <a:gd name="connsiteY12" fmla="*/ 1727496 h 1877843"/>
                <a:gd name="connsiteX13" fmla="*/ 632121 w 1223178"/>
                <a:gd name="connsiteY13" fmla="*/ 1559545 h 1877843"/>
                <a:gd name="connsiteX14" fmla="*/ 734758 w 1223178"/>
                <a:gd name="connsiteY14" fmla="*/ 1326279 h 1877843"/>
                <a:gd name="connsiteX15" fmla="*/ 706766 w 1223178"/>
                <a:gd name="connsiteY15" fmla="*/ 1111675 h 1877843"/>
                <a:gd name="connsiteX16" fmla="*/ 594799 w 1223178"/>
                <a:gd name="connsiteY16" fmla="*/ 701128 h 1877843"/>
                <a:gd name="connsiteX17" fmla="*/ 445509 w 1223178"/>
                <a:gd name="connsiteY17" fmla="*/ 1074353 h 1877843"/>
                <a:gd name="connsiteX18" fmla="*/ 436178 w 1223178"/>
                <a:gd name="connsiteY18" fmla="*/ 1410255 h 1877843"/>
                <a:gd name="connsiteX19" fmla="*/ 529484 w 1223178"/>
                <a:gd name="connsiteY19" fmla="*/ 1587537 h 1877843"/>
                <a:gd name="connsiteX20" fmla="*/ 548145 w 1223178"/>
                <a:gd name="connsiteY20" fmla="*/ 1718165 h 1877843"/>
                <a:gd name="connsiteX21" fmla="*/ 249566 w 1223178"/>
                <a:gd name="connsiteY21" fmla="*/ 1522222 h 1877843"/>
                <a:gd name="connsiteX22" fmla="*/ 100276 w 1223178"/>
                <a:gd name="connsiteY22" fmla="*/ 1083683 h 1877843"/>
                <a:gd name="connsiteX23" fmla="*/ 146929 w 1223178"/>
                <a:gd name="connsiteY23" fmla="*/ 542508 h 1877843"/>
                <a:gd name="connsiteX24" fmla="*/ 174921 w 1223178"/>
                <a:gd name="connsiteY24" fmla="*/ 47986 h 1877843"/>
                <a:gd name="connsiteX25" fmla="*/ 118937 w 1223178"/>
                <a:gd name="connsiteY25" fmla="*/ 10663 h 1877843"/>
                <a:gd name="connsiteX0" fmla="*/ 118937 w 1223178"/>
                <a:gd name="connsiteY0" fmla="*/ 13287 h 1880467"/>
                <a:gd name="connsiteX1" fmla="*/ 6970 w 1223178"/>
                <a:gd name="connsiteY1" fmla="*/ 722414 h 1880467"/>
                <a:gd name="connsiteX2" fmla="*/ 72284 w 1223178"/>
                <a:gd name="connsiteY2" fmla="*/ 1412879 h 1880467"/>
                <a:gd name="connsiteX3" fmla="*/ 557476 w 1223178"/>
                <a:gd name="connsiteY3" fmla="*/ 1851418 h 1880467"/>
                <a:gd name="connsiteX4" fmla="*/ 818733 w 1223178"/>
                <a:gd name="connsiteY4" fmla="*/ 1786103 h 1880467"/>
                <a:gd name="connsiteX5" fmla="*/ 1154635 w 1223178"/>
                <a:gd name="connsiteY5" fmla="*/ 1356895 h 1880467"/>
                <a:gd name="connsiteX6" fmla="*/ 1219950 w 1223178"/>
                <a:gd name="connsiteY6" fmla="*/ 825050 h 1880467"/>
                <a:gd name="connsiteX7" fmla="*/ 1098652 w 1223178"/>
                <a:gd name="connsiteY7" fmla="*/ 41279 h 1880467"/>
                <a:gd name="connsiteX8" fmla="*/ 1117313 w 1223178"/>
                <a:gd name="connsiteY8" fmla="*/ 535801 h 1880467"/>
                <a:gd name="connsiteX9" fmla="*/ 1117313 w 1223178"/>
                <a:gd name="connsiteY9" fmla="*/ 1030324 h 1880467"/>
                <a:gd name="connsiteX10" fmla="*/ 958692 w 1223178"/>
                <a:gd name="connsiteY10" fmla="*/ 1468863 h 1880467"/>
                <a:gd name="connsiteX11" fmla="*/ 762750 w 1223178"/>
                <a:gd name="connsiteY11" fmla="*/ 1702128 h 1880467"/>
                <a:gd name="connsiteX12" fmla="*/ 641452 w 1223178"/>
                <a:gd name="connsiteY12" fmla="*/ 1730120 h 1880467"/>
                <a:gd name="connsiteX13" fmla="*/ 632121 w 1223178"/>
                <a:gd name="connsiteY13" fmla="*/ 1562169 h 1880467"/>
                <a:gd name="connsiteX14" fmla="*/ 734758 w 1223178"/>
                <a:gd name="connsiteY14" fmla="*/ 1328903 h 1880467"/>
                <a:gd name="connsiteX15" fmla="*/ 706766 w 1223178"/>
                <a:gd name="connsiteY15" fmla="*/ 1114299 h 1880467"/>
                <a:gd name="connsiteX16" fmla="*/ 594799 w 1223178"/>
                <a:gd name="connsiteY16" fmla="*/ 703752 h 1880467"/>
                <a:gd name="connsiteX17" fmla="*/ 445509 w 1223178"/>
                <a:gd name="connsiteY17" fmla="*/ 1076977 h 1880467"/>
                <a:gd name="connsiteX18" fmla="*/ 436178 w 1223178"/>
                <a:gd name="connsiteY18" fmla="*/ 1412879 h 1880467"/>
                <a:gd name="connsiteX19" fmla="*/ 529484 w 1223178"/>
                <a:gd name="connsiteY19" fmla="*/ 1590161 h 1880467"/>
                <a:gd name="connsiteX20" fmla="*/ 548145 w 1223178"/>
                <a:gd name="connsiteY20" fmla="*/ 1720789 h 1880467"/>
                <a:gd name="connsiteX21" fmla="*/ 249566 w 1223178"/>
                <a:gd name="connsiteY21" fmla="*/ 1524846 h 1880467"/>
                <a:gd name="connsiteX22" fmla="*/ 100276 w 1223178"/>
                <a:gd name="connsiteY22" fmla="*/ 1086307 h 1880467"/>
                <a:gd name="connsiteX23" fmla="*/ 118937 w 1223178"/>
                <a:gd name="connsiteY23" fmla="*/ 582455 h 1880467"/>
                <a:gd name="connsiteX24" fmla="*/ 174921 w 1223178"/>
                <a:gd name="connsiteY24" fmla="*/ 50610 h 1880467"/>
                <a:gd name="connsiteX25" fmla="*/ 118937 w 1223178"/>
                <a:gd name="connsiteY25" fmla="*/ 13287 h 1880467"/>
                <a:gd name="connsiteX0" fmla="*/ 118937 w 1223178"/>
                <a:gd name="connsiteY0" fmla="*/ 948 h 1868128"/>
                <a:gd name="connsiteX1" fmla="*/ 6970 w 1223178"/>
                <a:gd name="connsiteY1" fmla="*/ 710075 h 1868128"/>
                <a:gd name="connsiteX2" fmla="*/ 72284 w 1223178"/>
                <a:gd name="connsiteY2" fmla="*/ 1400540 h 1868128"/>
                <a:gd name="connsiteX3" fmla="*/ 557476 w 1223178"/>
                <a:gd name="connsiteY3" fmla="*/ 1839079 h 1868128"/>
                <a:gd name="connsiteX4" fmla="*/ 818733 w 1223178"/>
                <a:gd name="connsiteY4" fmla="*/ 1773764 h 1868128"/>
                <a:gd name="connsiteX5" fmla="*/ 1154635 w 1223178"/>
                <a:gd name="connsiteY5" fmla="*/ 1344556 h 1868128"/>
                <a:gd name="connsiteX6" fmla="*/ 1219950 w 1223178"/>
                <a:gd name="connsiteY6" fmla="*/ 812711 h 1868128"/>
                <a:gd name="connsiteX7" fmla="*/ 1098652 w 1223178"/>
                <a:gd name="connsiteY7" fmla="*/ 28940 h 1868128"/>
                <a:gd name="connsiteX8" fmla="*/ 1117313 w 1223178"/>
                <a:gd name="connsiteY8" fmla="*/ 523462 h 1868128"/>
                <a:gd name="connsiteX9" fmla="*/ 1117313 w 1223178"/>
                <a:gd name="connsiteY9" fmla="*/ 1017985 h 1868128"/>
                <a:gd name="connsiteX10" fmla="*/ 958692 w 1223178"/>
                <a:gd name="connsiteY10" fmla="*/ 1456524 h 1868128"/>
                <a:gd name="connsiteX11" fmla="*/ 762750 w 1223178"/>
                <a:gd name="connsiteY11" fmla="*/ 1689789 h 1868128"/>
                <a:gd name="connsiteX12" fmla="*/ 641452 w 1223178"/>
                <a:gd name="connsiteY12" fmla="*/ 1717781 h 1868128"/>
                <a:gd name="connsiteX13" fmla="*/ 632121 w 1223178"/>
                <a:gd name="connsiteY13" fmla="*/ 1549830 h 1868128"/>
                <a:gd name="connsiteX14" fmla="*/ 734758 w 1223178"/>
                <a:gd name="connsiteY14" fmla="*/ 1316564 h 1868128"/>
                <a:gd name="connsiteX15" fmla="*/ 706766 w 1223178"/>
                <a:gd name="connsiteY15" fmla="*/ 1101960 h 1868128"/>
                <a:gd name="connsiteX16" fmla="*/ 594799 w 1223178"/>
                <a:gd name="connsiteY16" fmla="*/ 691413 h 1868128"/>
                <a:gd name="connsiteX17" fmla="*/ 445509 w 1223178"/>
                <a:gd name="connsiteY17" fmla="*/ 1064638 h 1868128"/>
                <a:gd name="connsiteX18" fmla="*/ 436178 w 1223178"/>
                <a:gd name="connsiteY18" fmla="*/ 1400540 h 1868128"/>
                <a:gd name="connsiteX19" fmla="*/ 529484 w 1223178"/>
                <a:gd name="connsiteY19" fmla="*/ 1577822 h 1868128"/>
                <a:gd name="connsiteX20" fmla="*/ 548145 w 1223178"/>
                <a:gd name="connsiteY20" fmla="*/ 1708450 h 1868128"/>
                <a:gd name="connsiteX21" fmla="*/ 249566 w 1223178"/>
                <a:gd name="connsiteY21" fmla="*/ 1512507 h 1868128"/>
                <a:gd name="connsiteX22" fmla="*/ 100276 w 1223178"/>
                <a:gd name="connsiteY22" fmla="*/ 1073968 h 1868128"/>
                <a:gd name="connsiteX23" fmla="*/ 118937 w 1223178"/>
                <a:gd name="connsiteY23" fmla="*/ 570116 h 1868128"/>
                <a:gd name="connsiteX24" fmla="*/ 118937 w 1223178"/>
                <a:gd name="connsiteY24" fmla="*/ 948 h 1868128"/>
                <a:gd name="connsiteX0" fmla="*/ 118937 w 1223178"/>
                <a:gd name="connsiteY0" fmla="*/ 823 h 1868003"/>
                <a:gd name="connsiteX1" fmla="*/ 6970 w 1223178"/>
                <a:gd name="connsiteY1" fmla="*/ 709950 h 1868003"/>
                <a:gd name="connsiteX2" fmla="*/ 72284 w 1223178"/>
                <a:gd name="connsiteY2" fmla="*/ 1400415 h 1868003"/>
                <a:gd name="connsiteX3" fmla="*/ 557476 w 1223178"/>
                <a:gd name="connsiteY3" fmla="*/ 1838954 h 1868003"/>
                <a:gd name="connsiteX4" fmla="*/ 818733 w 1223178"/>
                <a:gd name="connsiteY4" fmla="*/ 1773639 h 1868003"/>
                <a:gd name="connsiteX5" fmla="*/ 1154635 w 1223178"/>
                <a:gd name="connsiteY5" fmla="*/ 1344431 h 1868003"/>
                <a:gd name="connsiteX6" fmla="*/ 1219950 w 1223178"/>
                <a:gd name="connsiteY6" fmla="*/ 812586 h 1868003"/>
                <a:gd name="connsiteX7" fmla="*/ 1098652 w 1223178"/>
                <a:gd name="connsiteY7" fmla="*/ 28815 h 1868003"/>
                <a:gd name="connsiteX8" fmla="*/ 1117313 w 1223178"/>
                <a:gd name="connsiteY8" fmla="*/ 523337 h 1868003"/>
                <a:gd name="connsiteX9" fmla="*/ 1117313 w 1223178"/>
                <a:gd name="connsiteY9" fmla="*/ 1017860 h 1868003"/>
                <a:gd name="connsiteX10" fmla="*/ 958692 w 1223178"/>
                <a:gd name="connsiteY10" fmla="*/ 1456399 h 1868003"/>
                <a:gd name="connsiteX11" fmla="*/ 762750 w 1223178"/>
                <a:gd name="connsiteY11" fmla="*/ 1689664 h 1868003"/>
                <a:gd name="connsiteX12" fmla="*/ 641452 w 1223178"/>
                <a:gd name="connsiteY12" fmla="*/ 1717656 h 1868003"/>
                <a:gd name="connsiteX13" fmla="*/ 632121 w 1223178"/>
                <a:gd name="connsiteY13" fmla="*/ 1549705 h 1868003"/>
                <a:gd name="connsiteX14" fmla="*/ 734758 w 1223178"/>
                <a:gd name="connsiteY14" fmla="*/ 1316439 h 1868003"/>
                <a:gd name="connsiteX15" fmla="*/ 706766 w 1223178"/>
                <a:gd name="connsiteY15" fmla="*/ 1101835 h 1868003"/>
                <a:gd name="connsiteX16" fmla="*/ 594799 w 1223178"/>
                <a:gd name="connsiteY16" fmla="*/ 691288 h 1868003"/>
                <a:gd name="connsiteX17" fmla="*/ 445509 w 1223178"/>
                <a:gd name="connsiteY17" fmla="*/ 1064513 h 1868003"/>
                <a:gd name="connsiteX18" fmla="*/ 436178 w 1223178"/>
                <a:gd name="connsiteY18" fmla="*/ 1400415 h 1868003"/>
                <a:gd name="connsiteX19" fmla="*/ 529484 w 1223178"/>
                <a:gd name="connsiteY19" fmla="*/ 1577697 h 1868003"/>
                <a:gd name="connsiteX20" fmla="*/ 548145 w 1223178"/>
                <a:gd name="connsiteY20" fmla="*/ 1708325 h 1868003"/>
                <a:gd name="connsiteX21" fmla="*/ 249566 w 1223178"/>
                <a:gd name="connsiteY21" fmla="*/ 1512382 h 1868003"/>
                <a:gd name="connsiteX22" fmla="*/ 100276 w 1223178"/>
                <a:gd name="connsiteY22" fmla="*/ 1073843 h 1868003"/>
                <a:gd name="connsiteX23" fmla="*/ 90945 w 1223178"/>
                <a:gd name="connsiteY23" fmla="*/ 635305 h 1868003"/>
                <a:gd name="connsiteX24" fmla="*/ 118937 w 1223178"/>
                <a:gd name="connsiteY24" fmla="*/ 823 h 1868003"/>
                <a:gd name="connsiteX0" fmla="*/ 118937 w 1223178"/>
                <a:gd name="connsiteY0" fmla="*/ 823 h 1868003"/>
                <a:gd name="connsiteX1" fmla="*/ 6970 w 1223178"/>
                <a:gd name="connsiteY1" fmla="*/ 709950 h 1868003"/>
                <a:gd name="connsiteX2" fmla="*/ 72284 w 1223178"/>
                <a:gd name="connsiteY2" fmla="*/ 1400415 h 1868003"/>
                <a:gd name="connsiteX3" fmla="*/ 557476 w 1223178"/>
                <a:gd name="connsiteY3" fmla="*/ 1838954 h 1868003"/>
                <a:gd name="connsiteX4" fmla="*/ 818733 w 1223178"/>
                <a:gd name="connsiteY4" fmla="*/ 1773639 h 1868003"/>
                <a:gd name="connsiteX5" fmla="*/ 1154635 w 1223178"/>
                <a:gd name="connsiteY5" fmla="*/ 1344431 h 1868003"/>
                <a:gd name="connsiteX6" fmla="*/ 1219950 w 1223178"/>
                <a:gd name="connsiteY6" fmla="*/ 812586 h 1868003"/>
                <a:gd name="connsiteX7" fmla="*/ 1098652 w 1223178"/>
                <a:gd name="connsiteY7" fmla="*/ 28815 h 1868003"/>
                <a:gd name="connsiteX8" fmla="*/ 1117313 w 1223178"/>
                <a:gd name="connsiteY8" fmla="*/ 523337 h 1868003"/>
                <a:gd name="connsiteX9" fmla="*/ 1117313 w 1223178"/>
                <a:gd name="connsiteY9" fmla="*/ 1017860 h 1868003"/>
                <a:gd name="connsiteX10" fmla="*/ 958692 w 1223178"/>
                <a:gd name="connsiteY10" fmla="*/ 1456399 h 1868003"/>
                <a:gd name="connsiteX11" fmla="*/ 762750 w 1223178"/>
                <a:gd name="connsiteY11" fmla="*/ 1689664 h 1868003"/>
                <a:gd name="connsiteX12" fmla="*/ 641452 w 1223178"/>
                <a:gd name="connsiteY12" fmla="*/ 1717656 h 1868003"/>
                <a:gd name="connsiteX13" fmla="*/ 632121 w 1223178"/>
                <a:gd name="connsiteY13" fmla="*/ 1549705 h 1868003"/>
                <a:gd name="connsiteX14" fmla="*/ 734758 w 1223178"/>
                <a:gd name="connsiteY14" fmla="*/ 1316439 h 1868003"/>
                <a:gd name="connsiteX15" fmla="*/ 706766 w 1223178"/>
                <a:gd name="connsiteY15" fmla="*/ 1101835 h 1868003"/>
                <a:gd name="connsiteX16" fmla="*/ 594799 w 1223178"/>
                <a:gd name="connsiteY16" fmla="*/ 691288 h 1868003"/>
                <a:gd name="connsiteX17" fmla="*/ 445509 w 1223178"/>
                <a:gd name="connsiteY17" fmla="*/ 1064513 h 1868003"/>
                <a:gd name="connsiteX18" fmla="*/ 436178 w 1223178"/>
                <a:gd name="connsiteY18" fmla="*/ 1400415 h 1868003"/>
                <a:gd name="connsiteX19" fmla="*/ 529484 w 1223178"/>
                <a:gd name="connsiteY19" fmla="*/ 1577697 h 1868003"/>
                <a:gd name="connsiteX20" fmla="*/ 548145 w 1223178"/>
                <a:gd name="connsiteY20" fmla="*/ 1708325 h 1868003"/>
                <a:gd name="connsiteX21" fmla="*/ 249566 w 1223178"/>
                <a:gd name="connsiteY21" fmla="*/ 1512382 h 1868003"/>
                <a:gd name="connsiteX22" fmla="*/ 90945 w 1223178"/>
                <a:gd name="connsiteY22" fmla="*/ 635305 h 1868003"/>
                <a:gd name="connsiteX23" fmla="*/ 118937 w 1223178"/>
                <a:gd name="connsiteY23" fmla="*/ 823 h 1868003"/>
                <a:gd name="connsiteX0" fmla="*/ 118937 w 1223178"/>
                <a:gd name="connsiteY0" fmla="*/ 1 h 1867181"/>
                <a:gd name="connsiteX1" fmla="*/ 6970 w 1223178"/>
                <a:gd name="connsiteY1" fmla="*/ 709128 h 1867181"/>
                <a:gd name="connsiteX2" fmla="*/ 72284 w 1223178"/>
                <a:gd name="connsiteY2" fmla="*/ 1399593 h 1867181"/>
                <a:gd name="connsiteX3" fmla="*/ 557476 w 1223178"/>
                <a:gd name="connsiteY3" fmla="*/ 1838132 h 1867181"/>
                <a:gd name="connsiteX4" fmla="*/ 818733 w 1223178"/>
                <a:gd name="connsiteY4" fmla="*/ 1772817 h 1867181"/>
                <a:gd name="connsiteX5" fmla="*/ 1154635 w 1223178"/>
                <a:gd name="connsiteY5" fmla="*/ 1343609 h 1867181"/>
                <a:gd name="connsiteX6" fmla="*/ 1219950 w 1223178"/>
                <a:gd name="connsiteY6" fmla="*/ 811764 h 1867181"/>
                <a:gd name="connsiteX7" fmla="*/ 1098652 w 1223178"/>
                <a:gd name="connsiteY7" fmla="*/ 27993 h 1867181"/>
                <a:gd name="connsiteX8" fmla="*/ 1117313 w 1223178"/>
                <a:gd name="connsiteY8" fmla="*/ 522515 h 1867181"/>
                <a:gd name="connsiteX9" fmla="*/ 1117313 w 1223178"/>
                <a:gd name="connsiteY9" fmla="*/ 1017038 h 1867181"/>
                <a:gd name="connsiteX10" fmla="*/ 958692 w 1223178"/>
                <a:gd name="connsiteY10" fmla="*/ 1455577 h 1867181"/>
                <a:gd name="connsiteX11" fmla="*/ 762750 w 1223178"/>
                <a:gd name="connsiteY11" fmla="*/ 1688842 h 1867181"/>
                <a:gd name="connsiteX12" fmla="*/ 641452 w 1223178"/>
                <a:gd name="connsiteY12" fmla="*/ 1716834 h 1867181"/>
                <a:gd name="connsiteX13" fmla="*/ 632121 w 1223178"/>
                <a:gd name="connsiteY13" fmla="*/ 1548883 h 1867181"/>
                <a:gd name="connsiteX14" fmla="*/ 734758 w 1223178"/>
                <a:gd name="connsiteY14" fmla="*/ 1315617 h 1867181"/>
                <a:gd name="connsiteX15" fmla="*/ 706766 w 1223178"/>
                <a:gd name="connsiteY15" fmla="*/ 1101013 h 1867181"/>
                <a:gd name="connsiteX16" fmla="*/ 594799 w 1223178"/>
                <a:gd name="connsiteY16" fmla="*/ 690466 h 1867181"/>
                <a:gd name="connsiteX17" fmla="*/ 445509 w 1223178"/>
                <a:gd name="connsiteY17" fmla="*/ 1063691 h 1867181"/>
                <a:gd name="connsiteX18" fmla="*/ 436178 w 1223178"/>
                <a:gd name="connsiteY18" fmla="*/ 1399593 h 1867181"/>
                <a:gd name="connsiteX19" fmla="*/ 529484 w 1223178"/>
                <a:gd name="connsiteY19" fmla="*/ 1576875 h 1867181"/>
                <a:gd name="connsiteX20" fmla="*/ 548145 w 1223178"/>
                <a:gd name="connsiteY20" fmla="*/ 1707503 h 1867181"/>
                <a:gd name="connsiteX21" fmla="*/ 249566 w 1223178"/>
                <a:gd name="connsiteY21" fmla="*/ 1511560 h 1867181"/>
                <a:gd name="connsiteX22" fmla="*/ 118937 w 1223178"/>
                <a:gd name="connsiteY22" fmla="*/ 1 h 1867181"/>
                <a:gd name="connsiteX0" fmla="*/ 259218 w 1232830"/>
                <a:gd name="connsiteY0" fmla="*/ 1487782 h 1843403"/>
                <a:gd name="connsiteX1" fmla="*/ 16622 w 1232830"/>
                <a:gd name="connsiteY1" fmla="*/ 685350 h 1843403"/>
                <a:gd name="connsiteX2" fmla="*/ 81936 w 1232830"/>
                <a:gd name="connsiteY2" fmla="*/ 1375815 h 1843403"/>
                <a:gd name="connsiteX3" fmla="*/ 567128 w 1232830"/>
                <a:gd name="connsiteY3" fmla="*/ 1814354 h 1843403"/>
                <a:gd name="connsiteX4" fmla="*/ 828385 w 1232830"/>
                <a:gd name="connsiteY4" fmla="*/ 1749039 h 1843403"/>
                <a:gd name="connsiteX5" fmla="*/ 1164287 w 1232830"/>
                <a:gd name="connsiteY5" fmla="*/ 1319831 h 1843403"/>
                <a:gd name="connsiteX6" fmla="*/ 1229602 w 1232830"/>
                <a:gd name="connsiteY6" fmla="*/ 787986 h 1843403"/>
                <a:gd name="connsiteX7" fmla="*/ 1108304 w 1232830"/>
                <a:gd name="connsiteY7" fmla="*/ 4215 h 1843403"/>
                <a:gd name="connsiteX8" fmla="*/ 1126965 w 1232830"/>
                <a:gd name="connsiteY8" fmla="*/ 498737 h 1843403"/>
                <a:gd name="connsiteX9" fmla="*/ 1126965 w 1232830"/>
                <a:gd name="connsiteY9" fmla="*/ 993260 h 1843403"/>
                <a:gd name="connsiteX10" fmla="*/ 968344 w 1232830"/>
                <a:gd name="connsiteY10" fmla="*/ 1431799 h 1843403"/>
                <a:gd name="connsiteX11" fmla="*/ 772402 w 1232830"/>
                <a:gd name="connsiteY11" fmla="*/ 1665064 h 1843403"/>
                <a:gd name="connsiteX12" fmla="*/ 651104 w 1232830"/>
                <a:gd name="connsiteY12" fmla="*/ 1693056 h 1843403"/>
                <a:gd name="connsiteX13" fmla="*/ 641773 w 1232830"/>
                <a:gd name="connsiteY13" fmla="*/ 1525105 h 1843403"/>
                <a:gd name="connsiteX14" fmla="*/ 744410 w 1232830"/>
                <a:gd name="connsiteY14" fmla="*/ 1291839 h 1843403"/>
                <a:gd name="connsiteX15" fmla="*/ 716418 w 1232830"/>
                <a:gd name="connsiteY15" fmla="*/ 1077235 h 1843403"/>
                <a:gd name="connsiteX16" fmla="*/ 604451 w 1232830"/>
                <a:gd name="connsiteY16" fmla="*/ 666688 h 1843403"/>
                <a:gd name="connsiteX17" fmla="*/ 455161 w 1232830"/>
                <a:gd name="connsiteY17" fmla="*/ 1039913 h 1843403"/>
                <a:gd name="connsiteX18" fmla="*/ 445830 w 1232830"/>
                <a:gd name="connsiteY18" fmla="*/ 1375815 h 1843403"/>
                <a:gd name="connsiteX19" fmla="*/ 539136 w 1232830"/>
                <a:gd name="connsiteY19" fmla="*/ 1553097 h 1843403"/>
                <a:gd name="connsiteX20" fmla="*/ 557797 w 1232830"/>
                <a:gd name="connsiteY20" fmla="*/ 1683725 h 1843403"/>
                <a:gd name="connsiteX21" fmla="*/ 259218 w 1232830"/>
                <a:gd name="connsiteY21" fmla="*/ 1487782 h 1843403"/>
                <a:gd name="connsiteX0" fmla="*/ 187783 w 1161395"/>
                <a:gd name="connsiteY0" fmla="*/ 1487782 h 1843403"/>
                <a:gd name="connsiteX1" fmla="*/ 10501 w 1161395"/>
                <a:gd name="connsiteY1" fmla="*/ 1375815 h 1843403"/>
                <a:gd name="connsiteX2" fmla="*/ 495693 w 1161395"/>
                <a:gd name="connsiteY2" fmla="*/ 1814354 h 1843403"/>
                <a:gd name="connsiteX3" fmla="*/ 756950 w 1161395"/>
                <a:gd name="connsiteY3" fmla="*/ 1749039 h 1843403"/>
                <a:gd name="connsiteX4" fmla="*/ 1092852 w 1161395"/>
                <a:gd name="connsiteY4" fmla="*/ 1319831 h 1843403"/>
                <a:gd name="connsiteX5" fmla="*/ 1158167 w 1161395"/>
                <a:gd name="connsiteY5" fmla="*/ 787986 h 1843403"/>
                <a:gd name="connsiteX6" fmla="*/ 1036869 w 1161395"/>
                <a:gd name="connsiteY6" fmla="*/ 4215 h 1843403"/>
                <a:gd name="connsiteX7" fmla="*/ 1055530 w 1161395"/>
                <a:gd name="connsiteY7" fmla="*/ 498737 h 1843403"/>
                <a:gd name="connsiteX8" fmla="*/ 1055530 w 1161395"/>
                <a:gd name="connsiteY8" fmla="*/ 993260 h 1843403"/>
                <a:gd name="connsiteX9" fmla="*/ 896909 w 1161395"/>
                <a:gd name="connsiteY9" fmla="*/ 1431799 h 1843403"/>
                <a:gd name="connsiteX10" fmla="*/ 700967 w 1161395"/>
                <a:gd name="connsiteY10" fmla="*/ 1665064 h 1843403"/>
                <a:gd name="connsiteX11" fmla="*/ 579669 w 1161395"/>
                <a:gd name="connsiteY11" fmla="*/ 1693056 h 1843403"/>
                <a:gd name="connsiteX12" fmla="*/ 570338 w 1161395"/>
                <a:gd name="connsiteY12" fmla="*/ 1525105 h 1843403"/>
                <a:gd name="connsiteX13" fmla="*/ 672975 w 1161395"/>
                <a:gd name="connsiteY13" fmla="*/ 1291839 h 1843403"/>
                <a:gd name="connsiteX14" fmla="*/ 644983 w 1161395"/>
                <a:gd name="connsiteY14" fmla="*/ 1077235 h 1843403"/>
                <a:gd name="connsiteX15" fmla="*/ 533016 w 1161395"/>
                <a:gd name="connsiteY15" fmla="*/ 666688 h 1843403"/>
                <a:gd name="connsiteX16" fmla="*/ 383726 w 1161395"/>
                <a:gd name="connsiteY16" fmla="*/ 1039913 h 1843403"/>
                <a:gd name="connsiteX17" fmla="*/ 374395 w 1161395"/>
                <a:gd name="connsiteY17" fmla="*/ 1375815 h 1843403"/>
                <a:gd name="connsiteX18" fmla="*/ 467701 w 1161395"/>
                <a:gd name="connsiteY18" fmla="*/ 1553097 h 1843403"/>
                <a:gd name="connsiteX19" fmla="*/ 486362 w 1161395"/>
                <a:gd name="connsiteY19" fmla="*/ 1683725 h 1843403"/>
                <a:gd name="connsiteX20" fmla="*/ 187783 w 1161395"/>
                <a:gd name="connsiteY20" fmla="*/ 1487782 h 1843403"/>
                <a:gd name="connsiteX0" fmla="*/ 187783 w 1160184"/>
                <a:gd name="connsiteY0" fmla="*/ 993157 h 1348778"/>
                <a:gd name="connsiteX1" fmla="*/ 10501 w 1160184"/>
                <a:gd name="connsiteY1" fmla="*/ 881190 h 1348778"/>
                <a:gd name="connsiteX2" fmla="*/ 495693 w 1160184"/>
                <a:gd name="connsiteY2" fmla="*/ 1319729 h 1348778"/>
                <a:gd name="connsiteX3" fmla="*/ 756950 w 1160184"/>
                <a:gd name="connsiteY3" fmla="*/ 1254414 h 1348778"/>
                <a:gd name="connsiteX4" fmla="*/ 1092852 w 1160184"/>
                <a:gd name="connsiteY4" fmla="*/ 825206 h 1348778"/>
                <a:gd name="connsiteX5" fmla="*/ 1158167 w 1160184"/>
                <a:gd name="connsiteY5" fmla="*/ 293361 h 1348778"/>
                <a:gd name="connsiteX6" fmla="*/ 1055530 w 1160184"/>
                <a:gd name="connsiteY6" fmla="*/ 4112 h 1348778"/>
                <a:gd name="connsiteX7" fmla="*/ 1055530 w 1160184"/>
                <a:gd name="connsiteY7" fmla="*/ 498635 h 1348778"/>
                <a:gd name="connsiteX8" fmla="*/ 896909 w 1160184"/>
                <a:gd name="connsiteY8" fmla="*/ 937174 h 1348778"/>
                <a:gd name="connsiteX9" fmla="*/ 700967 w 1160184"/>
                <a:gd name="connsiteY9" fmla="*/ 1170439 h 1348778"/>
                <a:gd name="connsiteX10" fmla="*/ 579669 w 1160184"/>
                <a:gd name="connsiteY10" fmla="*/ 1198431 h 1348778"/>
                <a:gd name="connsiteX11" fmla="*/ 570338 w 1160184"/>
                <a:gd name="connsiteY11" fmla="*/ 1030480 h 1348778"/>
                <a:gd name="connsiteX12" fmla="*/ 672975 w 1160184"/>
                <a:gd name="connsiteY12" fmla="*/ 797214 h 1348778"/>
                <a:gd name="connsiteX13" fmla="*/ 644983 w 1160184"/>
                <a:gd name="connsiteY13" fmla="*/ 582610 h 1348778"/>
                <a:gd name="connsiteX14" fmla="*/ 533016 w 1160184"/>
                <a:gd name="connsiteY14" fmla="*/ 172063 h 1348778"/>
                <a:gd name="connsiteX15" fmla="*/ 383726 w 1160184"/>
                <a:gd name="connsiteY15" fmla="*/ 545288 h 1348778"/>
                <a:gd name="connsiteX16" fmla="*/ 374395 w 1160184"/>
                <a:gd name="connsiteY16" fmla="*/ 881190 h 1348778"/>
                <a:gd name="connsiteX17" fmla="*/ 467701 w 1160184"/>
                <a:gd name="connsiteY17" fmla="*/ 1058472 h 1348778"/>
                <a:gd name="connsiteX18" fmla="*/ 486362 w 1160184"/>
                <a:gd name="connsiteY18" fmla="*/ 1189100 h 1348778"/>
                <a:gd name="connsiteX19" fmla="*/ 187783 w 1160184"/>
                <a:gd name="connsiteY19" fmla="*/ 993157 h 1348778"/>
                <a:gd name="connsiteX0" fmla="*/ 187783 w 1160184"/>
                <a:gd name="connsiteY0" fmla="*/ 821205 h 1176826"/>
                <a:gd name="connsiteX1" fmla="*/ 10501 w 1160184"/>
                <a:gd name="connsiteY1" fmla="*/ 709238 h 1176826"/>
                <a:gd name="connsiteX2" fmla="*/ 495693 w 1160184"/>
                <a:gd name="connsiteY2" fmla="*/ 1147777 h 1176826"/>
                <a:gd name="connsiteX3" fmla="*/ 756950 w 1160184"/>
                <a:gd name="connsiteY3" fmla="*/ 1082462 h 1176826"/>
                <a:gd name="connsiteX4" fmla="*/ 1092852 w 1160184"/>
                <a:gd name="connsiteY4" fmla="*/ 653254 h 1176826"/>
                <a:gd name="connsiteX5" fmla="*/ 1158167 w 1160184"/>
                <a:gd name="connsiteY5" fmla="*/ 121409 h 1176826"/>
                <a:gd name="connsiteX6" fmla="*/ 1055530 w 1160184"/>
                <a:gd name="connsiteY6" fmla="*/ 326683 h 1176826"/>
                <a:gd name="connsiteX7" fmla="*/ 896909 w 1160184"/>
                <a:gd name="connsiteY7" fmla="*/ 765222 h 1176826"/>
                <a:gd name="connsiteX8" fmla="*/ 700967 w 1160184"/>
                <a:gd name="connsiteY8" fmla="*/ 998487 h 1176826"/>
                <a:gd name="connsiteX9" fmla="*/ 579669 w 1160184"/>
                <a:gd name="connsiteY9" fmla="*/ 1026479 h 1176826"/>
                <a:gd name="connsiteX10" fmla="*/ 570338 w 1160184"/>
                <a:gd name="connsiteY10" fmla="*/ 858528 h 1176826"/>
                <a:gd name="connsiteX11" fmla="*/ 672975 w 1160184"/>
                <a:gd name="connsiteY11" fmla="*/ 625262 h 1176826"/>
                <a:gd name="connsiteX12" fmla="*/ 644983 w 1160184"/>
                <a:gd name="connsiteY12" fmla="*/ 410658 h 1176826"/>
                <a:gd name="connsiteX13" fmla="*/ 533016 w 1160184"/>
                <a:gd name="connsiteY13" fmla="*/ 111 h 1176826"/>
                <a:gd name="connsiteX14" fmla="*/ 383726 w 1160184"/>
                <a:gd name="connsiteY14" fmla="*/ 373336 h 1176826"/>
                <a:gd name="connsiteX15" fmla="*/ 374395 w 1160184"/>
                <a:gd name="connsiteY15" fmla="*/ 709238 h 1176826"/>
                <a:gd name="connsiteX16" fmla="*/ 467701 w 1160184"/>
                <a:gd name="connsiteY16" fmla="*/ 886520 h 1176826"/>
                <a:gd name="connsiteX17" fmla="*/ 486362 w 1160184"/>
                <a:gd name="connsiteY17" fmla="*/ 1017148 h 1176826"/>
                <a:gd name="connsiteX18" fmla="*/ 187783 w 1160184"/>
                <a:gd name="connsiteY18" fmla="*/ 821205 h 1176826"/>
                <a:gd name="connsiteX0" fmla="*/ 187783 w 1112929"/>
                <a:gd name="connsiteY0" fmla="*/ 821205 h 1176826"/>
                <a:gd name="connsiteX1" fmla="*/ 10501 w 1112929"/>
                <a:gd name="connsiteY1" fmla="*/ 709238 h 1176826"/>
                <a:gd name="connsiteX2" fmla="*/ 495693 w 1112929"/>
                <a:gd name="connsiteY2" fmla="*/ 1147777 h 1176826"/>
                <a:gd name="connsiteX3" fmla="*/ 756950 w 1112929"/>
                <a:gd name="connsiteY3" fmla="*/ 1082462 h 1176826"/>
                <a:gd name="connsiteX4" fmla="*/ 1092852 w 1112929"/>
                <a:gd name="connsiteY4" fmla="*/ 653254 h 1176826"/>
                <a:gd name="connsiteX5" fmla="*/ 1055530 w 1112929"/>
                <a:gd name="connsiteY5" fmla="*/ 326683 h 1176826"/>
                <a:gd name="connsiteX6" fmla="*/ 896909 w 1112929"/>
                <a:gd name="connsiteY6" fmla="*/ 765222 h 1176826"/>
                <a:gd name="connsiteX7" fmla="*/ 700967 w 1112929"/>
                <a:gd name="connsiteY7" fmla="*/ 998487 h 1176826"/>
                <a:gd name="connsiteX8" fmla="*/ 579669 w 1112929"/>
                <a:gd name="connsiteY8" fmla="*/ 1026479 h 1176826"/>
                <a:gd name="connsiteX9" fmla="*/ 570338 w 1112929"/>
                <a:gd name="connsiteY9" fmla="*/ 858528 h 1176826"/>
                <a:gd name="connsiteX10" fmla="*/ 672975 w 1112929"/>
                <a:gd name="connsiteY10" fmla="*/ 625262 h 1176826"/>
                <a:gd name="connsiteX11" fmla="*/ 644983 w 1112929"/>
                <a:gd name="connsiteY11" fmla="*/ 410658 h 1176826"/>
                <a:gd name="connsiteX12" fmla="*/ 533016 w 1112929"/>
                <a:gd name="connsiteY12" fmla="*/ 111 h 1176826"/>
                <a:gd name="connsiteX13" fmla="*/ 383726 w 1112929"/>
                <a:gd name="connsiteY13" fmla="*/ 373336 h 1176826"/>
                <a:gd name="connsiteX14" fmla="*/ 374395 w 1112929"/>
                <a:gd name="connsiteY14" fmla="*/ 709238 h 1176826"/>
                <a:gd name="connsiteX15" fmla="*/ 467701 w 1112929"/>
                <a:gd name="connsiteY15" fmla="*/ 886520 h 1176826"/>
                <a:gd name="connsiteX16" fmla="*/ 486362 w 1112929"/>
                <a:gd name="connsiteY16" fmla="*/ 1017148 h 1176826"/>
                <a:gd name="connsiteX17" fmla="*/ 187783 w 1112929"/>
                <a:gd name="connsiteY17" fmla="*/ 821205 h 1176826"/>
                <a:gd name="connsiteX0" fmla="*/ 187783 w 1095236"/>
                <a:gd name="connsiteY0" fmla="*/ 821205 h 1176826"/>
                <a:gd name="connsiteX1" fmla="*/ 10501 w 1095236"/>
                <a:gd name="connsiteY1" fmla="*/ 709238 h 1176826"/>
                <a:gd name="connsiteX2" fmla="*/ 495693 w 1095236"/>
                <a:gd name="connsiteY2" fmla="*/ 1147777 h 1176826"/>
                <a:gd name="connsiteX3" fmla="*/ 756950 w 1095236"/>
                <a:gd name="connsiteY3" fmla="*/ 1082462 h 1176826"/>
                <a:gd name="connsiteX4" fmla="*/ 1092852 w 1095236"/>
                <a:gd name="connsiteY4" fmla="*/ 653254 h 1176826"/>
                <a:gd name="connsiteX5" fmla="*/ 896909 w 1095236"/>
                <a:gd name="connsiteY5" fmla="*/ 765222 h 1176826"/>
                <a:gd name="connsiteX6" fmla="*/ 700967 w 1095236"/>
                <a:gd name="connsiteY6" fmla="*/ 998487 h 1176826"/>
                <a:gd name="connsiteX7" fmla="*/ 579669 w 1095236"/>
                <a:gd name="connsiteY7" fmla="*/ 1026479 h 1176826"/>
                <a:gd name="connsiteX8" fmla="*/ 570338 w 1095236"/>
                <a:gd name="connsiteY8" fmla="*/ 858528 h 1176826"/>
                <a:gd name="connsiteX9" fmla="*/ 672975 w 1095236"/>
                <a:gd name="connsiteY9" fmla="*/ 625262 h 1176826"/>
                <a:gd name="connsiteX10" fmla="*/ 644983 w 1095236"/>
                <a:gd name="connsiteY10" fmla="*/ 410658 h 1176826"/>
                <a:gd name="connsiteX11" fmla="*/ 533016 w 1095236"/>
                <a:gd name="connsiteY11" fmla="*/ 111 h 1176826"/>
                <a:gd name="connsiteX12" fmla="*/ 383726 w 1095236"/>
                <a:gd name="connsiteY12" fmla="*/ 373336 h 1176826"/>
                <a:gd name="connsiteX13" fmla="*/ 374395 w 1095236"/>
                <a:gd name="connsiteY13" fmla="*/ 709238 h 1176826"/>
                <a:gd name="connsiteX14" fmla="*/ 467701 w 1095236"/>
                <a:gd name="connsiteY14" fmla="*/ 886520 h 1176826"/>
                <a:gd name="connsiteX15" fmla="*/ 486362 w 1095236"/>
                <a:gd name="connsiteY15" fmla="*/ 1017148 h 1176826"/>
                <a:gd name="connsiteX16" fmla="*/ 187783 w 1095236"/>
                <a:gd name="connsiteY16" fmla="*/ 821205 h 1176826"/>
                <a:gd name="connsiteX0" fmla="*/ 187783 w 897635"/>
                <a:gd name="connsiteY0" fmla="*/ 821205 h 1173185"/>
                <a:gd name="connsiteX1" fmla="*/ 10501 w 897635"/>
                <a:gd name="connsiteY1" fmla="*/ 709238 h 1173185"/>
                <a:gd name="connsiteX2" fmla="*/ 495693 w 897635"/>
                <a:gd name="connsiteY2" fmla="*/ 1147777 h 1173185"/>
                <a:gd name="connsiteX3" fmla="*/ 756950 w 897635"/>
                <a:gd name="connsiteY3" fmla="*/ 1082462 h 1173185"/>
                <a:gd name="connsiteX4" fmla="*/ 896909 w 897635"/>
                <a:gd name="connsiteY4" fmla="*/ 765222 h 1173185"/>
                <a:gd name="connsiteX5" fmla="*/ 700967 w 897635"/>
                <a:gd name="connsiteY5" fmla="*/ 998487 h 1173185"/>
                <a:gd name="connsiteX6" fmla="*/ 579669 w 897635"/>
                <a:gd name="connsiteY6" fmla="*/ 1026479 h 1173185"/>
                <a:gd name="connsiteX7" fmla="*/ 570338 w 897635"/>
                <a:gd name="connsiteY7" fmla="*/ 858528 h 1173185"/>
                <a:gd name="connsiteX8" fmla="*/ 672975 w 897635"/>
                <a:gd name="connsiteY8" fmla="*/ 625262 h 1173185"/>
                <a:gd name="connsiteX9" fmla="*/ 644983 w 897635"/>
                <a:gd name="connsiteY9" fmla="*/ 410658 h 1173185"/>
                <a:gd name="connsiteX10" fmla="*/ 533016 w 897635"/>
                <a:gd name="connsiteY10" fmla="*/ 111 h 1173185"/>
                <a:gd name="connsiteX11" fmla="*/ 383726 w 897635"/>
                <a:gd name="connsiteY11" fmla="*/ 373336 h 1173185"/>
                <a:gd name="connsiteX12" fmla="*/ 374395 w 897635"/>
                <a:gd name="connsiteY12" fmla="*/ 709238 h 1173185"/>
                <a:gd name="connsiteX13" fmla="*/ 467701 w 897635"/>
                <a:gd name="connsiteY13" fmla="*/ 886520 h 1173185"/>
                <a:gd name="connsiteX14" fmla="*/ 486362 w 897635"/>
                <a:gd name="connsiteY14" fmla="*/ 1017148 h 1173185"/>
                <a:gd name="connsiteX15" fmla="*/ 187783 w 897635"/>
                <a:gd name="connsiteY15" fmla="*/ 821205 h 1173185"/>
                <a:gd name="connsiteX0" fmla="*/ 187783 w 767120"/>
                <a:gd name="connsiteY0" fmla="*/ 821205 h 1167492"/>
                <a:gd name="connsiteX1" fmla="*/ 10501 w 767120"/>
                <a:gd name="connsiteY1" fmla="*/ 709238 h 1167492"/>
                <a:gd name="connsiteX2" fmla="*/ 495693 w 767120"/>
                <a:gd name="connsiteY2" fmla="*/ 1147777 h 1167492"/>
                <a:gd name="connsiteX3" fmla="*/ 756950 w 767120"/>
                <a:gd name="connsiteY3" fmla="*/ 1082462 h 1167492"/>
                <a:gd name="connsiteX4" fmla="*/ 700967 w 767120"/>
                <a:gd name="connsiteY4" fmla="*/ 998487 h 1167492"/>
                <a:gd name="connsiteX5" fmla="*/ 579669 w 767120"/>
                <a:gd name="connsiteY5" fmla="*/ 1026479 h 1167492"/>
                <a:gd name="connsiteX6" fmla="*/ 570338 w 767120"/>
                <a:gd name="connsiteY6" fmla="*/ 858528 h 1167492"/>
                <a:gd name="connsiteX7" fmla="*/ 672975 w 767120"/>
                <a:gd name="connsiteY7" fmla="*/ 625262 h 1167492"/>
                <a:gd name="connsiteX8" fmla="*/ 644983 w 767120"/>
                <a:gd name="connsiteY8" fmla="*/ 410658 h 1167492"/>
                <a:gd name="connsiteX9" fmla="*/ 533016 w 767120"/>
                <a:gd name="connsiteY9" fmla="*/ 111 h 1167492"/>
                <a:gd name="connsiteX10" fmla="*/ 383726 w 767120"/>
                <a:gd name="connsiteY10" fmla="*/ 373336 h 1167492"/>
                <a:gd name="connsiteX11" fmla="*/ 374395 w 767120"/>
                <a:gd name="connsiteY11" fmla="*/ 709238 h 1167492"/>
                <a:gd name="connsiteX12" fmla="*/ 467701 w 767120"/>
                <a:gd name="connsiteY12" fmla="*/ 886520 h 1167492"/>
                <a:gd name="connsiteX13" fmla="*/ 486362 w 767120"/>
                <a:gd name="connsiteY13" fmla="*/ 1017148 h 1167492"/>
                <a:gd name="connsiteX14" fmla="*/ 187783 w 767120"/>
                <a:gd name="connsiteY14" fmla="*/ 821205 h 1167492"/>
                <a:gd name="connsiteX0" fmla="*/ 475867 w 756625"/>
                <a:gd name="connsiteY0" fmla="*/ 1017148 h 1167492"/>
                <a:gd name="connsiteX1" fmla="*/ 6 w 756625"/>
                <a:gd name="connsiteY1" fmla="*/ 709238 h 1167492"/>
                <a:gd name="connsiteX2" fmla="*/ 485198 w 756625"/>
                <a:gd name="connsiteY2" fmla="*/ 1147777 h 1167492"/>
                <a:gd name="connsiteX3" fmla="*/ 746455 w 756625"/>
                <a:gd name="connsiteY3" fmla="*/ 1082462 h 1167492"/>
                <a:gd name="connsiteX4" fmla="*/ 690472 w 756625"/>
                <a:gd name="connsiteY4" fmla="*/ 998487 h 1167492"/>
                <a:gd name="connsiteX5" fmla="*/ 569174 w 756625"/>
                <a:gd name="connsiteY5" fmla="*/ 1026479 h 1167492"/>
                <a:gd name="connsiteX6" fmla="*/ 559843 w 756625"/>
                <a:gd name="connsiteY6" fmla="*/ 858528 h 1167492"/>
                <a:gd name="connsiteX7" fmla="*/ 662480 w 756625"/>
                <a:gd name="connsiteY7" fmla="*/ 625262 h 1167492"/>
                <a:gd name="connsiteX8" fmla="*/ 634488 w 756625"/>
                <a:gd name="connsiteY8" fmla="*/ 410658 h 1167492"/>
                <a:gd name="connsiteX9" fmla="*/ 522521 w 756625"/>
                <a:gd name="connsiteY9" fmla="*/ 111 h 1167492"/>
                <a:gd name="connsiteX10" fmla="*/ 373231 w 756625"/>
                <a:gd name="connsiteY10" fmla="*/ 373336 h 1167492"/>
                <a:gd name="connsiteX11" fmla="*/ 363900 w 756625"/>
                <a:gd name="connsiteY11" fmla="*/ 709238 h 1167492"/>
                <a:gd name="connsiteX12" fmla="*/ 457206 w 756625"/>
                <a:gd name="connsiteY12" fmla="*/ 886520 h 1167492"/>
                <a:gd name="connsiteX13" fmla="*/ 475867 w 756625"/>
                <a:gd name="connsiteY13" fmla="*/ 1017148 h 1167492"/>
                <a:gd name="connsiteX0" fmla="*/ 122556 w 403314"/>
                <a:gd name="connsiteY0" fmla="*/ 1017148 h 1149270"/>
                <a:gd name="connsiteX1" fmla="*/ 131887 w 403314"/>
                <a:gd name="connsiteY1" fmla="*/ 1147777 h 1149270"/>
                <a:gd name="connsiteX2" fmla="*/ 393144 w 403314"/>
                <a:gd name="connsiteY2" fmla="*/ 1082462 h 1149270"/>
                <a:gd name="connsiteX3" fmla="*/ 337161 w 403314"/>
                <a:gd name="connsiteY3" fmla="*/ 998487 h 1149270"/>
                <a:gd name="connsiteX4" fmla="*/ 215863 w 403314"/>
                <a:gd name="connsiteY4" fmla="*/ 1026479 h 1149270"/>
                <a:gd name="connsiteX5" fmla="*/ 206532 w 403314"/>
                <a:gd name="connsiteY5" fmla="*/ 858528 h 1149270"/>
                <a:gd name="connsiteX6" fmla="*/ 309169 w 403314"/>
                <a:gd name="connsiteY6" fmla="*/ 625262 h 1149270"/>
                <a:gd name="connsiteX7" fmla="*/ 281177 w 403314"/>
                <a:gd name="connsiteY7" fmla="*/ 410658 h 1149270"/>
                <a:gd name="connsiteX8" fmla="*/ 169210 w 403314"/>
                <a:gd name="connsiteY8" fmla="*/ 111 h 1149270"/>
                <a:gd name="connsiteX9" fmla="*/ 19920 w 403314"/>
                <a:gd name="connsiteY9" fmla="*/ 373336 h 1149270"/>
                <a:gd name="connsiteX10" fmla="*/ 10589 w 403314"/>
                <a:gd name="connsiteY10" fmla="*/ 709238 h 1149270"/>
                <a:gd name="connsiteX11" fmla="*/ 103895 w 403314"/>
                <a:gd name="connsiteY11" fmla="*/ 886520 h 1149270"/>
                <a:gd name="connsiteX12" fmla="*/ 122556 w 403314"/>
                <a:gd name="connsiteY12" fmla="*/ 1017148 h 1149270"/>
                <a:gd name="connsiteX0" fmla="*/ 122556 w 394007"/>
                <a:gd name="connsiteY0" fmla="*/ 1017148 h 1149166"/>
                <a:gd name="connsiteX1" fmla="*/ 131887 w 394007"/>
                <a:gd name="connsiteY1" fmla="*/ 1147777 h 1149166"/>
                <a:gd name="connsiteX2" fmla="*/ 393144 w 394007"/>
                <a:gd name="connsiteY2" fmla="*/ 1082462 h 1149166"/>
                <a:gd name="connsiteX3" fmla="*/ 215863 w 394007"/>
                <a:gd name="connsiteY3" fmla="*/ 1026479 h 1149166"/>
                <a:gd name="connsiteX4" fmla="*/ 206532 w 394007"/>
                <a:gd name="connsiteY4" fmla="*/ 858528 h 1149166"/>
                <a:gd name="connsiteX5" fmla="*/ 309169 w 394007"/>
                <a:gd name="connsiteY5" fmla="*/ 625262 h 1149166"/>
                <a:gd name="connsiteX6" fmla="*/ 281177 w 394007"/>
                <a:gd name="connsiteY6" fmla="*/ 410658 h 1149166"/>
                <a:gd name="connsiteX7" fmla="*/ 169210 w 394007"/>
                <a:gd name="connsiteY7" fmla="*/ 111 h 1149166"/>
                <a:gd name="connsiteX8" fmla="*/ 19920 w 394007"/>
                <a:gd name="connsiteY8" fmla="*/ 373336 h 1149166"/>
                <a:gd name="connsiteX9" fmla="*/ 10589 w 394007"/>
                <a:gd name="connsiteY9" fmla="*/ 709238 h 1149166"/>
                <a:gd name="connsiteX10" fmla="*/ 103895 w 394007"/>
                <a:gd name="connsiteY10" fmla="*/ 886520 h 1149166"/>
                <a:gd name="connsiteX11" fmla="*/ 122556 w 394007"/>
                <a:gd name="connsiteY11" fmla="*/ 1017148 h 1149166"/>
                <a:gd name="connsiteX0" fmla="*/ 122556 w 313346"/>
                <a:gd name="connsiteY0" fmla="*/ 1017148 h 1147800"/>
                <a:gd name="connsiteX1" fmla="*/ 131887 w 313346"/>
                <a:gd name="connsiteY1" fmla="*/ 1147777 h 1147800"/>
                <a:gd name="connsiteX2" fmla="*/ 215863 w 313346"/>
                <a:gd name="connsiteY2" fmla="*/ 1026479 h 1147800"/>
                <a:gd name="connsiteX3" fmla="*/ 206532 w 313346"/>
                <a:gd name="connsiteY3" fmla="*/ 858528 h 1147800"/>
                <a:gd name="connsiteX4" fmla="*/ 309169 w 313346"/>
                <a:gd name="connsiteY4" fmla="*/ 625262 h 1147800"/>
                <a:gd name="connsiteX5" fmla="*/ 281177 w 313346"/>
                <a:gd name="connsiteY5" fmla="*/ 410658 h 1147800"/>
                <a:gd name="connsiteX6" fmla="*/ 169210 w 313346"/>
                <a:gd name="connsiteY6" fmla="*/ 111 h 1147800"/>
                <a:gd name="connsiteX7" fmla="*/ 19920 w 313346"/>
                <a:gd name="connsiteY7" fmla="*/ 373336 h 1147800"/>
                <a:gd name="connsiteX8" fmla="*/ 10589 w 313346"/>
                <a:gd name="connsiteY8" fmla="*/ 709238 h 1147800"/>
                <a:gd name="connsiteX9" fmla="*/ 103895 w 313346"/>
                <a:gd name="connsiteY9" fmla="*/ 886520 h 1147800"/>
                <a:gd name="connsiteX10" fmla="*/ 122556 w 313346"/>
                <a:gd name="connsiteY10" fmla="*/ 1017148 h 1147800"/>
                <a:gd name="connsiteX0" fmla="*/ 122555 w 313347"/>
                <a:gd name="connsiteY0" fmla="*/ 1017146 h 1041332"/>
                <a:gd name="connsiteX1" fmla="*/ 215862 w 313347"/>
                <a:gd name="connsiteY1" fmla="*/ 1026477 h 1041332"/>
                <a:gd name="connsiteX2" fmla="*/ 206531 w 313347"/>
                <a:gd name="connsiteY2" fmla="*/ 858526 h 1041332"/>
                <a:gd name="connsiteX3" fmla="*/ 309168 w 313347"/>
                <a:gd name="connsiteY3" fmla="*/ 625260 h 1041332"/>
                <a:gd name="connsiteX4" fmla="*/ 281176 w 313347"/>
                <a:gd name="connsiteY4" fmla="*/ 410656 h 1041332"/>
                <a:gd name="connsiteX5" fmla="*/ 169209 w 313347"/>
                <a:gd name="connsiteY5" fmla="*/ 109 h 1041332"/>
                <a:gd name="connsiteX6" fmla="*/ 19919 w 313347"/>
                <a:gd name="connsiteY6" fmla="*/ 373334 h 1041332"/>
                <a:gd name="connsiteX7" fmla="*/ 10588 w 313347"/>
                <a:gd name="connsiteY7" fmla="*/ 709236 h 1041332"/>
                <a:gd name="connsiteX8" fmla="*/ 103894 w 313347"/>
                <a:gd name="connsiteY8" fmla="*/ 886518 h 1041332"/>
                <a:gd name="connsiteX9" fmla="*/ 122555 w 313347"/>
                <a:gd name="connsiteY9" fmla="*/ 1017146 h 1041332"/>
                <a:gd name="connsiteX0" fmla="*/ 122555 w 313347"/>
                <a:gd name="connsiteY0" fmla="*/ 1017146 h 1042574"/>
                <a:gd name="connsiteX1" fmla="*/ 215862 w 313347"/>
                <a:gd name="connsiteY1" fmla="*/ 1026477 h 1042574"/>
                <a:gd name="connsiteX2" fmla="*/ 206531 w 313347"/>
                <a:gd name="connsiteY2" fmla="*/ 858526 h 1042574"/>
                <a:gd name="connsiteX3" fmla="*/ 309168 w 313347"/>
                <a:gd name="connsiteY3" fmla="*/ 625260 h 1042574"/>
                <a:gd name="connsiteX4" fmla="*/ 281176 w 313347"/>
                <a:gd name="connsiteY4" fmla="*/ 410656 h 1042574"/>
                <a:gd name="connsiteX5" fmla="*/ 169209 w 313347"/>
                <a:gd name="connsiteY5" fmla="*/ 109 h 1042574"/>
                <a:gd name="connsiteX6" fmla="*/ 19919 w 313347"/>
                <a:gd name="connsiteY6" fmla="*/ 373334 h 1042574"/>
                <a:gd name="connsiteX7" fmla="*/ 10588 w 313347"/>
                <a:gd name="connsiteY7" fmla="*/ 709236 h 1042574"/>
                <a:gd name="connsiteX8" fmla="*/ 103894 w 313347"/>
                <a:gd name="connsiteY8" fmla="*/ 886518 h 1042574"/>
                <a:gd name="connsiteX9" fmla="*/ 122555 w 313347"/>
                <a:gd name="connsiteY9" fmla="*/ 1017146 h 1042574"/>
                <a:gd name="connsiteX0" fmla="*/ 91699 w 313347"/>
                <a:gd name="connsiteY0" fmla="*/ 1080058 h 1088652"/>
                <a:gd name="connsiteX1" fmla="*/ 215862 w 313347"/>
                <a:gd name="connsiteY1" fmla="*/ 1026477 h 1088652"/>
                <a:gd name="connsiteX2" fmla="*/ 206531 w 313347"/>
                <a:gd name="connsiteY2" fmla="*/ 858526 h 1088652"/>
                <a:gd name="connsiteX3" fmla="*/ 309168 w 313347"/>
                <a:gd name="connsiteY3" fmla="*/ 625260 h 1088652"/>
                <a:gd name="connsiteX4" fmla="*/ 281176 w 313347"/>
                <a:gd name="connsiteY4" fmla="*/ 410656 h 1088652"/>
                <a:gd name="connsiteX5" fmla="*/ 169209 w 313347"/>
                <a:gd name="connsiteY5" fmla="*/ 109 h 1088652"/>
                <a:gd name="connsiteX6" fmla="*/ 19919 w 313347"/>
                <a:gd name="connsiteY6" fmla="*/ 373334 h 1088652"/>
                <a:gd name="connsiteX7" fmla="*/ 10588 w 313347"/>
                <a:gd name="connsiteY7" fmla="*/ 709236 h 1088652"/>
                <a:gd name="connsiteX8" fmla="*/ 103894 w 313347"/>
                <a:gd name="connsiteY8" fmla="*/ 886518 h 1088652"/>
                <a:gd name="connsiteX9" fmla="*/ 91699 w 313347"/>
                <a:gd name="connsiteY9" fmla="*/ 1080058 h 1088652"/>
                <a:gd name="connsiteX0" fmla="*/ 91699 w 313347"/>
                <a:gd name="connsiteY0" fmla="*/ 1080058 h 1123507"/>
                <a:gd name="connsiteX1" fmla="*/ 215862 w 313347"/>
                <a:gd name="connsiteY1" fmla="*/ 1026477 h 1123507"/>
                <a:gd name="connsiteX2" fmla="*/ 206531 w 313347"/>
                <a:gd name="connsiteY2" fmla="*/ 858526 h 1123507"/>
                <a:gd name="connsiteX3" fmla="*/ 309168 w 313347"/>
                <a:gd name="connsiteY3" fmla="*/ 625260 h 1123507"/>
                <a:gd name="connsiteX4" fmla="*/ 281176 w 313347"/>
                <a:gd name="connsiteY4" fmla="*/ 410656 h 1123507"/>
                <a:gd name="connsiteX5" fmla="*/ 169209 w 313347"/>
                <a:gd name="connsiteY5" fmla="*/ 109 h 1123507"/>
                <a:gd name="connsiteX6" fmla="*/ 19919 w 313347"/>
                <a:gd name="connsiteY6" fmla="*/ 373334 h 1123507"/>
                <a:gd name="connsiteX7" fmla="*/ 10588 w 313347"/>
                <a:gd name="connsiteY7" fmla="*/ 709236 h 1123507"/>
                <a:gd name="connsiteX8" fmla="*/ 103894 w 313347"/>
                <a:gd name="connsiteY8" fmla="*/ 886518 h 1123507"/>
                <a:gd name="connsiteX9" fmla="*/ 91699 w 313347"/>
                <a:gd name="connsiteY9" fmla="*/ 1080058 h 1123507"/>
                <a:gd name="connsiteX0" fmla="*/ 106099 w 313347"/>
                <a:gd name="connsiteY0" fmla="*/ 1025537 h 1081018"/>
                <a:gd name="connsiteX1" fmla="*/ 215862 w 313347"/>
                <a:gd name="connsiteY1" fmla="*/ 1026477 h 1081018"/>
                <a:gd name="connsiteX2" fmla="*/ 206531 w 313347"/>
                <a:gd name="connsiteY2" fmla="*/ 858526 h 1081018"/>
                <a:gd name="connsiteX3" fmla="*/ 309168 w 313347"/>
                <a:gd name="connsiteY3" fmla="*/ 625260 h 1081018"/>
                <a:gd name="connsiteX4" fmla="*/ 281176 w 313347"/>
                <a:gd name="connsiteY4" fmla="*/ 410656 h 1081018"/>
                <a:gd name="connsiteX5" fmla="*/ 169209 w 313347"/>
                <a:gd name="connsiteY5" fmla="*/ 109 h 1081018"/>
                <a:gd name="connsiteX6" fmla="*/ 19919 w 313347"/>
                <a:gd name="connsiteY6" fmla="*/ 373334 h 1081018"/>
                <a:gd name="connsiteX7" fmla="*/ 10588 w 313347"/>
                <a:gd name="connsiteY7" fmla="*/ 709236 h 1081018"/>
                <a:gd name="connsiteX8" fmla="*/ 103894 w 313347"/>
                <a:gd name="connsiteY8" fmla="*/ 886518 h 1081018"/>
                <a:gd name="connsiteX9" fmla="*/ 106099 w 313347"/>
                <a:gd name="connsiteY9" fmla="*/ 1025537 h 1081018"/>
                <a:gd name="connsiteX0" fmla="*/ 106099 w 313347"/>
                <a:gd name="connsiteY0" fmla="*/ 1025537 h 1045266"/>
                <a:gd name="connsiteX1" fmla="*/ 207633 w 313347"/>
                <a:gd name="connsiteY1" fmla="*/ 1026476 h 1045266"/>
                <a:gd name="connsiteX2" fmla="*/ 206531 w 313347"/>
                <a:gd name="connsiteY2" fmla="*/ 858526 h 1045266"/>
                <a:gd name="connsiteX3" fmla="*/ 309168 w 313347"/>
                <a:gd name="connsiteY3" fmla="*/ 625260 h 1045266"/>
                <a:gd name="connsiteX4" fmla="*/ 281176 w 313347"/>
                <a:gd name="connsiteY4" fmla="*/ 410656 h 1045266"/>
                <a:gd name="connsiteX5" fmla="*/ 169209 w 313347"/>
                <a:gd name="connsiteY5" fmla="*/ 109 h 1045266"/>
                <a:gd name="connsiteX6" fmla="*/ 19919 w 313347"/>
                <a:gd name="connsiteY6" fmla="*/ 373334 h 1045266"/>
                <a:gd name="connsiteX7" fmla="*/ 10588 w 313347"/>
                <a:gd name="connsiteY7" fmla="*/ 709236 h 1045266"/>
                <a:gd name="connsiteX8" fmla="*/ 103894 w 313347"/>
                <a:gd name="connsiteY8" fmla="*/ 886518 h 1045266"/>
                <a:gd name="connsiteX9" fmla="*/ 106099 w 313347"/>
                <a:gd name="connsiteY9" fmla="*/ 1025537 h 1045266"/>
                <a:gd name="connsiteX0" fmla="*/ 106099 w 309762"/>
                <a:gd name="connsiteY0" fmla="*/ 1025537 h 1045266"/>
                <a:gd name="connsiteX1" fmla="*/ 207633 w 309762"/>
                <a:gd name="connsiteY1" fmla="*/ 1026476 h 1045266"/>
                <a:gd name="connsiteX2" fmla="*/ 206531 w 309762"/>
                <a:gd name="connsiteY2" fmla="*/ 858526 h 1045266"/>
                <a:gd name="connsiteX3" fmla="*/ 305054 w 309762"/>
                <a:gd name="connsiteY3" fmla="*/ 683976 h 1045266"/>
                <a:gd name="connsiteX4" fmla="*/ 281176 w 309762"/>
                <a:gd name="connsiteY4" fmla="*/ 410656 h 1045266"/>
                <a:gd name="connsiteX5" fmla="*/ 169209 w 309762"/>
                <a:gd name="connsiteY5" fmla="*/ 109 h 1045266"/>
                <a:gd name="connsiteX6" fmla="*/ 19919 w 309762"/>
                <a:gd name="connsiteY6" fmla="*/ 373334 h 1045266"/>
                <a:gd name="connsiteX7" fmla="*/ 10588 w 309762"/>
                <a:gd name="connsiteY7" fmla="*/ 709236 h 1045266"/>
                <a:gd name="connsiteX8" fmla="*/ 103894 w 309762"/>
                <a:gd name="connsiteY8" fmla="*/ 886518 h 1045266"/>
                <a:gd name="connsiteX9" fmla="*/ 106099 w 309762"/>
                <a:gd name="connsiteY9" fmla="*/ 1025537 h 1045266"/>
                <a:gd name="connsiteX0" fmla="*/ 106099 w 309762"/>
                <a:gd name="connsiteY0" fmla="*/ 1025537 h 1043896"/>
                <a:gd name="connsiteX1" fmla="*/ 207633 w 309762"/>
                <a:gd name="connsiteY1" fmla="*/ 1026476 h 1043896"/>
                <a:gd name="connsiteX2" fmla="*/ 206531 w 309762"/>
                <a:gd name="connsiteY2" fmla="*/ 879497 h 1043896"/>
                <a:gd name="connsiteX3" fmla="*/ 305054 w 309762"/>
                <a:gd name="connsiteY3" fmla="*/ 683976 h 1043896"/>
                <a:gd name="connsiteX4" fmla="*/ 281176 w 309762"/>
                <a:gd name="connsiteY4" fmla="*/ 410656 h 1043896"/>
                <a:gd name="connsiteX5" fmla="*/ 169209 w 309762"/>
                <a:gd name="connsiteY5" fmla="*/ 109 h 1043896"/>
                <a:gd name="connsiteX6" fmla="*/ 19919 w 309762"/>
                <a:gd name="connsiteY6" fmla="*/ 373334 h 1043896"/>
                <a:gd name="connsiteX7" fmla="*/ 10588 w 309762"/>
                <a:gd name="connsiteY7" fmla="*/ 709236 h 1043896"/>
                <a:gd name="connsiteX8" fmla="*/ 103894 w 309762"/>
                <a:gd name="connsiteY8" fmla="*/ 886518 h 1043896"/>
                <a:gd name="connsiteX9" fmla="*/ 106099 w 309762"/>
                <a:gd name="connsiteY9" fmla="*/ 1025537 h 1043896"/>
                <a:gd name="connsiteX0" fmla="*/ 106099 w 309294"/>
                <a:gd name="connsiteY0" fmla="*/ 1025485 h 1043846"/>
                <a:gd name="connsiteX1" fmla="*/ 207633 w 309294"/>
                <a:gd name="connsiteY1" fmla="*/ 1026424 h 1043846"/>
                <a:gd name="connsiteX2" fmla="*/ 206531 w 309294"/>
                <a:gd name="connsiteY2" fmla="*/ 879445 h 1043846"/>
                <a:gd name="connsiteX3" fmla="*/ 305054 w 309294"/>
                <a:gd name="connsiteY3" fmla="*/ 683924 h 1043846"/>
                <a:gd name="connsiteX4" fmla="*/ 279118 w 309294"/>
                <a:gd name="connsiteY4" fmla="*/ 347692 h 1043846"/>
                <a:gd name="connsiteX5" fmla="*/ 169209 w 309294"/>
                <a:gd name="connsiteY5" fmla="*/ 57 h 1043846"/>
                <a:gd name="connsiteX6" fmla="*/ 19919 w 309294"/>
                <a:gd name="connsiteY6" fmla="*/ 373282 h 1043846"/>
                <a:gd name="connsiteX7" fmla="*/ 10588 w 309294"/>
                <a:gd name="connsiteY7" fmla="*/ 709184 h 1043846"/>
                <a:gd name="connsiteX8" fmla="*/ 103894 w 309294"/>
                <a:gd name="connsiteY8" fmla="*/ 886466 h 1043846"/>
                <a:gd name="connsiteX9" fmla="*/ 106099 w 309294"/>
                <a:gd name="connsiteY9" fmla="*/ 1025485 h 1043846"/>
                <a:gd name="connsiteX0" fmla="*/ 105520 w 308952"/>
                <a:gd name="connsiteY0" fmla="*/ 1029678 h 1048038"/>
                <a:gd name="connsiteX1" fmla="*/ 207054 w 308952"/>
                <a:gd name="connsiteY1" fmla="*/ 1030617 h 1048038"/>
                <a:gd name="connsiteX2" fmla="*/ 205952 w 308952"/>
                <a:gd name="connsiteY2" fmla="*/ 883638 h 1048038"/>
                <a:gd name="connsiteX3" fmla="*/ 304475 w 308952"/>
                <a:gd name="connsiteY3" fmla="*/ 688117 h 1048038"/>
                <a:gd name="connsiteX4" fmla="*/ 278539 w 308952"/>
                <a:gd name="connsiteY4" fmla="*/ 351885 h 1048038"/>
                <a:gd name="connsiteX5" fmla="*/ 158345 w 308952"/>
                <a:gd name="connsiteY5" fmla="*/ 55 h 1048038"/>
                <a:gd name="connsiteX6" fmla="*/ 19340 w 308952"/>
                <a:gd name="connsiteY6" fmla="*/ 377475 h 1048038"/>
                <a:gd name="connsiteX7" fmla="*/ 10009 w 308952"/>
                <a:gd name="connsiteY7" fmla="*/ 713377 h 1048038"/>
                <a:gd name="connsiteX8" fmla="*/ 103315 w 308952"/>
                <a:gd name="connsiteY8" fmla="*/ 890659 h 1048038"/>
                <a:gd name="connsiteX9" fmla="*/ 105520 w 308952"/>
                <a:gd name="connsiteY9" fmla="*/ 1029678 h 1048038"/>
                <a:gd name="connsiteX0" fmla="*/ 105520 w 308952"/>
                <a:gd name="connsiteY0" fmla="*/ 1029678 h 1048038"/>
                <a:gd name="connsiteX1" fmla="*/ 207054 w 308952"/>
                <a:gd name="connsiteY1" fmla="*/ 1030617 h 1048038"/>
                <a:gd name="connsiteX2" fmla="*/ 205952 w 308952"/>
                <a:gd name="connsiteY2" fmla="*/ 883638 h 1048038"/>
                <a:gd name="connsiteX3" fmla="*/ 304475 w 308952"/>
                <a:gd name="connsiteY3" fmla="*/ 688117 h 1048038"/>
                <a:gd name="connsiteX4" fmla="*/ 278539 w 308952"/>
                <a:gd name="connsiteY4" fmla="*/ 351885 h 1048038"/>
                <a:gd name="connsiteX5" fmla="*/ 158345 w 308952"/>
                <a:gd name="connsiteY5" fmla="*/ 55 h 1048038"/>
                <a:gd name="connsiteX6" fmla="*/ 19340 w 308952"/>
                <a:gd name="connsiteY6" fmla="*/ 377475 h 1048038"/>
                <a:gd name="connsiteX7" fmla="*/ 10009 w 308952"/>
                <a:gd name="connsiteY7" fmla="*/ 713377 h 1048038"/>
                <a:gd name="connsiteX8" fmla="*/ 103315 w 308952"/>
                <a:gd name="connsiteY8" fmla="*/ 890659 h 1048038"/>
                <a:gd name="connsiteX9" fmla="*/ 105520 w 308952"/>
                <a:gd name="connsiteY9" fmla="*/ 1029678 h 1048038"/>
                <a:gd name="connsiteX0" fmla="*/ 108959 w 308952"/>
                <a:gd name="connsiteY0" fmla="*/ 964412 h 1032668"/>
                <a:gd name="connsiteX1" fmla="*/ 207054 w 308952"/>
                <a:gd name="connsiteY1" fmla="*/ 1030617 h 1032668"/>
                <a:gd name="connsiteX2" fmla="*/ 205952 w 308952"/>
                <a:gd name="connsiteY2" fmla="*/ 883638 h 1032668"/>
                <a:gd name="connsiteX3" fmla="*/ 304475 w 308952"/>
                <a:gd name="connsiteY3" fmla="*/ 688117 h 1032668"/>
                <a:gd name="connsiteX4" fmla="*/ 278539 w 308952"/>
                <a:gd name="connsiteY4" fmla="*/ 351885 h 1032668"/>
                <a:gd name="connsiteX5" fmla="*/ 158345 w 308952"/>
                <a:gd name="connsiteY5" fmla="*/ 55 h 1032668"/>
                <a:gd name="connsiteX6" fmla="*/ 19340 w 308952"/>
                <a:gd name="connsiteY6" fmla="*/ 377475 h 1032668"/>
                <a:gd name="connsiteX7" fmla="*/ 10009 w 308952"/>
                <a:gd name="connsiteY7" fmla="*/ 713377 h 1032668"/>
                <a:gd name="connsiteX8" fmla="*/ 103315 w 308952"/>
                <a:gd name="connsiteY8" fmla="*/ 890659 h 1032668"/>
                <a:gd name="connsiteX9" fmla="*/ 108959 w 308952"/>
                <a:gd name="connsiteY9" fmla="*/ 964412 h 1032668"/>
                <a:gd name="connsiteX0" fmla="*/ 108959 w 308952"/>
                <a:gd name="connsiteY0" fmla="*/ 964412 h 970745"/>
                <a:gd name="connsiteX1" fmla="*/ 205334 w 308952"/>
                <a:gd name="connsiteY1" fmla="*/ 957672 h 970745"/>
                <a:gd name="connsiteX2" fmla="*/ 205952 w 308952"/>
                <a:gd name="connsiteY2" fmla="*/ 883638 h 970745"/>
                <a:gd name="connsiteX3" fmla="*/ 304475 w 308952"/>
                <a:gd name="connsiteY3" fmla="*/ 688117 h 970745"/>
                <a:gd name="connsiteX4" fmla="*/ 278539 w 308952"/>
                <a:gd name="connsiteY4" fmla="*/ 351885 h 970745"/>
                <a:gd name="connsiteX5" fmla="*/ 158345 w 308952"/>
                <a:gd name="connsiteY5" fmla="*/ 55 h 970745"/>
                <a:gd name="connsiteX6" fmla="*/ 19340 w 308952"/>
                <a:gd name="connsiteY6" fmla="*/ 377475 h 970745"/>
                <a:gd name="connsiteX7" fmla="*/ 10009 w 308952"/>
                <a:gd name="connsiteY7" fmla="*/ 713377 h 970745"/>
                <a:gd name="connsiteX8" fmla="*/ 103315 w 308952"/>
                <a:gd name="connsiteY8" fmla="*/ 890659 h 970745"/>
                <a:gd name="connsiteX9" fmla="*/ 108959 w 308952"/>
                <a:gd name="connsiteY9" fmla="*/ 964412 h 970745"/>
                <a:gd name="connsiteX0" fmla="*/ 117555 w 308952"/>
                <a:gd name="connsiteY0" fmla="*/ 956733 h 965991"/>
                <a:gd name="connsiteX1" fmla="*/ 205334 w 308952"/>
                <a:gd name="connsiteY1" fmla="*/ 957672 h 965991"/>
                <a:gd name="connsiteX2" fmla="*/ 205952 w 308952"/>
                <a:gd name="connsiteY2" fmla="*/ 883638 h 965991"/>
                <a:gd name="connsiteX3" fmla="*/ 304475 w 308952"/>
                <a:gd name="connsiteY3" fmla="*/ 688117 h 965991"/>
                <a:gd name="connsiteX4" fmla="*/ 278539 w 308952"/>
                <a:gd name="connsiteY4" fmla="*/ 351885 h 965991"/>
                <a:gd name="connsiteX5" fmla="*/ 158345 w 308952"/>
                <a:gd name="connsiteY5" fmla="*/ 55 h 965991"/>
                <a:gd name="connsiteX6" fmla="*/ 19340 w 308952"/>
                <a:gd name="connsiteY6" fmla="*/ 377475 h 965991"/>
                <a:gd name="connsiteX7" fmla="*/ 10009 w 308952"/>
                <a:gd name="connsiteY7" fmla="*/ 713377 h 965991"/>
                <a:gd name="connsiteX8" fmla="*/ 103315 w 308952"/>
                <a:gd name="connsiteY8" fmla="*/ 890659 h 965991"/>
                <a:gd name="connsiteX9" fmla="*/ 117555 w 308952"/>
                <a:gd name="connsiteY9" fmla="*/ 956733 h 965991"/>
                <a:gd name="connsiteX0" fmla="*/ 117555 w 308952"/>
                <a:gd name="connsiteY0" fmla="*/ 956733 h 965993"/>
                <a:gd name="connsiteX1" fmla="*/ 191580 w 308952"/>
                <a:gd name="connsiteY1" fmla="*/ 957672 h 965993"/>
                <a:gd name="connsiteX2" fmla="*/ 205952 w 308952"/>
                <a:gd name="connsiteY2" fmla="*/ 883638 h 965993"/>
                <a:gd name="connsiteX3" fmla="*/ 304475 w 308952"/>
                <a:gd name="connsiteY3" fmla="*/ 688117 h 965993"/>
                <a:gd name="connsiteX4" fmla="*/ 278539 w 308952"/>
                <a:gd name="connsiteY4" fmla="*/ 351885 h 965993"/>
                <a:gd name="connsiteX5" fmla="*/ 158345 w 308952"/>
                <a:gd name="connsiteY5" fmla="*/ 55 h 965993"/>
                <a:gd name="connsiteX6" fmla="*/ 19340 w 308952"/>
                <a:gd name="connsiteY6" fmla="*/ 377475 h 965993"/>
                <a:gd name="connsiteX7" fmla="*/ 10009 w 308952"/>
                <a:gd name="connsiteY7" fmla="*/ 713377 h 965993"/>
                <a:gd name="connsiteX8" fmla="*/ 103315 w 308952"/>
                <a:gd name="connsiteY8" fmla="*/ 890659 h 965993"/>
                <a:gd name="connsiteX9" fmla="*/ 117555 w 308952"/>
                <a:gd name="connsiteY9" fmla="*/ 956733 h 965993"/>
                <a:gd name="connsiteX0" fmla="*/ 119274 w 308952"/>
                <a:gd name="connsiteY0" fmla="*/ 960573 h 968186"/>
                <a:gd name="connsiteX1" fmla="*/ 191580 w 308952"/>
                <a:gd name="connsiteY1" fmla="*/ 957672 h 968186"/>
                <a:gd name="connsiteX2" fmla="*/ 205952 w 308952"/>
                <a:gd name="connsiteY2" fmla="*/ 883638 h 968186"/>
                <a:gd name="connsiteX3" fmla="*/ 304475 w 308952"/>
                <a:gd name="connsiteY3" fmla="*/ 688117 h 968186"/>
                <a:gd name="connsiteX4" fmla="*/ 278539 w 308952"/>
                <a:gd name="connsiteY4" fmla="*/ 351885 h 968186"/>
                <a:gd name="connsiteX5" fmla="*/ 158345 w 308952"/>
                <a:gd name="connsiteY5" fmla="*/ 55 h 968186"/>
                <a:gd name="connsiteX6" fmla="*/ 19340 w 308952"/>
                <a:gd name="connsiteY6" fmla="*/ 377475 h 968186"/>
                <a:gd name="connsiteX7" fmla="*/ 10009 w 308952"/>
                <a:gd name="connsiteY7" fmla="*/ 713377 h 968186"/>
                <a:gd name="connsiteX8" fmla="*/ 103315 w 308952"/>
                <a:gd name="connsiteY8" fmla="*/ 890659 h 968186"/>
                <a:gd name="connsiteX9" fmla="*/ 119274 w 308952"/>
                <a:gd name="connsiteY9" fmla="*/ 960573 h 96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8952" h="968186">
                  <a:moveTo>
                    <a:pt x="119274" y="960573"/>
                  </a:moveTo>
                  <a:cubicBezTo>
                    <a:pt x="133985" y="971742"/>
                    <a:pt x="177134" y="970495"/>
                    <a:pt x="191580" y="957672"/>
                  </a:cubicBezTo>
                  <a:cubicBezTo>
                    <a:pt x="206026" y="944849"/>
                    <a:pt x="187136" y="928564"/>
                    <a:pt x="205952" y="883638"/>
                  </a:cubicBezTo>
                  <a:cubicBezTo>
                    <a:pt x="224768" y="838712"/>
                    <a:pt x="292377" y="776743"/>
                    <a:pt x="304475" y="688117"/>
                  </a:cubicBezTo>
                  <a:cubicBezTo>
                    <a:pt x="316573" y="599492"/>
                    <a:pt x="302894" y="466562"/>
                    <a:pt x="278539" y="351885"/>
                  </a:cubicBezTo>
                  <a:cubicBezTo>
                    <a:pt x="254184" y="237208"/>
                    <a:pt x="201545" y="-4210"/>
                    <a:pt x="158345" y="55"/>
                  </a:cubicBezTo>
                  <a:cubicBezTo>
                    <a:pt x="115145" y="4320"/>
                    <a:pt x="44063" y="258588"/>
                    <a:pt x="19340" y="377475"/>
                  </a:cubicBezTo>
                  <a:cubicBezTo>
                    <a:pt x="-5383" y="496362"/>
                    <a:pt x="-3987" y="627846"/>
                    <a:pt x="10009" y="713377"/>
                  </a:cubicBezTo>
                  <a:cubicBezTo>
                    <a:pt x="24005" y="798908"/>
                    <a:pt x="85104" y="849460"/>
                    <a:pt x="103315" y="890659"/>
                  </a:cubicBezTo>
                  <a:cubicBezTo>
                    <a:pt x="121526" y="931858"/>
                    <a:pt x="104563" y="949404"/>
                    <a:pt x="119274" y="960573"/>
                  </a:cubicBezTo>
                  <a:close/>
                </a:path>
              </a:pathLst>
            </a:custGeom>
            <a:solidFill>
              <a:schemeClr val="accent1">
                <a:lumMod val="50000"/>
              </a:schemeClr>
            </a:solidFill>
            <a:ln w="9525" cap="flat" cmpd="sng" algn="ctr">
              <a:solidFill>
                <a:srgbClr val="4F81BD"/>
              </a:solidFill>
              <a:prstDash val="sysDash"/>
              <a:round/>
              <a:headEnd type="none" w="med" len="med"/>
              <a:tailEnd type="none" w="med" len="med"/>
            </a:ln>
            <a:effectLst>
              <a:softEdge rad="25400"/>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Arial" charset="0"/>
                <a:ea typeface="ヒラギノ角ゴ Pro W3" pitchFamily="48" charset="-128"/>
                <a:cs typeface="Arial" charset="0"/>
              </a:endParaRPr>
            </a:p>
          </p:txBody>
        </p:sp>
        <p:sp>
          <p:nvSpPr>
            <p:cNvPr id="43" name="TextBox 42"/>
            <p:cNvSpPr txBox="1"/>
            <p:nvPr/>
          </p:nvSpPr>
          <p:spPr>
            <a:xfrm>
              <a:off x="7215986" y="657255"/>
              <a:ext cx="811524" cy="242343"/>
            </a:xfrm>
            <a:prstGeom prst="rect">
              <a:avLst/>
            </a:prstGeom>
            <a:noFill/>
          </p:spPr>
          <p:txBody>
            <a:bodyPr wrap="none" rtlCol="0">
              <a:spAutoFit/>
            </a:bodyPr>
            <a:lstStyle/>
            <a:p>
              <a:r>
                <a:rPr lang="en-US" sz="1200" b="1" dirty="0">
                  <a:solidFill>
                    <a:schemeClr val="bg1"/>
                  </a:solidFill>
                  <a:latin typeface="Symbol" panose="05050102010706020507" pitchFamily="18" charset="2"/>
                  <a:cs typeface="Arial" panose="020B0604020202020204" pitchFamily="34" charset="0"/>
                </a:rPr>
                <a:t>b</a:t>
              </a:r>
              <a:r>
                <a:rPr lang="en-US" sz="1200" b="1" dirty="0">
                  <a:solidFill>
                    <a:schemeClr val="bg1"/>
                  </a:solidFill>
                  <a:cs typeface="Arial" panose="020B0604020202020204" pitchFamily="34" charset="0"/>
                </a:rPr>
                <a:t>1-</a:t>
              </a:r>
              <a:r>
                <a:rPr lang="fr-FR" sz="1200" b="1" dirty="0" err="1">
                  <a:solidFill>
                    <a:schemeClr val="bg1"/>
                  </a:solidFill>
                </a:rPr>
                <a:t>integrin</a:t>
              </a:r>
              <a:endParaRPr lang="en-US" sz="1200" b="1" dirty="0">
                <a:solidFill>
                  <a:schemeClr val="bg1"/>
                </a:solidFill>
              </a:endParaRPr>
            </a:p>
          </p:txBody>
        </p:sp>
        <p:sp>
          <p:nvSpPr>
            <p:cNvPr id="44" name="Rectangle 43"/>
            <p:cNvSpPr/>
            <p:nvPr/>
          </p:nvSpPr>
          <p:spPr>
            <a:xfrm>
              <a:off x="7355117" y="364155"/>
              <a:ext cx="585819" cy="296197"/>
            </a:xfrm>
            <a:prstGeom prst="rect">
              <a:avLst/>
            </a:prstGeom>
            <a:noFill/>
          </p:spPr>
          <p:txBody>
            <a:bodyPr wrap="none" lIns="91440" tIns="45720" rIns="91440" bIns="45720">
              <a:spAutoFit/>
            </a:bodyPr>
            <a:lstStyle/>
            <a:p>
              <a:pPr algn="ctr"/>
              <a:r>
                <a:rPr lang="en-US" sz="1600" b="1" dirty="0">
                  <a:ln w="0"/>
                  <a:solidFill>
                    <a:schemeClr val="bg1"/>
                  </a:solidFill>
                  <a:effectLst>
                    <a:outerShdw blurRad="38100" dist="25400" dir="5400000" algn="ctr" rotWithShape="0">
                      <a:srgbClr val="6E747A">
                        <a:alpha val="43000"/>
                      </a:srgbClr>
                    </a:outerShdw>
                  </a:effectLst>
                </a:rPr>
                <a:t>+28%</a:t>
              </a:r>
            </a:p>
          </p:txBody>
        </p:sp>
      </p:grpSp>
      <p:sp>
        <p:nvSpPr>
          <p:cNvPr id="45" name="Freeform 44"/>
          <p:cNvSpPr/>
          <p:nvPr/>
        </p:nvSpPr>
        <p:spPr>
          <a:xfrm>
            <a:off x="901113" y="3766223"/>
            <a:ext cx="529133" cy="1666960"/>
          </a:xfrm>
          <a:custGeom>
            <a:avLst/>
            <a:gdLst>
              <a:gd name="connsiteX0" fmla="*/ 481962 w 481962"/>
              <a:gd name="connsiteY0" fmla="*/ 1612330 h 1612330"/>
              <a:gd name="connsiteX1" fmla="*/ 105005 w 481962"/>
              <a:gd name="connsiteY1" fmla="*/ 1321215 h 1612330"/>
              <a:gd name="connsiteX2" fmla="*/ 502 w 481962"/>
              <a:gd name="connsiteY2" fmla="*/ 918132 h 1612330"/>
              <a:gd name="connsiteX3" fmla="*/ 71415 w 481962"/>
              <a:gd name="connsiteY3" fmla="*/ 515050 h 1612330"/>
              <a:gd name="connsiteX4" fmla="*/ 205775 w 481962"/>
              <a:gd name="connsiteY4" fmla="*/ 179148 h 1612330"/>
              <a:gd name="connsiteX5" fmla="*/ 272956 w 481962"/>
              <a:gd name="connsiteY5" fmla="*/ 0 h 1612330"/>
              <a:gd name="connsiteX0" fmla="*/ 481962 w 481962"/>
              <a:gd name="connsiteY0" fmla="*/ 1647910 h 1647910"/>
              <a:gd name="connsiteX1" fmla="*/ 105005 w 481962"/>
              <a:gd name="connsiteY1" fmla="*/ 1356795 h 1647910"/>
              <a:gd name="connsiteX2" fmla="*/ 502 w 481962"/>
              <a:gd name="connsiteY2" fmla="*/ 953712 h 1647910"/>
              <a:gd name="connsiteX3" fmla="*/ 71415 w 481962"/>
              <a:gd name="connsiteY3" fmla="*/ 550630 h 1647910"/>
              <a:gd name="connsiteX4" fmla="*/ 205775 w 481962"/>
              <a:gd name="connsiteY4" fmla="*/ 214728 h 1647910"/>
              <a:gd name="connsiteX5" fmla="*/ 376138 w 481962"/>
              <a:gd name="connsiteY5" fmla="*/ 0 h 1647910"/>
              <a:gd name="connsiteX0" fmla="*/ 482016 w 482016"/>
              <a:gd name="connsiteY0" fmla="*/ 1647910 h 1647910"/>
              <a:gd name="connsiteX1" fmla="*/ 105059 w 482016"/>
              <a:gd name="connsiteY1" fmla="*/ 1356795 h 1647910"/>
              <a:gd name="connsiteX2" fmla="*/ 556 w 482016"/>
              <a:gd name="connsiteY2" fmla="*/ 953712 h 1647910"/>
              <a:gd name="connsiteX3" fmla="*/ 71469 w 482016"/>
              <a:gd name="connsiteY3" fmla="*/ 550630 h 1647910"/>
              <a:gd name="connsiteX4" fmla="*/ 234293 w 482016"/>
              <a:gd name="connsiteY4" fmla="*/ 250308 h 1647910"/>
              <a:gd name="connsiteX5" fmla="*/ 376192 w 482016"/>
              <a:gd name="connsiteY5" fmla="*/ 0 h 1647910"/>
              <a:gd name="connsiteX0" fmla="*/ 482381 w 482381"/>
              <a:gd name="connsiteY0" fmla="*/ 1647910 h 1647910"/>
              <a:gd name="connsiteX1" fmla="*/ 105424 w 482381"/>
              <a:gd name="connsiteY1" fmla="*/ 1356795 h 1647910"/>
              <a:gd name="connsiteX2" fmla="*/ 921 w 482381"/>
              <a:gd name="connsiteY2" fmla="*/ 953712 h 1647910"/>
              <a:gd name="connsiteX3" fmla="*/ 64718 w 482381"/>
              <a:gd name="connsiteY3" fmla="*/ 628905 h 1647910"/>
              <a:gd name="connsiteX4" fmla="*/ 234658 w 482381"/>
              <a:gd name="connsiteY4" fmla="*/ 250308 h 1647910"/>
              <a:gd name="connsiteX5" fmla="*/ 376557 w 482381"/>
              <a:gd name="connsiteY5" fmla="*/ 0 h 1647910"/>
              <a:gd name="connsiteX0" fmla="*/ 483125 w 483125"/>
              <a:gd name="connsiteY0" fmla="*/ 1647910 h 1647910"/>
              <a:gd name="connsiteX1" fmla="*/ 123957 w 483125"/>
              <a:gd name="connsiteY1" fmla="*/ 1360353 h 1647910"/>
              <a:gd name="connsiteX2" fmla="*/ 1665 w 483125"/>
              <a:gd name="connsiteY2" fmla="*/ 953712 h 1647910"/>
              <a:gd name="connsiteX3" fmla="*/ 65462 w 483125"/>
              <a:gd name="connsiteY3" fmla="*/ 628905 h 1647910"/>
              <a:gd name="connsiteX4" fmla="*/ 235402 w 483125"/>
              <a:gd name="connsiteY4" fmla="*/ 250308 h 1647910"/>
              <a:gd name="connsiteX5" fmla="*/ 377301 w 483125"/>
              <a:gd name="connsiteY5" fmla="*/ 0 h 1647910"/>
              <a:gd name="connsiteX0" fmla="*/ 483125 w 483125"/>
              <a:gd name="connsiteY0" fmla="*/ 1666960 h 1666960"/>
              <a:gd name="connsiteX1" fmla="*/ 123957 w 483125"/>
              <a:gd name="connsiteY1" fmla="*/ 1379403 h 1666960"/>
              <a:gd name="connsiteX2" fmla="*/ 1665 w 483125"/>
              <a:gd name="connsiteY2" fmla="*/ 972762 h 1666960"/>
              <a:gd name="connsiteX3" fmla="*/ 65462 w 483125"/>
              <a:gd name="connsiteY3" fmla="*/ 647955 h 1666960"/>
              <a:gd name="connsiteX4" fmla="*/ 235402 w 483125"/>
              <a:gd name="connsiteY4" fmla="*/ 269358 h 1666960"/>
              <a:gd name="connsiteX5" fmla="*/ 453501 w 483125"/>
              <a:gd name="connsiteY5" fmla="*/ 0 h 1666960"/>
              <a:gd name="connsiteX0" fmla="*/ 483383 w 483383"/>
              <a:gd name="connsiteY0" fmla="*/ 1666960 h 1666960"/>
              <a:gd name="connsiteX1" fmla="*/ 124215 w 483383"/>
              <a:gd name="connsiteY1" fmla="*/ 1379403 h 1666960"/>
              <a:gd name="connsiteX2" fmla="*/ 1923 w 483383"/>
              <a:gd name="connsiteY2" fmla="*/ 972762 h 1666960"/>
              <a:gd name="connsiteX3" fmla="*/ 65720 w 483383"/>
              <a:gd name="connsiteY3" fmla="*/ 647955 h 1666960"/>
              <a:gd name="connsiteX4" fmla="*/ 273760 w 483383"/>
              <a:gd name="connsiteY4" fmla="*/ 269358 h 1666960"/>
              <a:gd name="connsiteX5" fmla="*/ 453759 w 483383"/>
              <a:gd name="connsiteY5" fmla="*/ 0 h 1666960"/>
              <a:gd name="connsiteX0" fmla="*/ 483383 w 483383"/>
              <a:gd name="connsiteY0" fmla="*/ 1666960 h 1666960"/>
              <a:gd name="connsiteX1" fmla="*/ 124215 w 483383"/>
              <a:gd name="connsiteY1" fmla="*/ 1379403 h 1666960"/>
              <a:gd name="connsiteX2" fmla="*/ 1923 w 483383"/>
              <a:gd name="connsiteY2" fmla="*/ 972762 h 1666960"/>
              <a:gd name="connsiteX3" fmla="*/ 65720 w 483383"/>
              <a:gd name="connsiteY3" fmla="*/ 647955 h 1666960"/>
              <a:gd name="connsiteX4" fmla="*/ 273760 w 483383"/>
              <a:gd name="connsiteY4" fmla="*/ 269358 h 1666960"/>
              <a:gd name="connsiteX5" fmla="*/ 453759 w 483383"/>
              <a:gd name="connsiteY5" fmla="*/ 0 h 1666960"/>
              <a:gd name="connsiteX0" fmla="*/ 486254 w 486254"/>
              <a:gd name="connsiteY0" fmla="*/ 1666960 h 1666960"/>
              <a:gd name="connsiteX1" fmla="*/ 127086 w 486254"/>
              <a:gd name="connsiteY1" fmla="*/ 1379403 h 1666960"/>
              <a:gd name="connsiteX2" fmla="*/ 4794 w 486254"/>
              <a:gd name="connsiteY2" fmla="*/ 972762 h 1666960"/>
              <a:gd name="connsiteX3" fmla="*/ 68591 w 486254"/>
              <a:gd name="connsiteY3" fmla="*/ 647955 h 1666960"/>
              <a:gd name="connsiteX4" fmla="*/ 456630 w 486254"/>
              <a:gd name="connsiteY4" fmla="*/ 0 h 1666960"/>
              <a:gd name="connsiteX0" fmla="*/ 486254 w 486254"/>
              <a:gd name="connsiteY0" fmla="*/ 1666960 h 1666960"/>
              <a:gd name="connsiteX1" fmla="*/ 127086 w 486254"/>
              <a:gd name="connsiteY1" fmla="*/ 1379403 h 1666960"/>
              <a:gd name="connsiteX2" fmla="*/ 4794 w 486254"/>
              <a:gd name="connsiteY2" fmla="*/ 972762 h 1666960"/>
              <a:gd name="connsiteX3" fmla="*/ 68591 w 486254"/>
              <a:gd name="connsiteY3" fmla="*/ 647955 h 1666960"/>
              <a:gd name="connsiteX4" fmla="*/ 456630 w 486254"/>
              <a:gd name="connsiteY4" fmla="*/ 0 h 1666960"/>
              <a:gd name="connsiteX0" fmla="*/ 484031 w 484031"/>
              <a:gd name="connsiteY0" fmla="*/ 1666960 h 1666960"/>
              <a:gd name="connsiteX1" fmla="*/ 124863 w 484031"/>
              <a:gd name="connsiteY1" fmla="*/ 1379403 h 1666960"/>
              <a:gd name="connsiteX2" fmla="*/ 2571 w 484031"/>
              <a:gd name="connsiteY2" fmla="*/ 972762 h 1666960"/>
              <a:gd name="connsiteX3" fmla="*/ 66368 w 484031"/>
              <a:gd name="connsiteY3" fmla="*/ 647955 h 1666960"/>
              <a:gd name="connsiteX4" fmla="*/ 454407 w 484031"/>
              <a:gd name="connsiteY4" fmla="*/ 0 h 1666960"/>
              <a:gd name="connsiteX0" fmla="*/ 512190 w 512190"/>
              <a:gd name="connsiteY0" fmla="*/ 1666960 h 1666960"/>
              <a:gd name="connsiteX1" fmla="*/ 153022 w 512190"/>
              <a:gd name="connsiteY1" fmla="*/ 1379403 h 1666960"/>
              <a:gd name="connsiteX2" fmla="*/ 2155 w 512190"/>
              <a:gd name="connsiteY2" fmla="*/ 972762 h 1666960"/>
              <a:gd name="connsiteX3" fmla="*/ 94527 w 512190"/>
              <a:gd name="connsiteY3" fmla="*/ 647955 h 1666960"/>
              <a:gd name="connsiteX4" fmla="*/ 482566 w 512190"/>
              <a:gd name="connsiteY4" fmla="*/ 0 h 1666960"/>
              <a:gd name="connsiteX0" fmla="*/ 510823 w 510823"/>
              <a:gd name="connsiteY0" fmla="*/ 1666960 h 1666960"/>
              <a:gd name="connsiteX1" fmla="*/ 123080 w 510823"/>
              <a:gd name="connsiteY1" fmla="*/ 1388928 h 1666960"/>
              <a:gd name="connsiteX2" fmla="*/ 788 w 510823"/>
              <a:gd name="connsiteY2" fmla="*/ 972762 h 1666960"/>
              <a:gd name="connsiteX3" fmla="*/ 93160 w 510823"/>
              <a:gd name="connsiteY3" fmla="*/ 647955 h 1666960"/>
              <a:gd name="connsiteX4" fmla="*/ 481199 w 510823"/>
              <a:gd name="connsiteY4" fmla="*/ 0 h 1666960"/>
              <a:gd name="connsiteX0" fmla="*/ 510106 w 510106"/>
              <a:gd name="connsiteY0" fmla="*/ 1666960 h 1666960"/>
              <a:gd name="connsiteX1" fmla="*/ 122363 w 510106"/>
              <a:gd name="connsiteY1" fmla="*/ 1388928 h 1666960"/>
              <a:gd name="connsiteX2" fmla="*/ 71 w 510106"/>
              <a:gd name="connsiteY2" fmla="*/ 972762 h 1666960"/>
              <a:gd name="connsiteX3" fmla="*/ 111493 w 510106"/>
              <a:gd name="connsiteY3" fmla="*/ 466980 h 1666960"/>
              <a:gd name="connsiteX4" fmla="*/ 480482 w 510106"/>
              <a:gd name="connsiteY4" fmla="*/ 0 h 1666960"/>
              <a:gd name="connsiteX0" fmla="*/ 510298 w 510298"/>
              <a:gd name="connsiteY0" fmla="*/ 1666960 h 1666960"/>
              <a:gd name="connsiteX1" fmla="*/ 122555 w 510298"/>
              <a:gd name="connsiteY1" fmla="*/ 1388928 h 1666960"/>
              <a:gd name="connsiteX2" fmla="*/ 263 w 510298"/>
              <a:gd name="connsiteY2" fmla="*/ 972762 h 1666960"/>
              <a:gd name="connsiteX3" fmla="*/ 111685 w 510298"/>
              <a:gd name="connsiteY3" fmla="*/ 466980 h 1666960"/>
              <a:gd name="connsiteX4" fmla="*/ 480674 w 510298"/>
              <a:gd name="connsiteY4" fmla="*/ 0 h 1666960"/>
              <a:gd name="connsiteX0" fmla="*/ 529133 w 529133"/>
              <a:gd name="connsiteY0" fmla="*/ 1666960 h 1666960"/>
              <a:gd name="connsiteX1" fmla="*/ 141390 w 529133"/>
              <a:gd name="connsiteY1" fmla="*/ 1388928 h 1666960"/>
              <a:gd name="connsiteX2" fmla="*/ 48 w 529133"/>
              <a:gd name="connsiteY2" fmla="*/ 963237 h 1666960"/>
              <a:gd name="connsiteX3" fmla="*/ 130520 w 529133"/>
              <a:gd name="connsiteY3" fmla="*/ 466980 h 1666960"/>
              <a:gd name="connsiteX4" fmla="*/ 499509 w 529133"/>
              <a:gd name="connsiteY4" fmla="*/ 0 h 1666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133" h="1666960">
                <a:moveTo>
                  <a:pt x="529133" y="1666960"/>
                </a:moveTo>
                <a:cubicBezTo>
                  <a:pt x="380776" y="1579252"/>
                  <a:pt x="229571" y="1506215"/>
                  <a:pt x="141390" y="1388928"/>
                </a:cubicBezTo>
                <a:cubicBezTo>
                  <a:pt x="53209" y="1271641"/>
                  <a:pt x="1860" y="1116895"/>
                  <a:pt x="48" y="963237"/>
                </a:cubicBezTo>
                <a:cubicBezTo>
                  <a:pt x="-1764" y="809579"/>
                  <a:pt x="47277" y="627519"/>
                  <a:pt x="130520" y="466980"/>
                </a:cubicBezTo>
                <a:cubicBezTo>
                  <a:pt x="213763" y="306441"/>
                  <a:pt x="285318" y="220716"/>
                  <a:pt x="499509" y="0"/>
                </a:cubicBezTo>
              </a:path>
            </a:pathLst>
          </a:custGeom>
          <a:noFill/>
          <a:ln w="38100" cap="rnd">
            <a:solidFill>
              <a:srgbClr val="0070C0"/>
            </a:solidFill>
            <a:prstDash val="sysDash"/>
            <a:tailEnd type="triangle"/>
          </a:ln>
          <a:effectLst>
            <a:outerShdw blurRad="38100" dist="25400" dir="600000" sx="99000" sy="99000" algn="tl"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46" name="Freeform 45"/>
          <p:cNvSpPr/>
          <p:nvPr/>
        </p:nvSpPr>
        <p:spPr>
          <a:xfrm>
            <a:off x="1217659" y="3780361"/>
            <a:ext cx="434854" cy="1587455"/>
          </a:xfrm>
          <a:custGeom>
            <a:avLst/>
            <a:gdLst>
              <a:gd name="connsiteX0" fmla="*/ 381345 w 381345"/>
              <a:gd name="connsiteY0" fmla="*/ 1645920 h 1645920"/>
              <a:gd name="connsiteX1" fmla="*/ 135017 w 381345"/>
              <a:gd name="connsiteY1" fmla="*/ 1433182 h 1645920"/>
              <a:gd name="connsiteX2" fmla="*/ 4389 w 381345"/>
              <a:gd name="connsiteY2" fmla="*/ 1078619 h 1645920"/>
              <a:gd name="connsiteX3" fmla="*/ 45443 w 381345"/>
              <a:gd name="connsiteY3" fmla="*/ 712859 h 1645920"/>
              <a:gd name="connsiteX4" fmla="*/ 187269 w 381345"/>
              <a:gd name="connsiteY4" fmla="*/ 328438 h 1645920"/>
              <a:gd name="connsiteX5" fmla="*/ 306700 w 381345"/>
              <a:gd name="connsiteY5" fmla="*/ 0 h 1645920"/>
              <a:gd name="connsiteX0" fmla="*/ 381345 w 530852"/>
              <a:gd name="connsiteY0" fmla="*/ 1677942 h 1677942"/>
              <a:gd name="connsiteX1" fmla="*/ 135017 w 530852"/>
              <a:gd name="connsiteY1" fmla="*/ 1465204 h 1677942"/>
              <a:gd name="connsiteX2" fmla="*/ 4389 w 530852"/>
              <a:gd name="connsiteY2" fmla="*/ 1110641 h 1677942"/>
              <a:gd name="connsiteX3" fmla="*/ 45443 w 530852"/>
              <a:gd name="connsiteY3" fmla="*/ 744881 h 1677942"/>
              <a:gd name="connsiteX4" fmla="*/ 187269 w 530852"/>
              <a:gd name="connsiteY4" fmla="*/ 360460 h 1677942"/>
              <a:gd name="connsiteX5" fmla="*/ 530852 w 530852"/>
              <a:gd name="connsiteY5" fmla="*/ 0 h 1677942"/>
              <a:gd name="connsiteX0" fmla="*/ 383275 w 532782"/>
              <a:gd name="connsiteY0" fmla="*/ 1677942 h 1677942"/>
              <a:gd name="connsiteX1" fmla="*/ 136947 w 532782"/>
              <a:gd name="connsiteY1" fmla="*/ 1465204 h 1677942"/>
              <a:gd name="connsiteX2" fmla="*/ 6319 w 532782"/>
              <a:gd name="connsiteY2" fmla="*/ 1110641 h 1677942"/>
              <a:gd name="connsiteX3" fmla="*/ 47373 w 532782"/>
              <a:gd name="connsiteY3" fmla="*/ 744881 h 1677942"/>
              <a:gd name="connsiteX4" fmla="*/ 278148 w 532782"/>
              <a:gd name="connsiteY4" fmla="*/ 502779 h 1677942"/>
              <a:gd name="connsiteX5" fmla="*/ 532782 w 532782"/>
              <a:gd name="connsiteY5" fmla="*/ 0 h 1677942"/>
              <a:gd name="connsiteX0" fmla="*/ 376986 w 526493"/>
              <a:gd name="connsiteY0" fmla="*/ 1677942 h 1677942"/>
              <a:gd name="connsiteX1" fmla="*/ 130658 w 526493"/>
              <a:gd name="connsiteY1" fmla="*/ 1465204 h 1677942"/>
              <a:gd name="connsiteX2" fmla="*/ 30 w 526493"/>
              <a:gd name="connsiteY2" fmla="*/ 1110641 h 1677942"/>
              <a:gd name="connsiteX3" fmla="*/ 140708 w 526493"/>
              <a:gd name="connsiteY3" fmla="*/ 865852 h 1677942"/>
              <a:gd name="connsiteX4" fmla="*/ 271859 w 526493"/>
              <a:gd name="connsiteY4" fmla="*/ 502779 h 1677942"/>
              <a:gd name="connsiteX5" fmla="*/ 526493 w 526493"/>
              <a:gd name="connsiteY5" fmla="*/ 0 h 1677942"/>
              <a:gd name="connsiteX0" fmla="*/ 265848 w 415355"/>
              <a:gd name="connsiteY0" fmla="*/ 1677942 h 1677942"/>
              <a:gd name="connsiteX1" fmla="*/ 19520 w 415355"/>
              <a:gd name="connsiteY1" fmla="*/ 1465204 h 1677942"/>
              <a:gd name="connsiteX2" fmla="*/ 16979 w 415355"/>
              <a:gd name="connsiteY2" fmla="*/ 1160452 h 1677942"/>
              <a:gd name="connsiteX3" fmla="*/ 29570 w 415355"/>
              <a:gd name="connsiteY3" fmla="*/ 865852 h 1677942"/>
              <a:gd name="connsiteX4" fmla="*/ 160721 w 415355"/>
              <a:gd name="connsiteY4" fmla="*/ 502779 h 1677942"/>
              <a:gd name="connsiteX5" fmla="*/ 415355 w 415355"/>
              <a:gd name="connsiteY5" fmla="*/ 0 h 1677942"/>
              <a:gd name="connsiteX0" fmla="*/ 258045 w 407552"/>
              <a:gd name="connsiteY0" fmla="*/ 1677942 h 1677942"/>
              <a:gd name="connsiteX1" fmla="*/ 114898 w 407552"/>
              <a:gd name="connsiteY1" fmla="*/ 1490110 h 1677942"/>
              <a:gd name="connsiteX2" fmla="*/ 9176 w 407552"/>
              <a:gd name="connsiteY2" fmla="*/ 1160452 h 1677942"/>
              <a:gd name="connsiteX3" fmla="*/ 21767 w 407552"/>
              <a:gd name="connsiteY3" fmla="*/ 865852 h 1677942"/>
              <a:gd name="connsiteX4" fmla="*/ 152918 w 407552"/>
              <a:gd name="connsiteY4" fmla="*/ 502779 h 1677942"/>
              <a:gd name="connsiteX5" fmla="*/ 407552 w 407552"/>
              <a:gd name="connsiteY5" fmla="*/ 0 h 1677942"/>
              <a:gd name="connsiteX0" fmla="*/ 296145 w 407552"/>
              <a:gd name="connsiteY0" fmla="*/ 1711280 h 1711280"/>
              <a:gd name="connsiteX1" fmla="*/ 114898 w 407552"/>
              <a:gd name="connsiteY1" fmla="*/ 1490110 h 1711280"/>
              <a:gd name="connsiteX2" fmla="*/ 9176 w 407552"/>
              <a:gd name="connsiteY2" fmla="*/ 1160452 h 1711280"/>
              <a:gd name="connsiteX3" fmla="*/ 21767 w 407552"/>
              <a:gd name="connsiteY3" fmla="*/ 865852 h 1711280"/>
              <a:gd name="connsiteX4" fmla="*/ 152918 w 407552"/>
              <a:gd name="connsiteY4" fmla="*/ 502779 h 1711280"/>
              <a:gd name="connsiteX5" fmla="*/ 407552 w 407552"/>
              <a:gd name="connsiteY5" fmla="*/ 0 h 1711280"/>
              <a:gd name="connsiteX0" fmla="*/ 365162 w 476569"/>
              <a:gd name="connsiteY0" fmla="*/ 1711280 h 1711280"/>
              <a:gd name="connsiteX1" fmla="*/ 183915 w 476569"/>
              <a:gd name="connsiteY1" fmla="*/ 1490110 h 1711280"/>
              <a:gd name="connsiteX2" fmla="*/ 78193 w 476569"/>
              <a:gd name="connsiteY2" fmla="*/ 1160452 h 1711280"/>
              <a:gd name="connsiteX3" fmla="*/ 5059 w 476569"/>
              <a:gd name="connsiteY3" fmla="*/ 818227 h 1711280"/>
              <a:gd name="connsiteX4" fmla="*/ 221935 w 476569"/>
              <a:gd name="connsiteY4" fmla="*/ 502779 h 1711280"/>
              <a:gd name="connsiteX5" fmla="*/ 476569 w 476569"/>
              <a:gd name="connsiteY5" fmla="*/ 0 h 1711280"/>
              <a:gd name="connsiteX0" fmla="*/ 367279 w 478686"/>
              <a:gd name="connsiteY0" fmla="*/ 1711280 h 1711280"/>
              <a:gd name="connsiteX1" fmla="*/ 186032 w 478686"/>
              <a:gd name="connsiteY1" fmla="*/ 1490110 h 1711280"/>
              <a:gd name="connsiteX2" fmla="*/ 80310 w 478686"/>
              <a:gd name="connsiteY2" fmla="*/ 1160452 h 1711280"/>
              <a:gd name="connsiteX3" fmla="*/ 7176 w 478686"/>
              <a:gd name="connsiteY3" fmla="*/ 818227 h 1711280"/>
              <a:gd name="connsiteX4" fmla="*/ 262152 w 478686"/>
              <a:gd name="connsiteY4" fmla="*/ 398004 h 1711280"/>
              <a:gd name="connsiteX5" fmla="*/ 478686 w 478686"/>
              <a:gd name="connsiteY5" fmla="*/ 0 h 1711280"/>
              <a:gd name="connsiteX0" fmla="*/ 384347 w 495754"/>
              <a:gd name="connsiteY0" fmla="*/ 1711280 h 1711280"/>
              <a:gd name="connsiteX1" fmla="*/ 203100 w 495754"/>
              <a:gd name="connsiteY1" fmla="*/ 1490110 h 1711280"/>
              <a:gd name="connsiteX2" fmla="*/ 30703 w 495754"/>
              <a:gd name="connsiteY2" fmla="*/ 1208077 h 1711280"/>
              <a:gd name="connsiteX3" fmla="*/ 24244 w 495754"/>
              <a:gd name="connsiteY3" fmla="*/ 818227 h 1711280"/>
              <a:gd name="connsiteX4" fmla="*/ 279220 w 495754"/>
              <a:gd name="connsiteY4" fmla="*/ 398004 h 1711280"/>
              <a:gd name="connsiteX5" fmla="*/ 495754 w 495754"/>
              <a:gd name="connsiteY5" fmla="*/ 0 h 1711280"/>
              <a:gd name="connsiteX0" fmla="*/ 360960 w 472367"/>
              <a:gd name="connsiteY0" fmla="*/ 1711280 h 1711280"/>
              <a:gd name="connsiteX1" fmla="*/ 179713 w 472367"/>
              <a:gd name="connsiteY1" fmla="*/ 1490110 h 1711280"/>
              <a:gd name="connsiteX2" fmla="*/ 857 w 472367"/>
              <a:gd name="connsiteY2" fmla="*/ 818227 h 1711280"/>
              <a:gd name="connsiteX3" fmla="*/ 255833 w 472367"/>
              <a:gd name="connsiteY3" fmla="*/ 398004 h 1711280"/>
              <a:gd name="connsiteX4" fmla="*/ 472367 w 472367"/>
              <a:gd name="connsiteY4" fmla="*/ 0 h 1711280"/>
              <a:gd name="connsiteX0" fmla="*/ 360960 w 472367"/>
              <a:gd name="connsiteY0" fmla="*/ 1711280 h 1711280"/>
              <a:gd name="connsiteX1" fmla="*/ 179713 w 472367"/>
              <a:gd name="connsiteY1" fmla="*/ 1490110 h 1711280"/>
              <a:gd name="connsiteX2" fmla="*/ 857 w 472367"/>
              <a:gd name="connsiteY2" fmla="*/ 818227 h 1711280"/>
              <a:gd name="connsiteX3" fmla="*/ 255833 w 472367"/>
              <a:gd name="connsiteY3" fmla="*/ 398004 h 1711280"/>
              <a:gd name="connsiteX4" fmla="*/ 472367 w 472367"/>
              <a:gd name="connsiteY4" fmla="*/ 0 h 1711280"/>
              <a:gd name="connsiteX0" fmla="*/ 368883 w 480290"/>
              <a:gd name="connsiteY0" fmla="*/ 1711280 h 1711280"/>
              <a:gd name="connsiteX1" fmla="*/ 187636 w 480290"/>
              <a:gd name="connsiteY1" fmla="*/ 1490110 h 1711280"/>
              <a:gd name="connsiteX2" fmla="*/ 8780 w 480290"/>
              <a:gd name="connsiteY2" fmla="*/ 818227 h 1711280"/>
              <a:gd name="connsiteX3" fmla="*/ 480290 w 480290"/>
              <a:gd name="connsiteY3" fmla="*/ 0 h 1711280"/>
              <a:gd name="connsiteX0" fmla="*/ 332392 w 443799"/>
              <a:gd name="connsiteY0" fmla="*/ 1711280 h 1711280"/>
              <a:gd name="connsiteX1" fmla="*/ 151145 w 443799"/>
              <a:gd name="connsiteY1" fmla="*/ 1490110 h 1711280"/>
              <a:gd name="connsiteX2" fmla="*/ 10389 w 443799"/>
              <a:gd name="connsiteY2" fmla="*/ 827752 h 1711280"/>
              <a:gd name="connsiteX3" fmla="*/ 443799 w 443799"/>
              <a:gd name="connsiteY3" fmla="*/ 0 h 1711280"/>
              <a:gd name="connsiteX0" fmla="*/ 345530 w 456937"/>
              <a:gd name="connsiteY0" fmla="*/ 1711280 h 1711280"/>
              <a:gd name="connsiteX1" fmla="*/ 88083 w 456937"/>
              <a:gd name="connsiteY1" fmla="*/ 1328185 h 1711280"/>
              <a:gd name="connsiteX2" fmla="*/ 23527 w 456937"/>
              <a:gd name="connsiteY2" fmla="*/ 827752 h 1711280"/>
              <a:gd name="connsiteX3" fmla="*/ 456937 w 456937"/>
              <a:gd name="connsiteY3" fmla="*/ 0 h 1711280"/>
              <a:gd name="connsiteX0" fmla="*/ 344160 w 436517"/>
              <a:gd name="connsiteY0" fmla="*/ 1711280 h 1711280"/>
              <a:gd name="connsiteX1" fmla="*/ 86713 w 436517"/>
              <a:gd name="connsiteY1" fmla="*/ 1328185 h 1711280"/>
              <a:gd name="connsiteX2" fmla="*/ 22157 w 436517"/>
              <a:gd name="connsiteY2" fmla="*/ 827752 h 1711280"/>
              <a:gd name="connsiteX3" fmla="*/ 436517 w 436517"/>
              <a:gd name="connsiteY3" fmla="*/ 0 h 1711280"/>
              <a:gd name="connsiteX0" fmla="*/ 344160 w 436517"/>
              <a:gd name="connsiteY0" fmla="*/ 1711280 h 1711280"/>
              <a:gd name="connsiteX1" fmla="*/ 86713 w 436517"/>
              <a:gd name="connsiteY1" fmla="*/ 1328185 h 1711280"/>
              <a:gd name="connsiteX2" fmla="*/ 22157 w 436517"/>
              <a:gd name="connsiteY2" fmla="*/ 827752 h 1711280"/>
              <a:gd name="connsiteX3" fmla="*/ 436517 w 436517"/>
              <a:gd name="connsiteY3" fmla="*/ 0 h 1711280"/>
              <a:gd name="connsiteX0" fmla="*/ 275822 w 434854"/>
              <a:gd name="connsiteY0" fmla="*/ 1587455 h 1587455"/>
              <a:gd name="connsiteX1" fmla="*/ 85050 w 434854"/>
              <a:gd name="connsiteY1" fmla="*/ 1328185 h 1587455"/>
              <a:gd name="connsiteX2" fmla="*/ 20494 w 434854"/>
              <a:gd name="connsiteY2" fmla="*/ 827752 h 1587455"/>
              <a:gd name="connsiteX3" fmla="*/ 434854 w 434854"/>
              <a:gd name="connsiteY3" fmla="*/ 0 h 1587455"/>
            </a:gdLst>
            <a:ahLst/>
            <a:cxnLst>
              <a:cxn ang="0">
                <a:pos x="connsiteX0" y="connsiteY0"/>
              </a:cxn>
              <a:cxn ang="0">
                <a:pos x="connsiteX1" y="connsiteY1"/>
              </a:cxn>
              <a:cxn ang="0">
                <a:pos x="connsiteX2" y="connsiteY2"/>
              </a:cxn>
              <a:cxn ang="0">
                <a:pos x="connsiteX3" y="connsiteY3"/>
              </a:cxn>
            </a:cxnLst>
            <a:rect l="l" t="t" r="r" b="b"/>
            <a:pathLst>
              <a:path w="434854" h="1587455">
                <a:moveTo>
                  <a:pt x="275822" y="1587455"/>
                </a:moveTo>
                <a:cubicBezTo>
                  <a:pt x="184071" y="1528361"/>
                  <a:pt x="127605" y="1454802"/>
                  <a:pt x="85050" y="1328185"/>
                </a:cubicBezTo>
                <a:cubicBezTo>
                  <a:pt x="42495" y="1201568"/>
                  <a:pt x="-37807" y="1049116"/>
                  <a:pt x="20494" y="827752"/>
                </a:cubicBezTo>
                <a:cubicBezTo>
                  <a:pt x="78795" y="606388"/>
                  <a:pt x="231848" y="265714"/>
                  <a:pt x="434854" y="0"/>
                </a:cubicBezTo>
              </a:path>
            </a:pathLst>
          </a:custGeom>
          <a:noFill/>
          <a:ln w="38100" cap="rnd">
            <a:solidFill>
              <a:srgbClr val="0070C0"/>
            </a:solidFill>
            <a:prstDash val="sysDash"/>
            <a:tailEnd type="triangle"/>
          </a:ln>
          <a:effectLst>
            <a:outerShdw blurRad="38100" dist="25400" dir="600000" sx="99000" sy="99000" algn="tl"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47" name="Freeform 46"/>
          <p:cNvSpPr/>
          <p:nvPr/>
        </p:nvSpPr>
        <p:spPr>
          <a:xfrm>
            <a:off x="1057129" y="3804960"/>
            <a:ext cx="427907" cy="1593644"/>
          </a:xfrm>
          <a:custGeom>
            <a:avLst/>
            <a:gdLst>
              <a:gd name="connsiteX0" fmla="*/ 228943 w 340910"/>
              <a:gd name="connsiteY0" fmla="*/ 1645920 h 1645920"/>
              <a:gd name="connsiteX1" fmla="*/ 42330 w 340910"/>
              <a:gd name="connsiteY1" fmla="*/ 1291357 h 1645920"/>
              <a:gd name="connsiteX2" fmla="*/ 8740 w 340910"/>
              <a:gd name="connsiteY2" fmla="*/ 929329 h 1645920"/>
              <a:gd name="connsiteX3" fmla="*/ 165494 w 340910"/>
              <a:gd name="connsiteY3" fmla="*/ 440405 h 1645920"/>
              <a:gd name="connsiteX4" fmla="*/ 340910 w 340910"/>
              <a:gd name="connsiteY4" fmla="*/ 0 h 1645920"/>
              <a:gd name="connsiteX0" fmla="*/ 228943 w 575736"/>
              <a:gd name="connsiteY0" fmla="*/ 1649478 h 1649478"/>
              <a:gd name="connsiteX1" fmla="*/ 42330 w 575736"/>
              <a:gd name="connsiteY1" fmla="*/ 1294915 h 1649478"/>
              <a:gd name="connsiteX2" fmla="*/ 8740 w 575736"/>
              <a:gd name="connsiteY2" fmla="*/ 932887 h 1649478"/>
              <a:gd name="connsiteX3" fmla="*/ 165494 w 575736"/>
              <a:gd name="connsiteY3" fmla="*/ 443963 h 1649478"/>
              <a:gd name="connsiteX4" fmla="*/ 575736 w 575736"/>
              <a:gd name="connsiteY4" fmla="*/ 0 h 1649478"/>
              <a:gd name="connsiteX0" fmla="*/ 238624 w 585417"/>
              <a:gd name="connsiteY0" fmla="*/ 1649478 h 1649478"/>
              <a:gd name="connsiteX1" fmla="*/ 52011 w 585417"/>
              <a:gd name="connsiteY1" fmla="*/ 1294915 h 1649478"/>
              <a:gd name="connsiteX2" fmla="*/ 18421 w 585417"/>
              <a:gd name="connsiteY2" fmla="*/ 932887 h 1649478"/>
              <a:gd name="connsiteX3" fmla="*/ 306820 w 585417"/>
              <a:gd name="connsiteY3" fmla="*/ 579166 h 1649478"/>
              <a:gd name="connsiteX4" fmla="*/ 585417 w 585417"/>
              <a:gd name="connsiteY4" fmla="*/ 0 h 1649478"/>
              <a:gd name="connsiteX0" fmla="*/ 187723 w 534516"/>
              <a:gd name="connsiteY0" fmla="*/ 1649478 h 1649478"/>
              <a:gd name="connsiteX1" fmla="*/ 1110 w 534516"/>
              <a:gd name="connsiteY1" fmla="*/ 1294915 h 1649478"/>
              <a:gd name="connsiteX2" fmla="*/ 116955 w 534516"/>
              <a:gd name="connsiteY2" fmla="*/ 986256 h 1649478"/>
              <a:gd name="connsiteX3" fmla="*/ 255919 w 534516"/>
              <a:gd name="connsiteY3" fmla="*/ 579166 h 1649478"/>
              <a:gd name="connsiteX4" fmla="*/ 534516 w 534516"/>
              <a:gd name="connsiteY4" fmla="*/ 0 h 1649478"/>
              <a:gd name="connsiteX0" fmla="*/ 276285 w 537687"/>
              <a:gd name="connsiteY0" fmla="*/ 1617456 h 1617456"/>
              <a:gd name="connsiteX1" fmla="*/ 4281 w 537687"/>
              <a:gd name="connsiteY1" fmla="*/ 1294915 h 1617456"/>
              <a:gd name="connsiteX2" fmla="*/ 120126 w 537687"/>
              <a:gd name="connsiteY2" fmla="*/ 986256 h 1617456"/>
              <a:gd name="connsiteX3" fmla="*/ 259090 w 537687"/>
              <a:gd name="connsiteY3" fmla="*/ 579166 h 1617456"/>
              <a:gd name="connsiteX4" fmla="*/ 537687 w 537687"/>
              <a:gd name="connsiteY4" fmla="*/ 0 h 1617456"/>
              <a:gd name="connsiteX0" fmla="*/ 173722 w 435124"/>
              <a:gd name="connsiteY0" fmla="*/ 1617456 h 1617456"/>
              <a:gd name="connsiteX1" fmla="*/ 19131 w 435124"/>
              <a:gd name="connsiteY1" fmla="*/ 1291357 h 1617456"/>
              <a:gd name="connsiteX2" fmla="*/ 17563 w 435124"/>
              <a:gd name="connsiteY2" fmla="*/ 986256 h 1617456"/>
              <a:gd name="connsiteX3" fmla="*/ 156527 w 435124"/>
              <a:gd name="connsiteY3" fmla="*/ 579166 h 1617456"/>
              <a:gd name="connsiteX4" fmla="*/ 435124 w 435124"/>
              <a:gd name="connsiteY4" fmla="*/ 0 h 1617456"/>
              <a:gd name="connsiteX0" fmla="*/ 188913 w 436027"/>
              <a:gd name="connsiteY0" fmla="*/ 1707944 h 1707944"/>
              <a:gd name="connsiteX1" fmla="*/ 20034 w 436027"/>
              <a:gd name="connsiteY1" fmla="*/ 1291357 h 1707944"/>
              <a:gd name="connsiteX2" fmla="*/ 18466 w 436027"/>
              <a:gd name="connsiteY2" fmla="*/ 986256 h 1707944"/>
              <a:gd name="connsiteX3" fmla="*/ 157430 w 436027"/>
              <a:gd name="connsiteY3" fmla="*/ 579166 h 1707944"/>
              <a:gd name="connsiteX4" fmla="*/ 436027 w 436027"/>
              <a:gd name="connsiteY4" fmla="*/ 0 h 1707944"/>
              <a:gd name="connsiteX0" fmla="*/ 187772 w 434886"/>
              <a:gd name="connsiteY0" fmla="*/ 1707944 h 1707944"/>
              <a:gd name="connsiteX1" fmla="*/ 18893 w 434886"/>
              <a:gd name="connsiteY1" fmla="*/ 1291357 h 1707944"/>
              <a:gd name="connsiteX2" fmla="*/ 17325 w 434886"/>
              <a:gd name="connsiteY2" fmla="*/ 986256 h 1707944"/>
              <a:gd name="connsiteX3" fmla="*/ 137239 w 434886"/>
              <a:gd name="connsiteY3" fmla="*/ 569641 h 1707944"/>
              <a:gd name="connsiteX4" fmla="*/ 434886 w 434886"/>
              <a:gd name="connsiteY4" fmla="*/ 0 h 1707944"/>
              <a:gd name="connsiteX0" fmla="*/ 187772 w 434886"/>
              <a:gd name="connsiteY0" fmla="*/ 1707944 h 1707944"/>
              <a:gd name="connsiteX1" fmla="*/ 18893 w 434886"/>
              <a:gd name="connsiteY1" fmla="*/ 1291357 h 1707944"/>
              <a:gd name="connsiteX2" fmla="*/ 17325 w 434886"/>
              <a:gd name="connsiteY2" fmla="*/ 986256 h 1707944"/>
              <a:gd name="connsiteX3" fmla="*/ 137239 w 434886"/>
              <a:gd name="connsiteY3" fmla="*/ 569641 h 1707944"/>
              <a:gd name="connsiteX4" fmla="*/ 434886 w 434886"/>
              <a:gd name="connsiteY4" fmla="*/ 0 h 1707944"/>
              <a:gd name="connsiteX0" fmla="*/ 186150 w 433264"/>
              <a:gd name="connsiteY0" fmla="*/ 1707944 h 1707944"/>
              <a:gd name="connsiteX1" fmla="*/ 17271 w 433264"/>
              <a:gd name="connsiteY1" fmla="*/ 1291357 h 1707944"/>
              <a:gd name="connsiteX2" fmla="*/ 15703 w 433264"/>
              <a:gd name="connsiteY2" fmla="*/ 986256 h 1707944"/>
              <a:gd name="connsiteX3" fmla="*/ 107042 w 433264"/>
              <a:gd name="connsiteY3" fmla="*/ 560116 h 1707944"/>
              <a:gd name="connsiteX4" fmla="*/ 433264 w 433264"/>
              <a:gd name="connsiteY4" fmla="*/ 0 h 1707944"/>
              <a:gd name="connsiteX0" fmla="*/ 197883 w 444997"/>
              <a:gd name="connsiteY0" fmla="*/ 1707944 h 1707944"/>
              <a:gd name="connsiteX1" fmla="*/ 29004 w 444997"/>
              <a:gd name="connsiteY1" fmla="*/ 1291357 h 1707944"/>
              <a:gd name="connsiteX2" fmla="*/ 8386 w 444997"/>
              <a:gd name="connsiteY2" fmla="*/ 986256 h 1707944"/>
              <a:gd name="connsiteX3" fmla="*/ 118775 w 444997"/>
              <a:gd name="connsiteY3" fmla="*/ 560116 h 1707944"/>
              <a:gd name="connsiteX4" fmla="*/ 444997 w 444997"/>
              <a:gd name="connsiteY4" fmla="*/ 0 h 1707944"/>
              <a:gd name="connsiteX0" fmla="*/ 368694 w 453883"/>
              <a:gd name="connsiteY0" fmla="*/ 1669844 h 1669844"/>
              <a:gd name="connsiteX1" fmla="*/ 37890 w 453883"/>
              <a:gd name="connsiteY1" fmla="*/ 1291357 h 1669844"/>
              <a:gd name="connsiteX2" fmla="*/ 17272 w 453883"/>
              <a:gd name="connsiteY2" fmla="*/ 986256 h 1669844"/>
              <a:gd name="connsiteX3" fmla="*/ 127661 w 453883"/>
              <a:gd name="connsiteY3" fmla="*/ 560116 h 1669844"/>
              <a:gd name="connsiteX4" fmla="*/ 453883 w 453883"/>
              <a:gd name="connsiteY4" fmla="*/ 0 h 1669844"/>
              <a:gd name="connsiteX0" fmla="*/ 352157 w 437346"/>
              <a:gd name="connsiteY0" fmla="*/ 1669844 h 1669844"/>
              <a:gd name="connsiteX1" fmla="*/ 78503 w 437346"/>
              <a:gd name="connsiteY1" fmla="*/ 1262782 h 1669844"/>
              <a:gd name="connsiteX2" fmla="*/ 735 w 437346"/>
              <a:gd name="connsiteY2" fmla="*/ 986256 h 1669844"/>
              <a:gd name="connsiteX3" fmla="*/ 111124 w 437346"/>
              <a:gd name="connsiteY3" fmla="*/ 560116 h 1669844"/>
              <a:gd name="connsiteX4" fmla="*/ 437346 w 437346"/>
              <a:gd name="connsiteY4" fmla="*/ 0 h 1669844"/>
              <a:gd name="connsiteX0" fmla="*/ 342868 w 428057"/>
              <a:gd name="connsiteY0" fmla="*/ 1669844 h 1669844"/>
              <a:gd name="connsiteX1" fmla="*/ 69214 w 428057"/>
              <a:gd name="connsiteY1" fmla="*/ 1262782 h 1669844"/>
              <a:gd name="connsiteX2" fmla="*/ 971 w 428057"/>
              <a:gd name="connsiteY2" fmla="*/ 891006 h 1669844"/>
              <a:gd name="connsiteX3" fmla="*/ 101835 w 428057"/>
              <a:gd name="connsiteY3" fmla="*/ 560116 h 1669844"/>
              <a:gd name="connsiteX4" fmla="*/ 428057 w 428057"/>
              <a:gd name="connsiteY4" fmla="*/ 0 h 1669844"/>
              <a:gd name="connsiteX0" fmla="*/ 314143 w 427907"/>
              <a:gd name="connsiteY0" fmla="*/ 1593644 h 1593644"/>
              <a:gd name="connsiteX1" fmla="*/ 69064 w 427907"/>
              <a:gd name="connsiteY1" fmla="*/ 1262782 h 1593644"/>
              <a:gd name="connsiteX2" fmla="*/ 821 w 427907"/>
              <a:gd name="connsiteY2" fmla="*/ 891006 h 1593644"/>
              <a:gd name="connsiteX3" fmla="*/ 101685 w 427907"/>
              <a:gd name="connsiteY3" fmla="*/ 560116 h 1593644"/>
              <a:gd name="connsiteX4" fmla="*/ 427907 w 427907"/>
              <a:gd name="connsiteY4" fmla="*/ 0 h 1593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907" h="1593644">
                <a:moveTo>
                  <a:pt x="314143" y="1593644"/>
                </a:moveTo>
                <a:cubicBezTo>
                  <a:pt x="239186" y="1476078"/>
                  <a:pt x="121284" y="1379888"/>
                  <a:pt x="69064" y="1262782"/>
                </a:cubicBezTo>
                <a:cubicBezTo>
                  <a:pt x="16844" y="1145676"/>
                  <a:pt x="-4616" y="1008117"/>
                  <a:pt x="821" y="891006"/>
                </a:cubicBezTo>
                <a:cubicBezTo>
                  <a:pt x="6258" y="773895"/>
                  <a:pt x="46323" y="715004"/>
                  <a:pt x="101685" y="560116"/>
                </a:cubicBezTo>
                <a:cubicBezTo>
                  <a:pt x="157047" y="405228"/>
                  <a:pt x="301205" y="180858"/>
                  <a:pt x="427907" y="0"/>
                </a:cubicBezTo>
              </a:path>
            </a:pathLst>
          </a:custGeom>
          <a:noFill/>
          <a:ln w="38100" cap="rnd">
            <a:solidFill>
              <a:srgbClr val="0070C0"/>
            </a:solidFill>
            <a:prstDash val="sysDash"/>
            <a:tailEnd type="triangle"/>
          </a:ln>
          <a:effectLst>
            <a:outerShdw blurRad="38100" dist="25400" dir="600000" sx="99000" sy="99000" algn="tl"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cxnSp>
        <p:nvCxnSpPr>
          <p:cNvPr id="48" name="Straight Arrow Connector 47"/>
          <p:cNvCxnSpPr/>
          <p:nvPr/>
        </p:nvCxnSpPr>
        <p:spPr>
          <a:xfrm flipH="1" flipV="1">
            <a:off x="1021812" y="4322338"/>
            <a:ext cx="496136" cy="305361"/>
          </a:xfrm>
          <a:prstGeom prst="straightConnector1">
            <a:avLst/>
          </a:prstGeom>
          <a:ln w="28575">
            <a:solidFill>
              <a:schemeClr val="bg1"/>
            </a:solidFill>
            <a:prstDash val="solid"/>
            <a:tailEnd type="triangle"/>
          </a:ln>
        </p:spPr>
        <p:style>
          <a:lnRef idx="1">
            <a:schemeClr val="dk1"/>
          </a:lnRef>
          <a:fillRef idx="0">
            <a:schemeClr val="dk1"/>
          </a:fillRef>
          <a:effectRef idx="0">
            <a:schemeClr val="dk1"/>
          </a:effectRef>
          <a:fontRef idx="minor">
            <a:schemeClr val="tx1"/>
          </a:fontRef>
        </p:style>
      </p:cxnSp>
      <p:cxnSp>
        <p:nvCxnSpPr>
          <p:cNvPr id="49" name="Straight Arrow Connector 48"/>
          <p:cNvCxnSpPr/>
          <p:nvPr/>
        </p:nvCxnSpPr>
        <p:spPr>
          <a:xfrm flipH="1" flipV="1">
            <a:off x="1046173" y="4767440"/>
            <a:ext cx="383430" cy="101290"/>
          </a:xfrm>
          <a:prstGeom prst="straightConnector1">
            <a:avLst/>
          </a:prstGeom>
          <a:ln w="28575">
            <a:solidFill>
              <a:schemeClr val="bg1"/>
            </a:solidFill>
            <a:prstDash val="solid"/>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p:cNvCxnSpPr/>
          <p:nvPr/>
        </p:nvCxnSpPr>
        <p:spPr>
          <a:xfrm rot="21213916" flipH="1">
            <a:off x="1193161" y="5078907"/>
            <a:ext cx="242321" cy="60718"/>
          </a:xfrm>
          <a:prstGeom prst="straightConnector1">
            <a:avLst/>
          </a:prstGeom>
          <a:ln w="28575">
            <a:solidFill>
              <a:schemeClr val="bg1"/>
            </a:solidFill>
            <a:prstDash val="solid"/>
            <a:tailEnd type="triangle"/>
          </a:ln>
        </p:spPr>
        <p:style>
          <a:lnRef idx="1">
            <a:schemeClr val="dk1"/>
          </a:lnRef>
          <a:fillRef idx="0">
            <a:schemeClr val="dk1"/>
          </a:fillRef>
          <a:effectRef idx="0">
            <a:schemeClr val="dk1"/>
          </a:effectRef>
          <a:fontRef idx="minor">
            <a:schemeClr val="tx1"/>
          </a:fontRef>
        </p:style>
      </p:cxnSp>
      <p:sp>
        <p:nvSpPr>
          <p:cNvPr id="51" name="Freeform 50"/>
          <p:cNvSpPr/>
          <p:nvPr/>
        </p:nvSpPr>
        <p:spPr>
          <a:xfrm flipH="1">
            <a:off x="1797110" y="3797345"/>
            <a:ext cx="322417" cy="1619335"/>
          </a:xfrm>
          <a:custGeom>
            <a:avLst/>
            <a:gdLst>
              <a:gd name="connsiteX0" fmla="*/ 481962 w 481962"/>
              <a:gd name="connsiteY0" fmla="*/ 1612330 h 1612330"/>
              <a:gd name="connsiteX1" fmla="*/ 105005 w 481962"/>
              <a:gd name="connsiteY1" fmla="*/ 1321215 h 1612330"/>
              <a:gd name="connsiteX2" fmla="*/ 502 w 481962"/>
              <a:gd name="connsiteY2" fmla="*/ 918132 h 1612330"/>
              <a:gd name="connsiteX3" fmla="*/ 71415 w 481962"/>
              <a:gd name="connsiteY3" fmla="*/ 515050 h 1612330"/>
              <a:gd name="connsiteX4" fmla="*/ 205775 w 481962"/>
              <a:gd name="connsiteY4" fmla="*/ 179148 h 1612330"/>
              <a:gd name="connsiteX5" fmla="*/ 272956 w 481962"/>
              <a:gd name="connsiteY5" fmla="*/ 0 h 1612330"/>
              <a:gd name="connsiteX0" fmla="*/ 481962 w 481962"/>
              <a:gd name="connsiteY0" fmla="*/ 1647910 h 1647910"/>
              <a:gd name="connsiteX1" fmla="*/ 105005 w 481962"/>
              <a:gd name="connsiteY1" fmla="*/ 1356795 h 1647910"/>
              <a:gd name="connsiteX2" fmla="*/ 502 w 481962"/>
              <a:gd name="connsiteY2" fmla="*/ 953712 h 1647910"/>
              <a:gd name="connsiteX3" fmla="*/ 71415 w 481962"/>
              <a:gd name="connsiteY3" fmla="*/ 550630 h 1647910"/>
              <a:gd name="connsiteX4" fmla="*/ 205775 w 481962"/>
              <a:gd name="connsiteY4" fmla="*/ 214728 h 1647910"/>
              <a:gd name="connsiteX5" fmla="*/ 376138 w 481962"/>
              <a:gd name="connsiteY5" fmla="*/ 0 h 1647910"/>
              <a:gd name="connsiteX0" fmla="*/ 482016 w 482016"/>
              <a:gd name="connsiteY0" fmla="*/ 1647910 h 1647910"/>
              <a:gd name="connsiteX1" fmla="*/ 105059 w 482016"/>
              <a:gd name="connsiteY1" fmla="*/ 1356795 h 1647910"/>
              <a:gd name="connsiteX2" fmla="*/ 556 w 482016"/>
              <a:gd name="connsiteY2" fmla="*/ 953712 h 1647910"/>
              <a:gd name="connsiteX3" fmla="*/ 71469 w 482016"/>
              <a:gd name="connsiteY3" fmla="*/ 550630 h 1647910"/>
              <a:gd name="connsiteX4" fmla="*/ 234293 w 482016"/>
              <a:gd name="connsiteY4" fmla="*/ 250308 h 1647910"/>
              <a:gd name="connsiteX5" fmla="*/ 376192 w 482016"/>
              <a:gd name="connsiteY5" fmla="*/ 0 h 1647910"/>
              <a:gd name="connsiteX0" fmla="*/ 482381 w 482381"/>
              <a:gd name="connsiteY0" fmla="*/ 1647910 h 1647910"/>
              <a:gd name="connsiteX1" fmla="*/ 105424 w 482381"/>
              <a:gd name="connsiteY1" fmla="*/ 1356795 h 1647910"/>
              <a:gd name="connsiteX2" fmla="*/ 921 w 482381"/>
              <a:gd name="connsiteY2" fmla="*/ 953712 h 1647910"/>
              <a:gd name="connsiteX3" fmla="*/ 64718 w 482381"/>
              <a:gd name="connsiteY3" fmla="*/ 628905 h 1647910"/>
              <a:gd name="connsiteX4" fmla="*/ 234658 w 482381"/>
              <a:gd name="connsiteY4" fmla="*/ 250308 h 1647910"/>
              <a:gd name="connsiteX5" fmla="*/ 376557 w 482381"/>
              <a:gd name="connsiteY5" fmla="*/ 0 h 1647910"/>
              <a:gd name="connsiteX0" fmla="*/ 483125 w 483125"/>
              <a:gd name="connsiteY0" fmla="*/ 1647910 h 1647910"/>
              <a:gd name="connsiteX1" fmla="*/ 123957 w 483125"/>
              <a:gd name="connsiteY1" fmla="*/ 1360353 h 1647910"/>
              <a:gd name="connsiteX2" fmla="*/ 1665 w 483125"/>
              <a:gd name="connsiteY2" fmla="*/ 953712 h 1647910"/>
              <a:gd name="connsiteX3" fmla="*/ 65462 w 483125"/>
              <a:gd name="connsiteY3" fmla="*/ 628905 h 1647910"/>
              <a:gd name="connsiteX4" fmla="*/ 235402 w 483125"/>
              <a:gd name="connsiteY4" fmla="*/ 250308 h 1647910"/>
              <a:gd name="connsiteX5" fmla="*/ 377301 w 483125"/>
              <a:gd name="connsiteY5" fmla="*/ 0 h 1647910"/>
              <a:gd name="connsiteX0" fmla="*/ 483125 w 483125"/>
              <a:gd name="connsiteY0" fmla="*/ 1666960 h 1666960"/>
              <a:gd name="connsiteX1" fmla="*/ 123957 w 483125"/>
              <a:gd name="connsiteY1" fmla="*/ 1379403 h 1666960"/>
              <a:gd name="connsiteX2" fmla="*/ 1665 w 483125"/>
              <a:gd name="connsiteY2" fmla="*/ 972762 h 1666960"/>
              <a:gd name="connsiteX3" fmla="*/ 65462 w 483125"/>
              <a:gd name="connsiteY3" fmla="*/ 647955 h 1666960"/>
              <a:gd name="connsiteX4" fmla="*/ 235402 w 483125"/>
              <a:gd name="connsiteY4" fmla="*/ 269358 h 1666960"/>
              <a:gd name="connsiteX5" fmla="*/ 453501 w 483125"/>
              <a:gd name="connsiteY5" fmla="*/ 0 h 1666960"/>
              <a:gd name="connsiteX0" fmla="*/ 483383 w 483383"/>
              <a:gd name="connsiteY0" fmla="*/ 1666960 h 1666960"/>
              <a:gd name="connsiteX1" fmla="*/ 124215 w 483383"/>
              <a:gd name="connsiteY1" fmla="*/ 1379403 h 1666960"/>
              <a:gd name="connsiteX2" fmla="*/ 1923 w 483383"/>
              <a:gd name="connsiteY2" fmla="*/ 972762 h 1666960"/>
              <a:gd name="connsiteX3" fmla="*/ 65720 w 483383"/>
              <a:gd name="connsiteY3" fmla="*/ 647955 h 1666960"/>
              <a:gd name="connsiteX4" fmla="*/ 273760 w 483383"/>
              <a:gd name="connsiteY4" fmla="*/ 269358 h 1666960"/>
              <a:gd name="connsiteX5" fmla="*/ 453759 w 483383"/>
              <a:gd name="connsiteY5" fmla="*/ 0 h 1666960"/>
              <a:gd name="connsiteX0" fmla="*/ 483383 w 483383"/>
              <a:gd name="connsiteY0" fmla="*/ 1666960 h 1666960"/>
              <a:gd name="connsiteX1" fmla="*/ 124215 w 483383"/>
              <a:gd name="connsiteY1" fmla="*/ 1379403 h 1666960"/>
              <a:gd name="connsiteX2" fmla="*/ 1923 w 483383"/>
              <a:gd name="connsiteY2" fmla="*/ 972762 h 1666960"/>
              <a:gd name="connsiteX3" fmla="*/ 65720 w 483383"/>
              <a:gd name="connsiteY3" fmla="*/ 647955 h 1666960"/>
              <a:gd name="connsiteX4" fmla="*/ 273760 w 483383"/>
              <a:gd name="connsiteY4" fmla="*/ 269358 h 1666960"/>
              <a:gd name="connsiteX5" fmla="*/ 453759 w 483383"/>
              <a:gd name="connsiteY5" fmla="*/ 0 h 1666960"/>
              <a:gd name="connsiteX0" fmla="*/ 486254 w 486254"/>
              <a:gd name="connsiteY0" fmla="*/ 1666960 h 1666960"/>
              <a:gd name="connsiteX1" fmla="*/ 127086 w 486254"/>
              <a:gd name="connsiteY1" fmla="*/ 1379403 h 1666960"/>
              <a:gd name="connsiteX2" fmla="*/ 4794 w 486254"/>
              <a:gd name="connsiteY2" fmla="*/ 972762 h 1666960"/>
              <a:gd name="connsiteX3" fmla="*/ 68591 w 486254"/>
              <a:gd name="connsiteY3" fmla="*/ 647955 h 1666960"/>
              <a:gd name="connsiteX4" fmla="*/ 456630 w 486254"/>
              <a:gd name="connsiteY4" fmla="*/ 0 h 1666960"/>
              <a:gd name="connsiteX0" fmla="*/ 486254 w 486254"/>
              <a:gd name="connsiteY0" fmla="*/ 1666960 h 1666960"/>
              <a:gd name="connsiteX1" fmla="*/ 127086 w 486254"/>
              <a:gd name="connsiteY1" fmla="*/ 1379403 h 1666960"/>
              <a:gd name="connsiteX2" fmla="*/ 4794 w 486254"/>
              <a:gd name="connsiteY2" fmla="*/ 972762 h 1666960"/>
              <a:gd name="connsiteX3" fmla="*/ 68591 w 486254"/>
              <a:gd name="connsiteY3" fmla="*/ 647955 h 1666960"/>
              <a:gd name="connsiteX4" fmla="*/ 456630 w 486254"/>
              <a:gd name="connsiteY4" fmla="*/ 0 h 1666960"/>
              <a:gd name="connsiteX0" fmla="*/ 484031 w 484031"/>
              <a:gd name="connsiteY0" fmla="*/ 1666960 h 1666960"/>
              <a:gd name="connsiteX1" fmla="*/ 124863 w 484031"/>
              <a:gd name="connsiteY1" fmla="*/ 1379403 h 1666960"/>
              <a:gd name="connsiteX2" fmla="*/ 2571 w 484031"/>
              <a:gd name="connsiteY2" fmla="*/ 972762 h 1666960"/>
              <a:gd name="connsiteX3" fmla="*/ 66368 w 484031"/>
              <a:gd name="connsiteY3" fmla="*/ 647955 h 1666960"/>
              <a:gd name="connsiteX4" fmla="*/ 454407 w 484031"/>
              <a:gd name="connsiteY4" fmla="*/ 0 h 1666960"/>
              <a:gd name="connsiteX0" fmla="*/ 512190 w 512190"/>
              <a:gd name="connsiteY0" fmla="*/ 1666960 h 1666960"/>
              <a:gd name="connsiteX1" fmla="*/ 153022 w 512190"/>
              <a:gd name="connsiteY1" fmla="*/ 1379403 h 1666960"/>
              <a:gd name="connsiteX2" fmla="*/ 2155 w 512190"/>
              <a:gd name="connsiteY2" fmla="*/ 972762 h 1666960"/>
              <a:gd name="connsiteX3" fmla="*/ 94527 w 512190"/>
              <a:gd name="connsiteY3" fmla="*/ 647955 h 1666960"/>
              <a:gd name="connsiteX4" fmla="*/ 482566 w 512190"/>
              <a:gd name="connsiteY4" fmla="*/ 0 h 1666960"/>
              <a:gd name="connsiteX0" fmla="*/ 510823 w 510823"/>
              <a:gd name="connsiteY0" fmla="*/ 1666960 h 1666960"/>
              <a:gd name="connsiteX1" fmla="*/ 123080 w 510823"/>
              <a:gd name="connsiteY1" fmla="*/ 1388928 h 1666960"/>
              <a:gd name="connsiteX2" fmla="*/ 788 w 510823"/>
              <a:gd name="connsiteY2" fmla="*/ 972762 h 1666960"/>
              <a:gd name="connsiteX3" fmla="*/ 93160 w 510823"/>
              <a:gd name="connsiteY3" fmla="*/ 647955 h 1666960"/>
              <a:gd name="connsiteX4" fmla="*/ 481199 w 510823"/>
              <a:gd name="connsiteY4" fmla="*/ 0 h 1666960"/>
              <a:gd name="connsiteX0" fmla="*/ 510106 w 510106"/>
              <a:gd name="connsiteY0" fmla="*/ 1666960 h 1666960"/>
              <a:gd name="connsiteX1" fmla="*/ 122363 w 510106"/>
              <a:gd name="connsiteY1" fmla="*/ 1388928 h 1666960"/>
              <a:gd name="connsiteX2" fmla="*/ 71 w 510106"/>
              <a:gd name="connsiteY2" fmla="*/ 972762 h 1666960"/>
              <a:gd name="connsiteX3" fmla="*/ 111493 w 510106"/>
              <a:gd name="connsiteY3" fmla="*/ 466980 h 1666960"/>
              <a:gd name="connsiteX4" fmla="*/ 480482 w 510106"/>
              <a:gd name="connsiteY4" fmla="*/ 0 h 1666960"/>
              <a:gd name="connsiteX0" fmla="*/ 510298 w 510298"/>
              <a:gd name="connsiteY0" fmla="*/ 1666960 h 1666960"/>
              <a:gd name="connsiteX1" fmla="*/ 122555 w 510298"/>
              <a:gd name="connsiteY1" fmla="*/ 1388928 h 1666960"/>
              <a:gd name="connsiteX2" fmla="*/ 263 w 510298"/>
              <a:gd name="connsiteY2" fmla="*/ 972762 h 1666960"/>
              <a:gd name="connsiteX3" fmla="*/ 111685 w 510298"/>
              <a:gd name="connsiteY3" fmla="*/ 466980 h 1666960"/>
              <a:gd name="connsiteX4" fmla="*/ 480674 w 510298"/>
              <a:gd name="connsiteY4" fmla="*/ 0 h 1666960"/>
              <a:gd name="connsiteX0" fmla="*/ 529133 w 529133"/>
              <a:gd name="connsiteY0" fmla="*/ 1666960 h 1666960"/>
              <a:gd name="connsiteX1" fmla="*/ 141390 w 529133"/>
              <a:gd name="connsiteY1" fmla="*/ 1388928 h 1666960"/>
              <a:gd name="connsiteX2" fmla="*/ 48 w 529133"/>
              <a:gd name="connsiteY2" fmla="*/ 963237 h 1666960"/>
              <a:gd name="connsiteX3" fmla="*/ 130520 w 529133"/>
              <a:gd name="connsiteY3" fmla="*/ 466980 h 1666960"/>
              <a:gd name="connsiteX4" fmla="*/ 499509 w 529133"/>
              <a:gd name="connsiteY4" fmla="*/ 0 h 1666960"/>
              <a:gd name="connsiteX0" fmla="*/ 529133 w 529133"/>
              <a:gd name="connsiteY0" fmla="*/ 1647910 h 1647910"/>
              <a:gd name="connsiteX1" fmla="*/ 141390 w 529133"/>
              <a:gd name="connsiteY1" fmla="*/ 1369878 h 1647910"/>
              <a:gd name="connsiteX2" fmla="*/ 48 w 529133"/>
              <a:gd name="connsiteY2" fmla="*/ 944187 h 1647910"/>
              <a:gd name="connsiteX3" fmla="*/ 130520 w 529133"/>
              <a:gd name="connsiteY3" fmla="*/ 447930 h 1647910"/>
              <a:gd name="connsiteX4" fmla="*/ 394734 w 529133"/>
              <a:gd name="connsiteY4" fmla="*/ 0 h 1647910"/>
              <a:gd name="connsiteX0" fmla="*/ 529133 w 529133"/>
              <a:gd name="connsiteY0" fmla="*/ 1647910 h 1647910"/>
              <a:gd name="connsiteX1" fmla="*/ 141390 w 529133"/>
              <a:gd name="connsiteY1" fmla="*/ 1369878 h 1647910"/>
              <a:gd name="connsiteX2" fmla="*/ 48 w 529133"/>
              <a:gd name="connsiteY2" fmla="*/ 944187 h 1647910"/>
              <a:gd name="connsiteX3" fmla="*/ 130520 w 529133"/>
              <a:gd name="connsiteY3" fmla="*/ 447930 h 1647910"/>
              <a:gd name="connsiteX4" fmla="*/ 394734 w 529133"/>
              <a:gd name="connsiteY4" fmla="*/ 0 h 1647910"/>
              <a:gd name="connsiteX0" fmla="*/ 530906 w 530906"/>
              <a:gd name="connsiteY0" fmla="*/ 1647910 h 1647910"/>
              <a:gd name="connsiteX1" fmla="*/ 143163 w 530906"/>
              <a:gd name="connsiteY1" fmla="*/ 1369878 h 1647910"/>
              <a:gd name="connsiteX2" fmla="*/ 1821 w 530906"/>
              <a:gd name="connsiteY2" fmla="*/ 944187 h 1647910"/>
              <a:gd name="connsiteX3" fmla="*/ 94193 w 530906"/>
              <a:gd name="connsiteY3" fmla="*/ 466980 h 1647910"/>
              <a:gd name="connsiteX4" fmla="*/ 396507 w 530906"/>
              <a:gd name="connsiteY4" fmla="*/ 0 h 1647910"/>
              <a:gd name="connsiteX0" fmla="*/ 530906 w 530906"/>
              <a:gd name="connsiteY0" fmla="*/ 1638385 h 1638385"/>
              <a:gd name="connsiteX1" fmla="*/ 143163 w 530906"/>
              <a:gd name="connsiteY1" fmla="*/ 1360353 h 1638385"/>
              <a:gd name="connsiteX2" fmla="*/ 1821 w 530906"/>
              <a:gd name="connsiteY2" fmla="*/ 934662 h 1638385"/>
              <a:gd name="connsiteX3" fmla="*/ 94193 w 530906"/>
              <a:gd name="connsiteY3" fmla="*/ 457455 h 1638385"/>
              <a:gd name="connsiteX4" fmla="*/ 348882 w 530906"/>
              <a:gd name="connsiteY4" fmla="*/ 0 h 1638385"/>
              <a:gd name="connsiteX0" fmla="*/ 530906 w 530906"/>
              <a:gd name="connsiteY0" fmla="*/ 1638385 h 1638385"/>
              <a:gd name="connsiteX1" fmla="*/ 143163 w 530906"/>
              <a:gd name="connsiteY1" fmla="*/ 1360353 h 1638385"/>
              <a:gd name="connsiteX2" fmla="*/ 1821 w 530906"/>
              <a:gd name="connsiteY2" fmla="*/ 934662 h 1638385"/>
              <a:gd name="connsiteX3" fmla="*/ 94193 w 530906"/>
              <a:gd name="connsiteY3" fmla="*/ 457455 h 1638385"/>
              <a:gd name="connsiteX4" fmla="*/ 348882 w 530906"/>
              <a:gd name="connsiteY4" fmla="*/ 0 h 1638385"/>
              <a:gd name="connsiteX0" fmla="*/ 506106 w 506106"/>
              <a:gd name="connsiteY0" fmla="*/ 1638385 h 1638385"/>
              <a:gd name="connsiteX1" fmla="*/ 118363 w 506106"/>
              <a:gd name="connsiteY1" fmla="*/ 1360353 h 1638385"/>
              <a:gd name="connsiteX2" fmla="*/ 5596 w 506106"/>
              <a:gd name="connsiteY2" fmla="*/ 877512 h 1638385"/>
              <a:gd name="connsiteX3" fmla="*/ 69393 w 506106"/>
              <a:gd name="connsiteY3" fmla="*/ 457455 h 1638385"/>
              <a:gd name="connsiteX4" fmla="*/ 324082 w 506106"/>
              <a:gd name="connsiteY4" fmla="*/ 0 h 1638385"/>
              <a:gd name="connsiteX0" fmla="*/ 500512 w 500512"/>
              <a:gd name="connsiteY0" fmla="*/ 1638385 h 1638385"/>
              <a:gd name="connsiteX1" fmla="*/ 112769 w 500512"/>
              <a:gd name="connsiteY1" fmla="*/ 1360353 h 1638385"/>
              <a:gd name="connsiteX2" fmla="*/ 2 w 500512"/>
              <a:gd name="connsiteY2" fmla="*/ 877512 h 1638385"/>
              <a:gd name="connsiteX3" fmla="*/ 111424 w 500512"/>
              <a:gd name="connsiteY3" fmla="*/ 419355 h 1638385"/>
              <a:gd name="connsiteX4" fmla="*/ 318488 w 500512"/>
              <a:gd name="connsiteY4" fmla="*/ 0 h 1638385"/>
              <a:gd name="connsiteX0" fmla="*/ 500511 w 500511"/>
              <a:gd name="connsiteY0" fmla="*/ 1638385 h 1638385"/>
              <a:gd name="connsiteX1" fmla="*/ 112768 w 500511"/>
              <a:gd name="connsiteY1" fmla="*/ 1360353 h 1638385"/>
              <a:gd name="connsiteX2" fmla="*/ 1 w 500511"/>
              <a:gd name="connsiteY2" fmla="*/ 877512 h 1638385"/>
              <a:gd name="connsiteX3" fmla="*/ 111423 w 500511"/>
              <a:gd name="connsiteY3" fmla="*/ 419355 h 1638385"/>
              <a:gd name="connsiteX4" fmla="*/ 318487 w 500511"/>
              <a:gd name="connsiteY4" fmla="*/ 0 h 1638385"/>
              <a:gd name="connsiteX0" fmla="*/ 500511 w 500511"/>
              <a:gd name="connsiteY0" fmla="*/ 1638385 h 1638385"/>
              <a:gd name="connsiteX1" fmla="*/ 112768 w 500511"/>
              <a:gd name="connsiteY1" fmla="*/ 1360353 h 1638385"/>
              <a:gd name="connsiteX2" fmla="*/ 1 w 500511"/>
              <a:gd name="connsiteY2" fmla="*/ 877512 h 1638385"/>
              <a:gd name="connsiteX3" fmla="*/ 111423 w 500511"/>
              <a:gd name="connsiteY3" fmla="*/ 419355 h 1638385"/>
              <a:gd name="connsiteX4" fmla="*/ 318487 w 500511"/>
              <a:gd name="connsiteY4" fmla="*/ 0 h 1638385"/>
              <a:gd name="connsiteX0" fmla="*/ 500511 w 500511"/>
              <a:gd name="connsiteY0" fmla="*/ 1638385 h 1638385"/>
              <a:gd name="connsiteX1" fmla="*/ 112768 w 500511"/>
              <a:gd name="connsiteY1" fmla="*/ 1360353 h 1638385"/>
              <a:gd name="connsiteX2" fmla="*/ 1 w 500511"/>
              <a:gd name="connsiteY2" fmla="*/ 877512 h 1638385"/>
              <a:gd name="connsiteX3" fmla="*/ 111423 w 500511"/>
              <a:gd name="connsiteY3" fmla="*/ 419355 h 1638385"/>
              <a:gd name="connsiteX4" fmla="*/ 318487 w 500511"/>
              <a:gd name="connsiteY4" fmla="*/ 0 h 1638385"/>
              <a:gd name="connsiteX0" fmla="*/ 501886 w 501886"/>
              <a:gd name="connsiteY0" fmla="*/ 1638385 h 1638385"/>
              <a:gd name="connsiteX1" fmla="*/ 114143 w 501886"/>
              <a:gd name="connsiteY1" fmla="*/ 1360353 h 1638385"/>
              <a:gd name="connsiteX2" fmla="*/ 1376 w 501886"/>
              <a:gd name="connsiteY2" fmla="*/ 877512 h 1638385"/>
              <a:gd name="connsiteX3" fmla="*/ 84223 w 501886"/>
              <a:gd name="connsiteY3" fmla="*/ 447930 h 1638385"/>
              <a:gd name="connsiteX4" fmla="*/ 319862 w 501886"/>
              <a:gd name="connsiteY4" fmla="*/ 0 h 1638385"/>
              <a:gd name="connsiteX0" fmla="*/ 501154 w 501154"/>
              <a:gd name="connsiteY0" fmla="*/ 1638385 h 1638385"/>
              <a:gd name="connsiteX1" fmla="*/ 113411 w 501154"/>
              <a:gd name="connsiteY1" fmla="*/ 1360353 h 1638385"/>
              <a:gd name="connsiteX2" fmla="*/ 644 w 501154"/>
              <a:gd name="connsiteY2" fmla="*/ 877512 h 1638385"/>
              <a:gd name="connsiteX3" fmla="*/ 83491 w 501154"/>
              <a:gd name="connsiteY3" fmla="*/ 447930 h 1638385"/>
              <a:gd name="connsiteX4" fmla="*/ 319130 w 501154"/>
              <a:gd name="connsiteY4" fmla="*/ 0 h 1638385"/>
              <a:gd name="connsiteX0" fmla="*/ 320179 w 320179"/>
              <a:gd name="connsiteY0" fmla="*/ 1619335 h 1619335"/>
              <a:gd name="connsiteX1" fmla="*/ 113411 w 320179"/>
              <a:gd name="connsiteY1" fmla="*/ 1360353 h 1619335"/>
              <a:gd name="connsiteX2" fmla="*/ 644 w 320179"/>
              <a:gd name="connsiteY2" fmla="*/ 877512 h 1619335"/>
              <a:gd name="connsiteX3" fmla="*/ 83491 w 320179"/>
              <a:gd name="connsiteY3" fmla="*/ 447930 h 1619335"/>
              <a:gd name="connsiteX4" fmla="*/ 319130 w 320179"/>
              <a:gd name="connsiteY4" fmla="*/ 0 h 1619335"/>
              <a:gd name="connsiteX0" fmla="*/ 322417 w 322417"/>
              <a:gd name="connsiteY0" fmla="*/ 1619335 h 1619335"/>
              <a:gd name="connsiteX1" fmla="*/ 48974 w 322417"/>
              <a:gd name="connsiteY1" fmla="*/ 1255578 h 1619335"/>
              <a:gd name="connsiteX2" fmla="*/ 2882 w 322417"/>
              <a:gd name="connsiteY2" fmla="*/ 877512 h 1619335"/>
              <a:gd name="connsiteX3" fmla="*/ 85729 w 322417"/>
              <a:gd name="connsiteY3" fmla="*/ 447930 h 1619335"/>
              <a:gd name="connsiteX4" fmla="*/ 321368 w 322417"/>
              <a:gd name="connsiteY4" fmla="*/ 0 h 1619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417" h="1619335">
                <a:moveTo>
                  <a:pt x="322417" y="1619335"/>
                </a:moveTo>
                <a:cubicBezTo>
                  <a:pt x="174060" y="1531627"/>
                  <a:pt x="102230" y="1379215"/>
                  <a:pt x="48974" y="1255578"/>
                </a:cubicBezTo>
                <a:cubicBezTo>
                  <a:pt x="-4282" y="1131941"/>
                  <a:pt x="-3244" y="1012120"/>
                  <a:pt x="2882" y="877512"/>
                </a:cubicBezTo>
                <a:cubicBezTo>
                  <a:pt x="9008" y="742904"/>
                  <a:pt x="21536" y="646569"/>
                  <a:pt x="85729" y="447930"/>
                </a:cubicBezTo>
                <a:cubicBezTo>
                  <a:pt x="149922" y="277866"/>
                  <a:pt x="126227" y="277866"/>
                  <a:pt x="321368" y="0"/>
                </a:cubicBezTo>
              </a:path>
            </a:pathLst>
          </a:custGeom>
          <a:noFill/>
          <a:ln w="38100" cap="rnd">
            <a:solidFill>
              <a:srgbClr val="0070C0"/>
            </a:solidFill>
            <a:prstDash val="sysDash"/>
            <a:tailEnd type="triangle"/>
          </a:ln>
          <a:effectLst>
            <a:outerShdw blurRad="38100" dist="25400" dir="600000" sx="99000" sy="99000" algn="tl"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52" name="Freeform 51"/>
          <p:cNvSpPr/>
          <p:nvPr/>
        </p:nvSpPr>
        <p:spPr>
          <a:xfrm rot="262461" flipH="1">
            <a:off x="1852680" y="3802418"/>
            <a:ext cx="432642" cy="1643294"/>
          </a:xfrm>
          <a:custGeom>
            <a:avLst/>
            <a:gdLst>
              <a:gd name="connsiteX0" fmla="*/ 381345 w 381345"/>
              <a:gd name="connsiteY0" fmla="*/ 1645920 h 1645920"/>
              <a:gd name="connsiteX1" fmla="*/ 135017 w 381345"/>
              <a:gd name="connsiteY1" fmla="*/ 1433182 h 1645920"/>
              <a:gd name="connsiteX2" fmla="*/ 4389 w 381345"/>
              <a:gd name="connsiteY2" fmla="*/ 1078619 h 1645920"/>
              <a:gd name="connsiteX3" fmla="*/ 45443 w 381345"/>
              <a:gd name="connsiteY3" fmla="*/ 712859 h 1645920"/>
              <a:gd name="connsiteX4" fmla="*/ 187269 w 381345"/>
              <a:gd name="connsiteY4" fmla="*/ 328438 h 1645920"/>
              <a:gd name="connsiteX5" fmla="*/ 306700 w 381345"/>
              <a:gd name="connsiteY5" fmla="*/ 0 h 1645920"/>
              <a:gd name="connsiteX0" fmla="*/ 381345 w 530852"/>
              <a:gd name="connsiteY0" fmla="*/ 1677942 h 1677942"/>
              <a:gd name="connsiteX1" fmla="*/ 135017 w 530852"/>
              <a:gd name="connsiteY1" fmla="*/ 1465204 h 1677942"/>
              <a:gd name="connsiteX2" fmla="*/ 4389 w 530852"/>
              <a:gd name="connsiteY2" fmla="*/ 1110641 h 1677942"/>
              <a:gd name="connsiteX3" fmla="*/ 45443 w 530852"/>
              <a:gd name="connsiteY3" fmla="*/ 744881 h 1677942"/>
              <a:gd name="connsiteX4" fmla="*/ 187269 w 530852"/>
              <a:gd name="connsiteY4" fmla="*/ 360460 h 1677942"/>
              <a:gd name="connsiteX5" fmla="*/ 530852 w 530852"/>
              <a:gd name="connsiteY5" fmla="*/ 0 h 1677942"/>
              <a:gd name="connsiteX0" fmla="*/ 383275 w 532782"/>
              <a:gd name="connsiteY0" fmla="*/ 1677942 h 1677942"/>
              <a:gd name="connsiteX1" fmla="*/ 136947 w 532782"/>
              <a:gd name="connsiteY1" fmla="*/ 1465204 h 1677942"/>
              <a:gd name="connsiteX2" fmla="*/ 6319 w 532782"/>
              <a:gd name="connsiteY2" fmla="*/ 1110641 h 1677942"/>
              <a:gd name="connsiteX3" fmla="*/ 47373 w 532782"/>
              <a:gd name="connsiteY3" fmla="*/ 744881 h 1677942"/>
              <a:gd name="connsiteX4" fmla="*/ 278148 w 532782"/>
              <a:gd name="connsiteY4" fmla="*/ 502779 h 1677942"/>
              <a:gd name="connsiteX5" fmla="*/ 532782 w 532782"/>
              <a:gd name="connsiteY5" fmla="*/ 0 h 1677942"/>
              <a:gd name="connsiteX0" fmla="*/ 376986 w 526493"/>
              <a:gd name="connsiteY0" fmla="*/ 1677942 h 1677942"/>
              <a:gd name="connsiteX1" fmla="*/ 130658 w 526493"/>
              <a:gd name="connsiteY1" fmla="*/ 1465204 h 1677942"/>
              <a:gd name="connsiteX2" fmla="*/ 30 w 526493"/>
              <a:gd name="connsiteY2" fmla="*/ 1110641 h 1677942"/>
              <a:gd name="connsiteX3" fmla="*/ 140708 w 526493"/>
              <a:gd name="connsiteY3" fmla="*/ 865852 h 1677942"/>
              <a:gd name="connsiteX4" fmla="*/ 271859 w 526493"/>
              <a:gd name="connsiteY4" fmla="*/ 502779 h 1677942"/>
              <a:gd name="connsiteX5" fmla="*/ 526493 w 526493"/>
              <a:gd name="connsiteY5" fmla="*/ 0 h 1677942"/>
              <a:gd name="connsiteX0" fmla="*/ 265848 w 415355"/>
              <a:gd name="connsiteY0" fmla="*/ 1677942 h 1677942"/>
              <a:gd name="connsiteX1" fmla="*/ 19520 w 415355"/>
              <a:gd name="connsiteY1" fmla="*/ 1465204 h 1677942"/>
              <a:gd name="connsiteX2" fmla="*/ 16979 w 415355"/>
              <a:gd name="connsiteY2" fmla="*/ 1160452 h 1677942"/>
              <a:gd name="connsiteX3" fmla="*/ 29570 w 415355"/>
              <a:gd name="connsiteY3" fmla="*/ 865852 h 1677942"/>
              <a:gd name="connsiteX4" fmla="*/ 160721 w 415355"/>
              <a:gd name="connsiteY4" fmla="*/ 502779 h 1677942"/>
              <a:gd name="connsiteX5" fmla="*/ 415355 w 415355"/>
              <a:gd name="connsiteY5" fmla="*/ 0 h 1677942"/>
              <a:gd name="connsiteX0" fmla="*/ 258045 w 407552"/>
              <a:gd name="connsiteY0" fmla="*/ 1677942 h 1677942"/>
              <a:gd name="connsiteX1" fmla="*/ 114898 w 407552"/>
              <a:gd name="connsiteY1" fmla="*/ 1490110 h 1677942"/>
              <a:gd name="connsiteX2" fmla="*/ 9176 w 407552"/>
              <a:gd name="connsiteY2" fmla="*/ 1160452 h 1677942"/>
              <a:gd name="connsiteX3" fmla="*/ 21767 w 407552"/>
              <a:gd name="connsiteY3" fmla="*/ 865852 h 1677942"/>
              <a:gd name="connsiteX4" fmla="*/ 152918 w 407552"/>
              <a:gd name="connsiteY4" fmla="*/ 502779 h 1677942"/>
              <a:gd name="connsiteX5" fmla="*/ 407552 w 407552"/>
              <a:gd name="connsiteY5" fmla="*/ 0 h 1677942"/>
              <a:gd name="connsiteX0" fmla="*/ 296145 w 407552"/>
              <a:gd name="connsiteY0" fmla="*/ 1711280 h 1711280"/>
              <a:gd name="connsiteX1" fmla="*/ 114898 w 407552"/>
              <a:gd name="connsiteY1" fmla="*/ 1490110 h 1711280"/>
              <a:gd name="connsiteX2" fmla="*/ 9176 w 407552"/>
              <a:gd name="connsiteY2" fmla="*/ 1160452 h 1711280"/>
              <a:gd name="connsiteX3" fmla="*/ 21767 w 407552"/>
              <a:gd name="connsiteY3" fmla="*/ 865852 h 1711280"/>
              <a:gd name="connsiteX4" fmla="*/ 152918 w 407552"/>
              <a:gd name="connsiteY4" fmla="*/ 502779 h 1711280"/>
              <a:gd name="connsiteX5" fmla="*/ 407552 w 407552"/>
              <a:gd name="connsiteY5" fmla="*/ 0 h 1711280"/>
              <a:gd name="connsiteX0" fmla="*/ 365162 w 476569"/>
              <a:gd name="connsiteY0" fmla="*/ 1711280 h 1711280"/>
              <a:gd name="connsiteX1" fmla="*/ 183915 w 476569"/>
              <a:gd name="connsiteY1" fmla="*/ 1490110 h 1711280"/>
              <a:gd name="connsiteX2" fmla="*/ 78193 w 476569"/>
              <a:gd name="connsiteY2" fmla="*/ 1160452 h 1711280"/>
              <a:gd name="connsiteX3" fmla="*/ 5059 w 476569"/>
              <a:gd name="connsiteY3" fmla="*/ 818227 h 1711280"/>
              <a:gd name="connsiteX4" fmla="*/ 221935 w 476569"/>
              <a:gd name="connsiteY4" fmla="*/ 502779 h 1711280"/>
              <a:gd name="connsiteX5" fmla="*/ 476569 w 476569"/>
              <a:gd name="connsiteY5" fmla="*/ 0 h 1711280"/>
              <a:gd name="connsiteX0" fmla="*/ 367279 w 478686"/>
              <a:gd name="connsiteY0" fmla="*/ 1711280 h 1711280"/>
              <a:gd name="connsiteX1" fmla="*/ 186032 w 478686"/>
              <a:gd name="connsiteY1" fmla="*/ 1490110 h 1711280"/>
              <a:gd name="connsiteX2" fmla="*/ 80310 w 478686"/>
              <a:gd name="connsiteY2" fmla="*/ 1160452 h 1711280"/>
              <a:gd name="connsiteX3" fmla="*/ 7176 w 478686"/>
              <a:gd name="connsiteY3" fmla="*/ 818227 h 1711280"/>
              <a:gd name="connsiteX4" fmla="*/ 262152 w 478686"/>
              <a:gd name="connsiteY4" fmla="*/ 398004 h 1711280"/>
              <a:gd name="connsiteX5" fmla="*/ 478686 w 478686"/>
              <a:gd name="connsiteY5" fmla="*/ 0 h 1711280"/>
              <a:gd name="connsiteX0" fmla="*/ 384347 w 495754"/>
              <a:gd name="connsiteY0" fmla="*/ 1711280 h 1711280"/>
              <a:gd name="connsiteX1" fmla="*/ 203100 w 495754"/>
              <a:gd name="connsiteY1" fmla="*/ 1490110 h 1711280"/>
              <a:gd name="connsiteX2" fmla="*/ 30703 w 495754"/>
              <a:gd name="connsiteY2" fmla="*/ 1208077 h 1711280"/>
              <a:gd name="connsiteX3" fmla="*/ 24244 w 495754"/>
              <a:gd name="connsiteY3" fmla="*/ 818227 h 1711280"/>
              <a:gd name="connsiteX4" fmla="*/ 279220 w 495754"/>
              <a:gd name="connsiteY4" fmla="*/ 398004 h 1711280"/>
              <a:gd name="connsiteX5" fmla="*/ 495754 w 495754"/>
              <a:gd name="connsiteY5" fmla="*/ 0 h 1711280"/>
              <a:gd name="connsiteX0" fmla="*/ 360960 w 472367"/>
              <a:gd name="connsiteY0" fmla="*/ 1711280 h 1711280"/>
              <a:gd name="connsiteX1" fmla="*/ 179713 w 472367"/>
              <a:gd name="connsiteY1" fmla="*/ 1490110 h 1711280"/>
              <a:gd name="connsiteX2" fmla="*/ 857 w 472367"/>
              <a:gd name="connsiteY2" fmla="*/ 818227 h 1711280"/>
              <a:gd name="connsiteX3" fmla="*/ 255833 w 472367"/>
              <a:gd name="connsiteY3" fmla="*/ 398004 h 1711280"/>
              <a:gd name="connsiteX4" fmla="*/ 472367 w 472367"/>
              <a:gd name="connsiteY4" fmla="*/ 0 h 1711280"/>
              <a:gd name="connsiteX0" fmla="*/ 360960 w 472367"/>
              <a:gd name="connsiteY0" fmla="*/ 1711280 h 1711280"/>
              <a:gd name="connsiteX1" fmla="*/ 179713 w 472367"/>
              <a:gd name="connsiteY1" fmla="*/ 1490110 h 1711280"/>
              <a:gd name="connsiteX2" fmla="*/ 857 w 472367"/>
              <a:gd name="connsiteY2" fmla="*/ 818227 h 1711280"/>
              <a:gd name="connsiteX3" fmla="*/ 255833 w 472367"/>
              <a:gd name="connsiteY3" fmla="*/ 398004 h 1711280"/>
              <a:gd name="connsiteX4" fmla="*/ 472367 w 472367"/>
              <a:gd name="connsiteY4" fmla="*/ 0 h 1711280"/>
              <a:gd name="connsiteX0" fmla="*/ 368883 w 480290"/>
              <a:gd name="connsiteY0" fmla="*/ 1711280 h 1711280"/>
              <a:gd name="connsiteX1" fmla="*/ 187636 w 480290"/>
              <a:gd name="connsiteY1" fmla="*/ 1490110 h 1711280"/>
              <a:gd name="connsiteX2" fmla="*/ 8780 w 480290"/>
              <a:gd name="connsiteY2" fmla="*/ 818227 h 1711280"/>
              <a:gd name="connsiteX3" fmla="*/ 480290 w 480290"/>
              <a:gd name="connsiteY3" fmla="*/ 0 h 1711280"/>
              <a:gd name="connsiteX0" fmla="*/ 332392 w 443799"/>
              <a:gd name="connsiteY0" fmla="*/ 1711280 h 1711280"/>
              <a:gd name="connsiteX1" fmla="*/ 151145 w 443799"/>
              <a:gd name="connsiteY1" fmla="*/ 1490110 h 1711280"/>
              <a:gd name="connsiteX2" fmla="*/ 10389 w 443799"/>
              <a:gd name="connsiteY2" fmla="*/ 827752 h 1711280"/>
              <a:gd name="connsiteX3" fmla="*/ 443799 w 443799"/>
              <a:gd name="connsiteY3" fmla="*/ 0 h 1711280"/>
              <a:gd name="connsiteX0" fmla="*/ 345530 w 456937"/>
              <a:gd name="connsiteY0" fmla="*/ 1711280 h 1711280"/>
              <a:gd name="connsiteX1" fmla="*/ 88083 w 456937"/>
              <a:gd name="connsiteY1" fmla="*/ 1328185 h 1711280"/>
              <a:gd name="connsiteX2" fmla="*/ 23527 w 456937"/>
              <a:gd name="connsiteY2" fmla="*/ 827752 h 1711280"/>
              <a:gd name="connsiteX3" fmla="*/ 456937 w 456937"/>
              <a:gd name="connsiteY3" fmla="*/ 0 h 1711280"/>
              <a:gd name="connsiteX0" fmla="*/ 344160 w 436517"/>
              <a:gd name="connsiteY0" fmla="*/ 1711280 h 1711280"/>
              <a:gd name="connsiteX1" fmla="*/ 86713 w 436517"/>
              <a:gd name="connsiteY1" fmla="*/ 1328185 h 1711280"/>
              <a:gd name="connsiteX2" fmla="*/ 22157 w 436517"/>
              <a:gd name="connsiteY2" fmla="*/ 827752 h 1711280"/>
              <a:gd name="connsiteX3" fmla="*/ 436517 w 436517"/>
              <a:gd name="connsiteY3" fmla="*/ 0 h 1711280"/>
              <a:gd name="connsiteX0" fmla="*/ 344160 w 436517"/>
              <a:gd name="connsiteY0" fmla="*/ 1711280 h 1711280"/>
              <a:gd name="connsiteX1" fmla="*/ 86713 w 436517"/>
              <a:gd name="connsiteY1" fmla="*/ 1328185 h 1711280"/>
              <a:gd name="connsiteX2" fmla="*/ 22157 w 436517"/>
              <a:gd name="connsiteY2" fmla="*/ 827752 h 1711280"/>
              <a:gd name="connsiteX3" fmla="*/ 436517 w 436517"/>
              <a:gd name="connsiteY3" fmla="*/ 0 h 1711280"/>
              <a:gd name="connsiteX0" fmla="*/ 344160 w 390484"/>
              <a:gd name="connsiteY0" fmla="*/ 1733907 h 1733907"/>
              <a:gd name="connsiteX1" fmla="*/ 86713 w 390484"/>
              <a:gd name="connsiteY1" fmla="*/ 1350812 h 1733907"/>
              <a:gd name="connsiteX2" fmla="*/ 22157 w 390484"/>
              <a:gd name="connsiteY2" fmla="*/ 850379 h 1733907"/>
              <a:gd name="connsiteX3" fmla="*/ 390484 w 390484"/>
              <a:gd name="connsiteY3" fmla="*/ 0 h 1733907"/>
              <a:gd name="connsiteX0" fmla="*/ 347297 w 393621"/>
              <a:gd name="connsiteY0" fmla="*/ 1733907 h 1733907"/>
              <a:gd name="connsiteX1" fmla="*/ 89850 w 393621"/>
              <a:gd name="connsiteY1" fmla="*/ 1350812 h 1733907"/>
              <a:gd name="connsiteX2" fmla="*/ 21609 w 393621"/>
              <a:gd name="connsiteY2" fmla="*/ 773675 h 1733907"/>
              <a:gd name="connsiteX3" fmla="*/ 393621 w 393621"/>
              <a:gd name="connsiteY3" fmla="*/ 0 h 1733907"/>
              <a:gd name="connsiteX0" fmla="*/ 347297 w 393621"/>
              <a:gd name="connsiteY0" fmla="*/ 1733907 h 1733907"/>
              <a:gd name="connsiteX1" fmla="*/ 89850 w 393621"/>
              <a:gd name="connsiteY1" fmla="*/ 1350812 h 1733907"/>
              <a:gd name="connsiteX2" fmla="*/ 21609 w 393621"/>
              <a:gd name="connsiteY2" fmla="*/ 773675 h 1733907"/>
              <a:gd name="connsiteX3" fmla="*/ 393621 w 393621"/>
              <a:gd name="connsiteY3" fmla="*/ 0 h 1733907"/>
              <a:gd name="connsiteX0" fmla="*/ 332161 w 378485"/>
              <a:gd name="connsiteY0" fmla="*/ 1733907 h 1733907"/>
              <a:gd name="connsiteX1" fmla="*/ 74714 w 378485"/>
              <a:gd name="connsiteY1" fmla="*/ 1350812 h 1733907"/>
              <a:gd name="connsiteX2" fmla="*/ 6473 w 378485"/>
              <a:gd name="connsiteY2" fmla="*/ 773675 h 1733907"/>
              <a:gd name="connsiteX3" fmla="*/ 378485 w 378485"/>
              <a:gd name="connsiteY3" fmla="*/ 0 h 1733907"/>
              <a:gd name="connsiteX0" fmla="*/ 367856 w 414180"/>
              <a:gd name="connsiteY0" fmla="*/ 1733907 h 1733907"/>
              <a:gd name="connsiteX1" fmla="*/ 110409 w 414180"/>
              <a:gd name="connsiteY1" fmla="*/ 1350812 h 1733907"/>
              <a:gd name="connsiteX2" fmla="*/ 4179 w 414180"/>
              <a:gd name="connsiteY2" fmla="*/ 770769 h 1733907"/>
              <a:gd name="connsiteX3" fmla="*/ 414180 w 414180"/>
              <a:gd name="connsiteY3" fmla="*/ 0 h 1733907"/>
              <a:gd name="connsiteX0" fmla="*/ 553122 w 553122"/>
              <a:gd name="connsiteY0" fmla="*/ 1709722 h 1709722"/>
              <a:gd name="connsiteX1" fmla="*/ 112321 w 553122"/>
              <a:gd name="connsiteY1" fmla="*/ 1350812 h 1709722"/>
              <a:gd name="connsiteX2" fmla="*/ 6091 w 553122"/>
              <a:gd name="connsiteY2" fmla="*/ 770769 h 1709722"/>
              <a:gd name="connsiteX3" fmla="*/ 416092 w 553122"/>
              <a:gd name="connsiteY3" fmla="*/ 0 h 1709722"/>
              <a:gd name="connsiteX0" fmla="*/ 432642 w 432642"/>
              <a:gd name="connsiteY0" fmla="*/ 1643294 h 1643294"/>
              <a:gd name="connsiteX1" fmla="*/ 110946 w 432642"/>
              <a:gd name="connsiteY1" fmla="*/ 1350812 h 1643294"/>
              <a:gd name="connsiteX2" fmla="*/ 4716 w 432642"/>
              <a:gd name="connsiteY2" fmla="*/ 770769 h 1643294"/>
              <a:gd name="connsiteX3" fmla="*/ 414717 w 432642"/>
              <a:gd name="connsiteY3" fmla="*/ 0 h 1643294"/>
            </a:gdLst>
            <a:ahLst/>
            <a:cxnLst>
              <a:cxn ang="0">
                <a:pos x="connsiteX0" y="connsiteY0"/>
              </a:cxn>
              <a:cxn ang="0">
                <a:pos x="connsiteX1" y="connsiteY1"/>
              </a:cxn>
              <a:cxn ang="0">
                <a:pos x="connsiteX2" y="connsiteY2"/>
              </a:cxn>
              <a:cxn ang="0">
                <a:pos x="connsiteX3" y="connsiteY3"/>
              </a:cxn>
            </a:cxnLst>
            <a:rect l="l" t="t" r="r" b="b"/>
            <a:pathLst>
              <a:path w="432642" h="1643294">
                <a:moveTo>
                  <a:pt x="432642" y="1643294"/>
                </a:moveTo>
                <a:cubicBezTo>
                  <a:pt x="340891" y="1584200"/>
                  <a:pt x="182267" y="1496233"/>
                  <a:pt x="110946" y="1350812"/>
                </a:cubicBezTo>
                <a:cubicBezTo>
                  <a:pt x="39625" y="1205391"/>
                  <a:pt x="-17048" y="1014033"/>
                  <a:pt x="4716" y="770769"/>
                </a:cubicBezTo>
                <a:cubicBezTo>
                  <a:pt x="63017" y="549405"/>
                  <a:pt x="211711" y="265714"/>
                  <a:pt x="414717" y="0"/>
                </a:cubicBezTo>
              </a:path>
            </a:pathLst>
          </a:custGeom>
          <a:noFill/>
          <a:ln w="38100" cap="rnd">
            <a:solidFill>
              <a:srgbClr val="0070C0"/>
            </a:solidFill>
            <a:prstDash val="sysDash"/>
            <a:tailEnd type="triangle"/>
          </a:ln>
          <a:effectLst>
            <a:outerShdw blurRad="38100" dist="25400" dir="600000" sx="99000" sy="99000" algn="tl"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53" name="Freeform 52"/>
          <p:cNvSpPr/>
          <p:nvPr/>
        </p:nvSpPr>
        <p:spPr>
          <a:xfrm rot="292344" flipH="1">
            <a:off x="1914386" y="3807832"/>
            <a:ext cx="483286" cy="1676890"/>
          </a:xfrm>
          <a:custGeom>
            <a:avLst/>
            <a:gdLst>
              <a:gd name="connsiteX0" fmla="*/ 228943 w 340910"/>
              <a:gd name="connsiteY0" fmla="*/ 1645920 h 1645920"/>
              <a:gd name="connsiteX1" fmla="*/ 42330 w 340910"/>
              <a:gd name="connsiteY1" fmla="*/ 1291357 h 1645920"/>
              <a:gd name="connsiteX2" fmla="*/ 8740 w 340910"/>
              <a:gd name="connsiteY2" fmla="*/ 929329 h 1645920"/>
              <a:gd name="connsiteX3" fmla="*/ 165494 w 340910"/>
              <a:gd name="connsiteY3" fmla="*/ 440405 h 1645920"/>
              <a:gd name="connsiteX4" fmla="*/ 340910 w 340910"/>
              <a:gd name="connsiteY4" fmla="*/ 0 h 1645920"/>
              <a:gd name="connsiteX0" fmla="*/ 228943 w 575736"/>
              <a:gd name="connsiteY0" fmla="*/ 1649478 h 1649478"/>
              <a:gd name="connsiteX1" fmla="*/ 42330 w 575736"/>
              <a:gd name="connsiteY1" fmla="*/ 1294915 h 1649478"/>
              <a:gd name="connsiteX2" fmla="*/ 8740 w 575736"/>
              <a:gd name="connsiteY2" fmla="*/ 932887 h 1649478"/>
              <a:gd name="connsiteX3" fmla="*/ 165494 w 575736"/>
              <a:gd name="connsiteY3" fmla="*/ 443963 h 1649478"/>
              <a:gd name="connsiteX4" fmla="*/ 575736 w 575736"/>
              <a:gd name="connsiteY4" fmla="*/ 0 h 1649478"/>
              <a:gd name="connsiteX0" fmla="*/ 238624 w 585417"/>
              <a:gd name="connsiteY0" fmla="*/ 1649478 h 1649478"/>
              <a:gd name="connsiteX1" fmla="*/ 52011 w 585417"/>
              <a:gd name="connsiteY1" fmla="*/ 1294915 h 1649478"/>
              <a:gd name="connsiteX2" fmla="*/ 18421 w 585417"/>
              <a:gd name="connsiteY2" fmla="*/ 932887 h 1649478"/>
              <a:gd name="connsiteX3" fmla="*/ 306820 w 585417"/>
              <a:gd name="connsiteY3" fmla="*/ 579166 h 1649478"/>
              <a:gd name="connsiteX4" fmla="*/ 585417 w 585417"/>
              <a:gd name="connsiteY4" fmla="*/ 0 h 1649478"/>
              <a:gd name="connsiteX0" fmla="*/ 187723 w 534516"/>
              <a:gd name="connsiteY0" fmla="*/ 1649478 h 1649478"/>
              <a:gd name="connsiteX1" fmla="*/ 1110 w 534516"/>
              <a:gd name="connsiteY1" fmla="*/ 1294915 h 1649478"/>
              <a:gd name="connsiteX2" fmla="*/ 116955 w 534516"/>
              <a:gd name="connsiteY2" fmla="*/ 986256 h 1649478"/>
              <a:gd name="connsiteX3" fmla="*/ 255919 w 534516"/>
              <a:gd name="connsiteY3" fmla="*/ 579166 h 1649478"/>
              <a:gd name="connsiteX4" fmla="*/ 534516 w 534516"/>
              <a:gd name="connsiteY4" fmla="*/ 0 h 1649478"/>
              <a:gd name="connsiteX0" fmla="*/ 276285 w 537687"/>
              <a:gd name="connsiteY0" fmla="*/ 1617456 h 1617456"/>
              <a:gd name="connsiteX1" fmla="*/ 4281 w 537687"/>
              <a:gd name="connsiteY1" fmla="*/ 1294915 h 1617456"/>
              <a:gd name="connsiteX2" fmla="*/ 120126 w 537687"/>
              <a:gd name="connsiteY2" fmla="*/ 986256 h 1617456"/>
              <a:gd name="connsiteX3" fmla="*/ 259090 w 537687"/>
              <a:gd name="connsiteY3" fmla="*/ 579166 h 1617456"/>
              <a:gd name="connsiteX4" fmla="*/ 537687 w 537687"/>
              <a:gd name="connsiteY4" fmla="*/ 0 h 1617456"/>
              <a:gd name="connsiteX0" fmla="*/ 173722 w 435124"/>
              <a:gd name="connsiteY0" fmla="*/ 1617456 h 1617456"/>
              <a:gd name="connsiteX1" fmla="*/ 19131 w 435124"/>
              <a:gd name="connsiteY1" fmla="*/ 1291357 h 1617456"/>
              <a:gd name="connsiteX2" fmla="*/ 17563 w 435124"/>
              <a:gd name="connsiteY2" fmla="*/ 986256 h 1617456"/>
              <a:gd name="connsiteX3" fmla="*/ 156527 w 435124"/>
              <a:gd name="connsiteY3" fmla="*/ 579166 h 1617456"/>
              <a:gd name="connsiteX4" fmla="*/ 435124 w 435124"/>
              <a:gd name="connsiteY4" fmla="*/ 0 h 1617456"/>
              <a:gd name="connsiteX0" fmla="*/ 188913 w 436027"/>
              <a:gd name="connsiteY0" fmla="*/ 1707944 h 1707944"/>
              <a:gd name="connsiteX1" fmla="*/ 20034 w 436027"/>
              <a:gd name="connsiteY1" fmla="*/ 1291357 h 1707944"/>
              <a:gd name="connsiteX2" fmla="*/ 18466 w 436027"/>
              <a:gd name="connsiteY2" fmla="*/ 986256 h 1707944"/>
              <a:gd name="connsiteX3" fmla="*/ 157430 w 436027"/>
              <a:gd name="connsiteY3" fmla="*/ 579166 h 1707944"/>
              <a:gd name="connsiteX4" fmla="*/ 436027 w 436027"/>
              <a:gd name="connsiteY4" fmla="*/ 0 h 1707944"/>
              <a:gd name="connsiteX0" fmla="*/ 187772 w 434886"/>
              <a:gd name="connsiteY0" fmla="*/ 1707944 h 1707944"/>
              <a:gd name="connsiteX1" fmla="*/ 18893 w 434886"/>
              <a:gd name="connsiteY1" fmla="*/ 1291357 h 1707944"/>
              <a:gd name="connsiteX2" fmla="*/ 17325 w 434886"/>
              <a:gd name="connsiteY2" fmla="*/ 986256 h 1707944"/>
              <a:gd name="connsiteX3" fmla="*/ 137239 w 434886"/>
              <a:gd name="connsiteY3" fmla="*/ 569641 h 1707944"/>
              <a:gd name="connsiteX4" fmla="*/ 434886 w 434886"/>
              <a:gd name="connsiteY4" fmla="*/ 0 h 1707944"/>
              <a:gd name="connsiteX0" fmla="*/ 187772 w 434886"/>
              <a:gd name="connsiteY0" fmla="*/ 1707944 h 1707944"/>
              <a:gd name="connsiteX1" fmla="*/ 18893 w 434886"/>
              <a:gd name="connsiteY1" fmla="*/ 1291357 h 1707944"/>
              <a:gd name="connsiteX2" fmla="*/ 17325 w 434886"/>
              <a:gd name="connsiteY2" fmla="*/ 986256 h 1707944"/>
              <a:gd name="connsiteX3" fmla="*/ 137239 w 434886"/>
              <a:gd name="connsiteY3" fmla="*/ 569641 h 1707944"/>
              <a:gd name="connsiteX4" fmla="*/ 434886 w 434886"/>
              <a:gd name="connsiteY4" fmla="*/ 0 h 1707944"/>
              <a:gd name="connsiteX0" fmla="*/ 186150 w 433264"/>
              <a:gd name="connsiteY0" fmla="*/ 1707944 h 1707944"/>
              <a:gd name="connsiteX1" fmla="*/ 17271 w 433264"/>
              <a:gd name="connsiteY1" fmla="*/ 1291357 h 1707944"/>
              <a:gd name="connsiteX2" fmla="*/ 15703 w 433264"/>
              <a:gd name="connsiteY2" fmla="*/ 986256 h 1707944"/>
              <a:gd name="connsiteX3" fmla="*/ 107042 w 433264"/>
              <a:gd name="connsiteY3" fmla="*/ 560116 h 1707944"/>
              <a:gd name="connsiteX4" fmla="*/ 433264 w 433264"/>
              <a:gd name="connsiteY4" fmla="*/ 0 h 1707944"/>
              <a:gd name="connsiteX0" fmla="*/ 197883 w 444997"/>
              <a:gd name="connsiteY0" fmla="*/ 1707944 h 1707944"/>
              <a:gd name="connsiteX1" fmla="*/ 29004 w 444997"/>
              <a:gd name="connsiteY1" fmla="*/ 1291357 h 1707944"/>
              <a:gd name="connsiteX2" fmla="*/ 8386 w 444997"/>
              <a:gd name="connsiteY2" fmla="*/ 986256 h 1707944"/>
              <a:gd name="connsiteX3" fmla="*/ 118775 w 444997"/>
              <a:gd name="connsiteY3" fmla="*/ 560116 h 1707944"/>
              <a:gd name="connsiteX4" fmla="*/ 444997 w 444997"/>
              <a:gd name="connsiteY4" fmla="*/ 0 h 1707944"/>
              <a:gd name="connsiteX0" fmla="*/ 462553 w 462553"/>
              <a:gd name="connsiteY0" fmla="*/ 1691016 h 1691016"/>
              <a:gd name="connsiteX1" fmla="*/ 43683 w 462553"/>
              <a:gd name="connsiteY1" fmla="*/ 1291357 h 1691016"/>
              <a:gd name="connsiteX2" fmla="*/ 23065 w 462553"/>
              <a:gd name="connsiteY2" fmla="*/ 986256 h 1691016"/>
              <a:gd name="connsiteX3" fmla="*/ 133454 w 462553"/>
              <a:gd name="connsiteY3" fmla="*/ 560116 h 1691016"/>
              <a:gd name="connsiteX4" fmla="*/ 459676 w 462553"/>
              <a:gd name="connsiteY4" fmla="*/ 0 h 1691016"/>
              <a:gd name="connsiteX0" fmla="*/ 459963 w 459963"/>
              <a:gd name="connsiteY0" fmla="*/ 1719488 h 1719488"/>
              <a:gd name="connsiteX1" fmla="*/ 43520 w 459963"/>
              <a:gd name="connsiteY1" fmla="*/ 1291357 h 1719488"/>
              <a:gd name="connsiteX2" fmla="*/ 22902 w 459963"/>
              <a:gd name="connsiteY2" fmla="*/ 986256 h 1719488"/>
              <a:gd name="connsiteX3" fmla="*/ 133291 w 459963"/>
              <a:gd name="connsiteY3" fmla="*/ 560116 h 1719488"/>
              <a:gd name="connsiteX4" fmla="*/ 459513 w 459963"/>
              <a:gd name="connsiteY4" fmla="*/ 0 h 1719488"/>
              <a:gd name="connsiteX0" fmla="*/ 438596 w 438596"/>
              <a:gd name="connsiteY0" fmla="*/ 1719488 h 1719488"/>
              <a:gd name="connsiteX1" fmla="*/ 76669 w 438596"/>
              <a:gd name="connsiteY1" fmla="*/ 1324683 h 1719488"/>
              <a:gd name="connsiteX2" fmla="*/ 1535 w 438596"/>
              <a:gd name="connsiteY2" fmla="*/ 986256 h 1719488"/>
              <a:gd name="connsiteX3" fmla="*/ 111924 w 438596"/>
              <a:gd name="connsiteY3" fmla="*/ 560116 h 1719488"/>
              <a:gd name="connsiteX4" fmla="*/ 438146 w 438596"/>
              <a:gd name="connsiteY4" fmla="*/ 0 h 1719488"/>
              <a:gd name="connsiteX0" fmla="*/ 407409 w 407409"/>
              <a:gd name="connsiteY0" fmla="*/ 1719488 h 1719488"/>
              <a:gd name="connsiteX1" fmla="*/ 45482 w 407409"/>
              <a:gd name="connsiteY1" fmla="*/ 1324683 h 1719488"/>
              <a:gd name="connsiteX2" fmla="*/ 9119 w 407409"/>
              <a:gd name="connsiteY2" fmla="*/ 980001 h 1719488"/>
              <a:gd name="connsiteX3" fmla="*/ 80737 w 407409"/>
              <a:gd name="connsiteY3" fmla="*/ 560116 h 1719488"/>
              <a:gd name="connsiteX4" fmla="*/ 406959 w 407409"/>
              <a:gd name="connsiteY4" fmla="*/ 0 h 1719488"/>
              <a:gd name="connsiteX0" fmla="*/ 400555 w 400555"/>
              <a:gd name="connsiteY0" fmla="*/ 1719488 h 1719488"/>
              <a:gd name="connsiteX1" fmla="*/ 55992 w 400555"/>
              <a:gd name="connsiteY1" fmla="*/ 1345282 h 1719488"/>
              <a:gd name="connsiteX2" fmla="*/ 2265 w 400555"/>
              <a:gd name="connsiteY2" fmla="*/ 980001 h 1719488"/>
              <a:gd name="connsiteX3" fmla="*/ 73883 w 400555"/>
              <a:gd name="connsiteY3" fmla="*/ 560116 h 1719488"/>
              <a:gd name="connsiteX4" fmla="*/ 400105 w 400555"/>
              <a:gd name="connsiteY4" fmla="*/ 0 h 1719488"/>
              <a:gd name="connsiteX0" fmla="*/ 403633 w 403633"/>
              <a:gd name="connsiteY0" fmla="*/ 1719488 h 1719488"/>
              <a:gd name="connsiteX1" fmla="*/ 59070 w 403633"/>
              <a:gd name="connsiteY1" fmla="*/ 1345282 h 1719488"/>
              <a:gd name="connsiteX2" fmla="*/ 5343 w 403633"/>
              <a:gd name="connsiteY2" fmla="*/ 980001 h 1719488"/>
              <a:gd name="connsiteX3" fmla="*/ 118969 w 403633"/>
              <a:gd name="connsiteY3" fmla="*/ 515899 h 1719488"/>
              <a:gd name="connsiteX4" fmla="*/ 403183 w 403633"/>
              <a:gd name="connsiteY4" fmla="*/ 0 h 1719488"/>
              <a:gd name="connsiteX0" fmla="*/ 403633 w 418928"/>
              <a:gd name="connsiteY0" fmla="*/ 1679908 h 1679908"/>
              <a:gd name="connsiteX1" fmla="*/ 59070 w 418928"/>
              <a:gd name="connsiteY1" fmla="*/ 1305702 h 1679908"/>
              <a:gd name="connsiteX2" fmla="*/ 5343 w 418928"/>
              <a:gd name="connsiteY2" fmla="*/ 940421 h 1679908"/>
              <a:gd name="connsiteX3" fmla="*/ 118969 w 418928"/>
              <a:gd name="connsiteY3" fmla="*/ 476319 h 1679908"/>
              <a:gd name="connsiteX4" fmla="*/ 418928 w 418928"/>
              <a:gd name="connsiteY4" fmla="*/ 0 h 1679908"/>
              <a:gd name="connsiteX0" fmla="*/ 483286 w 483286"/>
              <a:gd name="connsiteY0" fmla="*/ 1676890 h 1676890"/>
              <a:gd name="connsiteX1" fmla="*/ 61989 w 483286"/>
              <a:gd name="connsiteY1" fmla="*/ 1305702 h 1676890"/>
              <a:gd name="connsiteX2" fmla="*/ 8262 w 483286"/>
              <a:gd name="connsiteY2" fmla="*/ 940421 h 1676890"/>
              <a:gd name="connsiteX3" fmla="*/ 121888 w 483286"/>
              <a:gd name="connsiteY3" fmla="*/ 476319 h 1676890"/>
              <a:gd name="connsiteX4" fmla="*/ 421847 w 483286"/>
              <a:gd name="connsiteY4" fmla="*/ 0 h 1676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286" h="1676890">
                <a:moveTo>
                  <a:pt x="483286" y="1676890"/>
                </a:moveTo>
                <a:cubicBezTo>
                  <a:pt x="408329" y="1559324"/>
                  <a:pt x="141160" y="1428447"/>
                  <a:pt x="61989" y="1305702"/>
                </a:cubicBezTo>
                <a:cubicBezTo>
                  <a:pt x="-17182" y="1182957"/>
                  <a:pt x="-1721" y="1078651"/>
                  <a:pt x="8262" y="940421"/>
                </a:cubicBezTo>
                <a:cubicBezTo>
                  <a:pt x="18245" y="802191"/>
                  <a:pt x="66526" y="631207"/>
                  <a:pt x="121888" y="476319"/>
                </a:cubicBezTo>
                <a:cubicBezTo>
                  <a:pt x="177250" y="321431"/>
                  <a:pt x="295145" y="180858"/>
                  <a:pt x="421847" y="0"/>
                </a:cubicBezTo>
              </a:path>
            </a:pathLst>
          </a:custGeom>
          <a:noFill/>
          <a:ln w="38100" cap="rnd">
            <a:solidFill>
              <a:srgbClr val="0070C0"/>
            </a:solidFill>
            <a:prstDash val="sysDash"/>
            <a:tailEnd type="triangle"/>
          </a:ln>
          <a:effectLst>
            <a:outerShdw blurRad="38100" dist="25400" dir="600000" sx="99000" sy="99000" algn="tl"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nvGrpSpPr>
          <p:cNvPr id="54" name="Group 53"/>
          <p:cNvGrpSpPr/>
          <p:nvPr/>
        </p:nvGrpSpPr>
        <p:grpSpPr>
          <a:xfrm>
            <a:off x="2130939" y="4864165"/>
            <a:ext cx="832023" cy="864448"/>
            <a:chOff x="7288172" y="313794"/>
            <a:chExt cx="756000" cy="756295"/>
          </a:xfrm>
        </p:grpSpPr>
        <p:sp>
          <p:nvSpPr>
            <p:cNvPr id="55" name="Oval 54"/>
            <p:cNvSpPr/>
            <p:nvPr/>
          </p:nvSpPr>
          <p:spPr>
            <a:xfrm>
              <a:off x="7288172" y="314089"/>
              <a:ext cx="756000" cy="756000"/>
            </a:xfrm>
            <a:prstGeom prst="ellipse">
              <a:avLst/>
            </a:prstGeom>
            <a:solidFill>
              <a:srgbClr val="005295"/>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extrusionH="190500">
              <a:bevelT w="666750" h="69850"/>
              <a:extrusionClr>
                <a:schemeClr val="tx1"/>
              </a:extrusionClr>
            </a:sp3d>
          </p:spPr>
          <p:txBody>
            <a:bodyPr vert="horz" wrap="square" lIns="91440" tIns="45720" rIns="91440" bIns="45720" numCol="1" rtlCol="0" anchor="t" anchorCtr="0" compatLnSpc="1">
              <a:prstTxWarp prst="textNoShape">
                <a:avLst/>
              </a:prstTxWarp>
            </a:bodyPr>
            <a:lstStyle/>
            <a:p>
              <a:pPr eaLnBrk="0" hangingPunct="0"/>
              <a:endParaRPr lang="en-US" sz="2800">
                <a:latin typeface="Arial" charset="0"/>
                <a:ea typeface="ヒラギノ角ゴ Pro W3" pitchFamily="48" charset="-128"/>
                <a:cs typeface="Arial" charset="0"/>
              </a:endParaRPr>
            </a:p>
          </p:txBody>
        </p:sp>
        <p:sp>
          <p:nvSpPr>
            <p:cNvPr id="56" name="Freeform 55"/>
            <p:cNvSpPr/>
            <p:nvPr/>
          </p:nvSpPr>
          <p:spPr bwMode="auto">
            <a:xfrm>
              <a:off x="7484705" y="313794"/>
              <a:ext cx="363896" cy="738348"/>
            </a:xfrm>
            <a:custGeom>
              <a:avLst/>
              <a:gdLst>
                <a:gd name="connsiteX0" fmla="*/ 118937 w 1223178"/>
                <a:gd name="connsiteY0" fmla="*/ 4214 h 1843402"/>
                <a:gd name="connsiteX1" fmla="*/ 6970 w 1223178"/>
                <a:gd name="connsiteY1" fmla="*/ 685349 h 1843402"/>
                <a:gd name="connsiteX2" fmla="*/ 72284 w 1223178"/>
                <a:gd name="connsiteY2" fmla="*/ 1375814 h 1843402"/>
                <a:gd name="connsiteX3" fmla="*/ 557476 w 1223178"/>
                <a:gd name="connsiteY3" fmla="*/ 1814353 h 1843402"/>
                <a:gd name="connsiteX4" fmla="*/ 818733 w 1223178"/>
                <a:gd name="connsiteY4" fmla="*/ 1749038 h 1843402"/>
                <a:gd name="connsiteX5" fmla="*/ 1154635 w 1223178"/>
                <a:gd name="connsiteY5" fmla="*/ 1319830 h 1843402"/>
                <a:gd name="connsiteX6" fmla="*/ 1219950 w 1223178"/>
                <a:gd name="connsiteY6" fmla="*/ 787985 h 1843402"/>
                <a:gd name="connsiteX7" fmla="*/ 1098652 w 1223178"/>
                <a:gd name="connsiteY7" fmla="*/ 4214 h 1843402"/>
                <a:gd name="connsiteX8" fmla="*/ 1117313 w 1223178"/>
                <a:gd name="connsiteY8" fmla="*/ 498736 h 1843402"/>
                <a:gd name="connsiteX9" fmla="*/ 1117313 w 1223178"/>
                <a:gd name="connsiteY9" fmla="*/ 993259 h 1843402"/>
                <a:gd name="connsiteX10" fmla="*/ 958692 w 1223178"/>
                <a:gd name="connsiteY10" fmla="*/ 1431798 h 1843402"/>
                <a:gd name="connsiteX11" fmla="*/ 762750 w 1223178"/>
                <a:gd name="connsiteY11" fmla="*/ 1665063 h 1843402"/>
                <a:gd name="connsiteX12" fmla="*/ 641452 w 1223178"/>
                <a:gd name="connsiteY12" fmla="*/ 1693055 h 1843402"/>
                <a:gd name="connsiteX13" fmla="*/ 632121 w 1223178"/>
                <a:gd name="connsiteY13" fmla="*/ 1525104 h 1843402"/>
                <a:gd name="connsiteX14" fmla="*/ 734758 w 1223178"/>
                <a:gd name="connsiteY14" fmla="*/ 1291838 h 1843402"/>
                <a:gd name="connsiteX15" fmla="*/ 706766 w 1223178"/>
                <a:gd name="connsiteY15" fmla="*/ 1077234 h 1843402"/>
                <a:gd name="connsiteX16" fmla="*/ 594799 w 1223178"/>
                <a:gd name="connsiteY16" fmla="*/ 666687 h 1843402"/>
                <a:gd name="connsiteX17" fmla="*/ 445509 w 1223178"/>
                <a:gd name="connsiteY17" fmla="*/ 1039912 h 1843402"/>
                <a:gd name="connsiteX18" fmla="*/ 436178 w 1223178"/>
                <a:gd name="connsiteY18" fmla="*/ 1375814 h 1843402"/>
                <a:gd name="connsiteX19" fmla="*/ 529484 w 1223178"/>
                <a:gd name="connsiteY19" fmla="*/ 1553096 h 1843402"/>
                <a:gd name="connsiteX20" fmla="*/ 548145 w 1223178"/>
                <a:gd name="connsiteY20" fmla="*/ 1683724 h 1843402"/>
                <a:gd name="connsiteX21" fmla="*/ 249566 w 1223178"/>
                <a:gd name="connsiteY21" fmla="*/ 1487781 h 1843402"/>
                <a:gd name="connsiteX22" fmla="*/ 100276 w 1223178"/>
                <a:gd name="connsiteY22" fmla="*/ 1049242 h 1843402"/>
                <a:gd name="connsiteX23" fmla="*/ 146929 w 1223178"/>
                <a:gd name="connsiteY23" fmla="*/ 508067 h 1843402"/>
                <a:gd name="connsiteX24" fmla="*/ 174921 w 1223178"/>
                <a:gd name="connsiteY24" fmla="*/ 13545 h 1843402"/>
                <a:gd name="connsiteX25" fmla="*/ 174921 w 1223178"/>
                <a:gd name="connsiteY25" fmla="*/ 13545 h 1843402"/>
                <a:gd name="connsiteX0" fmla="*/ 118937 w 1223178"/>
                <a:gd name="connsiteY0" fmla="*/ 38655 h 1877843"/>
                <a:gd name="connsiteX1" fmla="*/ 6970 w 1223178"/>
                <a:gd name="connsiteY1" fmla="*/ 719790 h 1877843"/>
                <a:gd name="connsiteX2" fmla="*/ 72284 w 1223178"/>
                <a:gd name="connsiteY2" fmla="*/ 1410255 h 1877843"/>
                <a:gd name="connsiteX3" fmla="*/ 557476 w 1223178"/>
                <a:gd name="connsiteY3" fmla="*/ 1848794 h 1877843"/>
                <a:gd name="connsiteX4" fmla="*/ 818733 w 1223178"/>
                <a:gd name="connsiteY4" fmla="*/ 1783479 h 1877843"/>
                <a:gd name="connsiteX5" fmla="*/ 1154635 w 1223178"/>
                <a:gd name="connsiteY5" fmla="*/ 1354271 h 1877843"/>
                <a:gd name="connsiteX6" fmla="*/ 1219950 w 1223178"/>
                <a:gd name="connsiteY6" fmla="*/ 822426 h 1877843"/>
                <a:gd name="connsiteX7" fmla="*/ 1098652 w 1223178"/>
                <a:gd name="connsiteY7" fmla="*/ 38655 h 1877843"/>
                <a:gd name="connsiteX8" fmla="*/ 1117313 w 1223178"/>
                <a:gd name="connsiteY8" fmla="*/ 533177 h 1877843"/>
                <a:gd name="connsiteX9" fmla="*/ 1117313 w 1223178"/>
                <a:gd name="connsiteY9" fmla="*/ 1027700 h 1877843"/>
                <a:gd name="connsiteX10" fmla="*/ 958692 w 1223178"/>
                <a:gd name="connsiteY10" fmla="*/ 1466239 h 1877843"/>
                <a:gd name="connsiteX11" fmla="*/ 762750 w 1223178"/>
                <a:gd name="connsiteY11" fmla="*/ 1699504 h 1877843"/>
                <a:gd name="connsiteX12" fmla="*/ 641452 w 1223178"/>
                <a:gd name="connsiteY12" fmla="*/ 1727496 h 1877843"/>
                <a:gd name="connsiteX13" fmla="*/ 632121 w 1223178"/>
                <a:gd name="connsiteY13" fmla="*/ 1559545 h 1877843"/>
                <a:gd name="connsiteX14" fmla="*/ 734758 w 1223178"/>
                <a:gd name="connsiteY14" fmla="*/ 1326279 h 1877843"/>
                <a:gd name="connsiteX15" fmla="*/ 706766 w 1223178"/>
                <a:gd name="connsiteY15" fmla="*/ 1111675 h 1877843"/>
                <a:gd name="connsiteX16" fmla="*/ 594799 w 1223178"/>
                <a:gd name="connsiteY16" fmla="*/ 701128 h 1877843"/>
                <a:gd name="connsiteX17" fmla="*/ 445509 w 1223178"/>
                <a:gd name="connsiteY17" fmla="*/ 1074353 h 1877843"/>
                <a:gd name="connsiteX18" fmla="*/ 436178 w 1223178"/>
                <a:gd name="connsiteY18" fmla="*/ 1410255 h 1877843"/>
                <a:gd name="connsiteX19" fmla="*/ 529484 w 1223178"/>
                <a:gd name="connsiteY19" fmla="*/ 1587537 h 1877843"/>
                <a:gd name="connsiteX20" fmla="*/ 548145 w 1223178"/>
                <a:gd name="connsiteY20" fmla="*/ 1718165 h 1877843"/>
                <a:gd name="connsiteX21" fmla="*/ 249566 w 1223178"/>
                <a:gd name="connsiteY21" fmla="*/ 1522222 h 1877843"/>
                <a:gd name="connsiteX22" fmla="*/ 100276 w 1223178"/>
                <a:gd name="connsiteY22" fmla="*/ 1083683 h 1877843"/>
                <a:gd name="connsiteX23" fmla="*/ 146929 w 1223178"/>
                <a:gd name="connsiteY23" fmla="*/ 542508 h 1877843"/>
                <a:gd name="connsiteX24" fmla="*/ 174921 w 1223178"/>
                <a:gd name="connsiteY24" fmla="*/ 47986 h 1877843"/>
                <a:gd name="connsiteX25" fmla="*/ 118937 w 1223178"/>
                <a:gd name="connsiteY25" fmla="*/ 10663 h 1877843"/>
                <a:gd name="connsiteX0" fmla="*/ 118937 w 1223178"/>
                <a:gd name="connsiteY0" fmla="*/ 38655 h 1877843"/>
                <a:gd name="connsiteX1" fmla="*/ 6970 w 1223178"/>
                <a:gd name="connsiteY1" fmla="*/ 719790 h 1877843"/>
                <a:gd name="connsiteX2" fmla="*/ 72284 w 1223178"/>
                <a:gd name="connsiteY2" fmla="*/ 1410255 h 1877843"/>
                <a:gd name="connsiteX3" fmla="*/ 557476 w 1223178"/>
                <a:gd name="connsiteY3" fmla="*/ 1848794 h 1877843"/>
                <a:gd name="connsiteX4" fmla="*/ 818733 w 1223178"/>
                <a:gd name="connsiteY4" fmla="*/ 1783479 h 1877843"/>
                <a:gd name="connsiteX5" fmla="*/ 1154635 w 1223178"/>
                <a:gd name="connsiteY5" fmla="*/ 1354271 h 1877843"/>
                <a:gd name="connsiteX6" fmla="*/ 1219950 w 1223178"/>
                <a:gd name="connsiteY6" fmla="*/ 822426 h 1877843"/>
                <a:gd name="connsiteX7" fmla="*/ 1098652 w 1223178"/>
                <a:gd name="connsiteY7" fmla="*/ 38655 h 1877843"/>
                <a:gd name="connsiteX8" fmla="*/ 1117313 w 1223178"/>
                <a:gd name="connsiteY8" fmla="*/ 533177 h 1877843"/>
                <a:gd name="connsiteX9" fmla="*/ 1117313 w 1223178"/>
                <a:gd name="connsiteY9" fmla="*/ 1027700 h 1877843"/>
                <a:gd name="connsiteX10" fmla="*/ 958692 w 1223178"/>
                <a:gd name="connsiteY10" fmla="*/ 1466239 h 1877843"/>
                <a:gd name="connsiteX11" fmla="*/ 762750 w 1223178"/>
                <a:gd name="connsiteY11" fmla="*/ 1699504 h 1877843"/>
                <a:gd name="connsiteX12" fmla="*/ 641452 w 1223178"/>
                <a:gd name="connsiteY12" fmla="*/ 1727496 h 1877843"/>
                <a:gd name="connsiteX13" fmla="*/ 632121 w 1223178"/>
                <a:gd name="connsiteY13" fmla="*/ 1559545 h 1877843"/>
                <a:gd name="connsiteX14" fmla="*/ 734758 w 1223178"/>
                <a:gd name="connsiteY14" fmla="*/ 1326279 h 1877843"/>
                <a:gd name="connsiteX15" fmla="*/ 706766 w 1223178"/>
                <a:gd name="connsiteY15" fmla="*/ 1111675 h 1877843"/>
                <a:gd name="connsiteX16" fmla="*/ 594799 w 1223178"/>
                <a:gd name="connsiteY16" fmla="*/ 701128 h 1877843"/>
                <a:gd name="connsiteX17" fmla="*/ 445509 w 1223178"/>
                <a:gd name="connsiteY17" fmla="*/ 1074353 h 1877843"/>
                <a:gd name="connsiteX18" fmla="*/ 436178 w 1223178"/>
                <a:gd name="connsiteY18" fmla="*/ 1410255 h 1877843"/>
                <a:gd name="connsiteX19" fmla="*/ 529484 w 1223178"/>
                <a:gd name="connsiteY19" fmla="*/ 1587537 h 1877843"/>
                <a:gd name="connsiteX20" fmla="*/ 548145 w 1223178"/>
                <a:gd name="connsiteY20" fmla="*/ 1718165 h 1877843"/>
                <a:gd name="connsiteX21" fmla="*/ 249566 w 1223178"/>
                <a:gd name="connsiteY21" fmla="*/ 1522222 h 1877843"/>
                <a:gd name="connsiteX22" fmla="*/ 100276 w 1223178"/>
                <a:gd name="connsiteY22" fmla="*/ 1083683 h 1877843"/>
                <a:gd name="connsiteX23" fmla="*/ 146929 w 1223178"/>
                <a:gd name="connsiteY23" fmla="*/ 542508 h 1877843"/>
                <a:gd name="connsiteX24" fmla="*/ 174921 w 1223178"/>
                <a:gd name="connsiteY24" fmla="*/ 47986 h 1877843"/>
                <a:gd name="connsiteX25" fmla="*/ 118937 w 1223178"/>
                <a:gd name="connsiteY25" fmla="*/ 10663 h 1877843"/>
                <a:gd name="connsiteX26" fmla="*/ 118937 w 1223178"/>
                <a:gd name="connsiteY26" fmla="*/ 38655 h 1877843"/>
                <a:gd name="connsiteX0" fmla="*/ 118937 w 1223178"/>
                <a:gd name="connsiteY0" fmla="*/ 10663 h 1877843"/>
                <a:gd name="connsiteX1" fmla="*/ 6970 w 1223178"/>
                <a:gd name="connsiteY1" fmla="*/ 719790 h 1877843"/>
                <a:gd name="connsiteX2" fmla="*/ 72284 w 1223178"/>
                <a:gd name="connsiteY2" fmla="*/ 1410255 h 1877843"/>
                <a:gd name="connsiteX3" fmla="*/ 557476 w 1223178"/>
                <a:gd name="connsiteY3" fmla="*/ 1848794 h 1877843"/>
                <a:gd name="connsiteX4" fmla="*/ 818733 w 1223178"/>
                <a:gd name="connsiteY4" fmla="*/ 1783479 h 1877843"/>
                <a:gd name="connsiteX5" fmla="*/ 1154635 w 1223178"/>
                <a:gd name="connsiteY5" fmla="*/ 1354271 h 1877843"/>
                <a:gd name="connsiteX6" fmla="*/ 1219950 w 1223178"/>
                <a:gd name="connsiteY6" fmla="*/ 822426 h 1877843"/>
                <a:gd name="connsiteX7" fmla="*/ 1098652 w 1223178"/>
                <a:gd name="connsiteY7" fmla="*/ 38655 h 1877843"/>
                <a:gd name="connsiteX8" fmla="*/ 1117313 w 1223178"/>
                <a:gd name="connsiteY8" fmla="*/ 533177 h 1877843"/>
                <a:gd name="connsiteX9" fmla="*/ 1117313 w 1223178"/>
                <a:gd name="connsiteY9" fmla="*/ 1027700 h 1877843"/>
                <a:gd name="connsiteX10" fmla="*/ 958692 w 1223178"/>
                <a:gd name="connsiteY10" fmla="*/ 1466239 h 1877843"/>
                <a:gd name="connsiteX11" fmla="*/ 762750 w 1223178"/>
                <a:gd name="connsiteY11" fmla="*/ 1699504 h 1877843"/>
                <a:gd name="connsiteX12" fmla="*/ 641452 w 1223178"/>
                <a:gd name="connsiteY12" fmla="*/ 1727496 h 1877843"/>
                <a:gd name="connsiteX13" fmla="*/ 632121 w 1223178"/>
                <a:gd name="connsiteY13" fmla="*/ 1559545 h 1877843"/>
                <a:gd name="connsiteX14" fmla="*/ 734758 w 1223178"/>
                <a:gd name="connsiteY14" fmla="*/ 1326279 h 1877843"/>
                <a:gd name="connsiteX15" fmla="*/ 706766 w 1223178"/>
                <a:gd name="connsiteY15" fmla="*/ 1111675 h 1877843"/>
                <a:gd name="connsiteX16" fmla="*/ 594799 w 1223178"/>
                <a:gd name="connsiteY16" fmla="*/ 701128 h 1877843"/>
                <a:gd name="connsiteX17" fmla="*/ 445509 w 1223178"/>
                <a:gd name="connsiteY17" fmla="*/ 1074353 h 1877843"/>
                <a:gd name="connsiteX18" fmla="*/ 436178 w 1223178"/>
                <a:gd name="connsiteY18" fmla="*/ 1410255 h 1877843"/>
                <a:gd name="connsiteX19" fmla="*/ 529484 w 1223178"/>
                <a:gd name="connsiteY19" fmla="*/ 1587537 h 1877843"/>
                <a:gd name="connsiteX20" fmla="*/ 548145 w 1223178"/>
                <a:gd name="connsiteY20" fmla="*/ 1718165 h 1877843"/>
                <a:gd name="connsiteX21" fmla="*/ 249566 w 1223178"/>
                <a:gd name="connsiteY21" fmla="*/ 1522222 h 1877843"/>
                <a:gd name="connsiteX22" fmla="*/ 100276 w 1223178"/>
                <a:gd name="connsiteY22" fmla="*/ 1083683 h 1877843"/>
                <a:gd name="connsiteX23" fmla="*/ 146929 w 1223178"/>
                <a:gd name="connsiteY23" fmla="*/ 542508 h 1877843"/>
                <a:gd name="connsiteX24" fmla="*/ 174921 w 1223178"/>
                <a:gd name="connsiteY24" fmla="*/ 47986 h 1877843"/>
                <a:gd name="connsiteX25" fmla="*/ 118937 w 1223178"/>
                <a:gd name="connsiteY25" fmla="*/ 10663 h 1877843"/>
                <a:gd name="connsiteX0" fmla="*/ 118937 w 1223178"/>
                <a:gd name="connsiteY0" fmla="*/ 13287 h 1880467"/>
                <a:gd name="connsiteX1" fmla="*/ 6970 w 1223178"/>
                <a:gd name="connsiteY1" fmla="*/ 722414 h 1880467"/>
                <a:gd name="connsiteX2" fmla="*/ 72284 w 1223178"/>
                <a:gd name="connsiteY2" fmla="*/ 1412879 h 1880467"/>
                <a:gd name="connsiteX3" fmla="*/ 557476 w 1223178"/>
                <a:gd name="connsiteY3" fmla="*/ 1851418 h 1880467"/>
                <a:gd name="connsiteX4" fmla="*/ 818733 w 1223178"/>
                <a:gd name="connsiteY4" fmla="*/ 1786103 h 1880467"/>
                <a:gd name="connsiteX5" fmla="*/ 1154635 w 1223178"/>
                <a:gd name="connsiteY5" fmla="*/ 1356895 h 1880467"/>
                <a:gd name="connsiteX6" fmla="*/ 1219950 w 1223178"/>
                <a:gd name="connsiteY6" fmla="*/ 825050 h 1880467"/>
                <a:gd name="connsiteX7" fmla="*/ 1098652 w 1223178"/>
                <a:gd name="connsiteY7" fmla="*/ 41279 h 1880467"/>
                <a:gd name="connsiteX8" fmla="*/ 1117313 w 1223178"/>
                <a:gd name="connsiteY8" fmla="*/ 535801 h 1880467"/>
                <a:gd name="connsiteX9" fmla="*/ 1117313 w 1223178"/>
                <a:gd name="connsiteY9" fmla="*/ 1030324 h 1880467"/>
                <a:gd name="connsiteX10" fmla="*/ 958692 w 1223178"/>
                <a:gd name="connsiteY10" fmla="*/ 1468863 h 1880467"/>
                <a:gd name="connsiteX11" fmla="*/ 762750 w 1223178"/>
                <a:gd name="connsiteY11" fmla="*/ 1702128 h 1880467"/>
                <a:gd name="connsiteX12" fmla="*/ 641452 w 1223178"/>
                <a:gd name="connsiteY12" fmla="*/ 1730120 h 1880467"/>
                <a:gd name="connsiteX13" fmla="*/ 632121 w 1223178"/>
                <a:gd name="connsiteY13" fmla="*/ 1562169 h 1880467"/>
                <a:gd name="connsiteX14" fmla="*/ 734758 w 1223178"/>
                <a:gd name="connsiteY14" fmla="*/ 1328903 h 1880467"/>
                <a:gd name="connsiteX15" fmla="*/ 706766 w 1223178"/>
                <a:gd name="connsiteY15" fmla="*/ 1114299 h 1880467"/>
                <a:gd name="connsiteX16" fmla="*/ 594799 w 1223178"/>
                <a:gd name="connsiteY16" fmla="*/ 703752 h 1880467"/>
                <a:gd name="connsiteX17" fmla="*/ 445509 w 1223178"/>
                <a:gd name="connsiteY17" fmla="*/ 1076977 h 1880467"/>
                <a:gd name="connsiteX18" fmla="*/ 436178 w 1223178"/>
                <a:gd name="connsiteY18" fmla="*/ 1412879 h 1880467"/>
                <a:gd name="connsiteX19" fmla="*/ 529484 w 1223178"/>
                <a:gd name="connsiteY19" fmla="*/ 1590161 h 1880467"/>
                <a:gd name="connsiteX20" fmla="*/ 548145 w 1223178"/>
                <a:gd name="connsiteY20" fmla="*/ 1720789 h 1880467"/>
                <a:gd name="connsiteX21" fmla="*/ 249566 w 1223178"/>
                <a:gd name="connsiteY21" fmla="*/ 1524846 h 1880467"/>
                <a:gd name="connsiteX22" fmla="*/ 100276 w 1223178"/>
                <a:gd name="connsiteY22" fmla="*/ 1086307 h 1880467"/>
                <a:gd name="connsiteX23" fmla="*/ 118937 w 1223178"/>
                <a:gd name="connsiteY23" fmla="*/ 582455 h 1880467"/>
                <a:gd name="connsiteX24" fmla="*/ 174921 w 1223178"/>
                <a:gd name="connsiteY24" fmla="*/ 50610 h 1880467"/>
                <a:gd name="connsiteX25" fmla="*/ 118937 w 1223178"/>
                <a:gd name="connsiteY25" fmla="*/ 13287 h 1880467"/>
                <a:gd name="connsiteX0" fmla="*/ 118937 w 1223178"/>
                <a:gd name="connsiteY0" fmla="*/ 948 h 1868128"/>
                <a:gd name="connsiteX1" fmla="*/ 6970 w 1223178"/>
                <a:gd name="connsiteY1" fmla="*/ 710075 h 1868128"/>
                <a:gd name="connsiteX2" fmla="*/ 72284 w 1223178"/>
                <a:gd name="connsiteY2" fmla="*/ 1400540 h 1868128"/>
                <a:gd name="connsiteX3" fmla="*/ 557476 w 1223178"/>
                <a:gd name="connsiteY3" fmla="*/ 1839079 h 1868128"/>
                <a:gd name="connsiteX4" fmla="*/ 818733 w 1223178"/>
                <a:gd name="connsiteY4" fmla="*/ 1773764 h 1868128"/>
                <a:gd name="connsiteX5" fmla="*/ 1154635 w 1223178"/>
                <a:gd name="connsiteY5" fmla="*/ 1344556 h 1868128"/>
                <a:gd name="connsiteX6" fmla="*/ 1219950 w 1223178"/>
                <a:gd name="connsiteY6" fmla="*/ 812711 h 1868128"/>
                <a:gd name="connsiteX7" fmla="*/ 1098652 w 1223178"/>
                <a:gd name="connsiteY7" fmla="*/ 28940 h 1868128"/>
                <a:gd name="connsiteX8" fmla="*/ 1117313 w 1223178"/>
                <a:gd name="connsiteY8" fmla="*/ 523462 h 1868128"/>
                <a:gd name="connsiteX9" fmla="*/ 1117313 w 1223178"/>
                <a:gd name="connsiteY9" fmla="*/ 1017985 h 1868128"/>
                <a:gd name="connsiteX10" fmla="*/ 958692 w 1223178"/>
                <a:gd name="connsiteY10" fmla="*/ 1456524 h 1868128"/>
                <a:gd name="connsiteX11" fmla="*/ 762750 w 1223178"/>
                <a:gd name="connsiteY11" fmla="*/ 1689789 h 1868128"/>
                <a:gd name="connsiteX12" fmla="*/ 641452 w 1223178"/>
                <a:gd name="connsiteY12" fmla="*/ 1717781 h 1868128"/>
                <a:gd name="connsiteX13" fmla="*/ 632121 w 1223178"/>
                <a:gd name="connsiteY13" fmla="*/ 1549830 h 1868128"/>
                <a:gd name="connsiteX14" fmla="*/ 734758 w 1223178"/>
                <a:gd name="connsiteY14" fmla="*/ 1316564 h 1868128"/>
                <a:gd name="connsiteX15" fmla="*/ 706766 w 1223178"/>
                <a:gd name="connsiteY15" fmla="*/ 1101960 h 1868128"/>
                <a:gd name="connsiteX16" fmla="*/ 594799 w 1223178"/>
                <a:gd name="connsiteY16" fmla="*/ 691413 h 1868128"/>
                <a:gd name="connsiteX17" fmla="*/ 445509 w 1223178"/>
                <a:gd name="connsiteY17" fmla="*/ 1064638 h 1868128"/>
                <a:gd name="connsiteX18" fmla="*/ 436178 w 1223178"/>
                <a:gd name="connsiteY18" fmla="*/ 1400540 h 1868128"/>
                <a:gd name="connsiteX19" fmla="*/ 529484 w 1223178"/>
                <a:gd name="connsiteY19" fmla="*/ 1577822 h 1868128"/>
                <a:gd name="connsiteX20" fmla="*/ 548145 w 1223178"/>
                <a:gd name="connsiteY20" fmla="*/ 1708450 h 1868128"/>
                <a:gd name="connsiteX21" fmla="*/ 249566 w 1223178"/>
                <a:gd name="connsiteY21" fmla="*/ 1512507 h 1868128"/>
                <a:gd name="connsiteX22" fmla="*/ 100276 w 1223178"/>
                <a:gd name="connsiteY22" fmla="*/ 1073968 h 1868128"/>
                <a:gd name="connsiteX23" fmla="*/ 118937 w 1223178"/>
                <a:gd name="connsiteY23" fmla="*/ 570116 h 1868128"/>
                <a:gd name="connsiteX24" fmla="*/ 118937 w 1223178"/>
                <a:gd name="connsiteY24" fmla="*/ 948 h 1868128"/>
                <a:gd name="connsiteX0" fmla="*/ 118937 w 1223178"/>
                <a:gd name="connsiteY0" fmla="*/ 823 h 1868003"/>
                <a:gd name="connsiteX1" fmla="*/ 6970 w 1223178"/>
                <a:gd name="connsiteY1" fmla="*/ 709950 h 1868003"/>
                <a:gd name="connsiteX2" fmla="*/ 72284 w 1223178"/>
                <a:gd name="connsiteY2" fmla="*/ 1400415 h 1868003"/>
                <a:gd name="connsiteX3" fmla="*/ 557476 w 1223178"/>
                <a:gd name="connsiteY3" fmla="*/ 1838954 h 1868003"/>
                <a:gd name="connsiteX4" fmla="*/ 818733 w 1223178"/>
                <a:gd name="connsiteY4" fmla="*/ 1773639 h 1868003"/>
                <a:gd name="connsiteX5" fmla="*/ 1154635 w 1223178"/>
                <a:gd name="connsiteY5" fmla="*/ 1344431 h 1868003"/>
                <a:gd name="connsiteX6" fmla="*/ 1219950 w 1223178"/>
                <a:gd name="connsiteY6" fmla="*/ 812586 h 1868003"/>
                <a:gd name="connsiteX7" fmla="*/ 1098652 w 1223178"/>
                <a:gd name="connsiteY7" fmla="*/ 28815 h 1868003"/>
                <a:gd name="connsiteX8" fmla="*/ 1117313 w 1223178"/>
                <a:gd name="connsiteY8" fmla="*/ 523337 h 1868003"/>
                <a:gd name="connsiteX9" fmla="*/ 1117313 w 1223178"/>
                <a:gd name="connsiteY9" fmla="*/ 1017860 h 1868003"/>
                <a:gd name="connsiteX10" fmla="*/ 958692 w 1223178"/>
                <a:gd name="connsiteY10" fmla="*/ 1456399 h 1868003"/>
                <a:gd name="connsiteX11" fmla="*/ 762750 w 1223178"/>
                <a:gd name="connsiteY11" fmla="*/ 1689664 h 1868003"/>
                <a:gd name="connsiteX12" fmla="*/ 641452 w 1223178"/>
                <a:gd name="connsiteY12" fmla="*/ 1717656 h 1868003"/>
                <a:gd name="connsiteX13" fmla="*/ 632121 w 1223178"/>
                <a:gd name="connsiteY13" fmla="*/ 1549705 h 1868003"/>
                <a:gd name="connsiteX14" fmla="*/ 734758 w 1223178"/>
                <a:gd name="connsiteY14" fmla="*/ 1316439 h 1868003"/>
                <a:gd name="connsiteX15" fmla="*/ 706766 w 1223178"/>
                <a:gd name="connsiteY15" fmla="*/ 1101835 h 1868003"/>
                <a:gd name="connsiteX16" fmla="*/ 594799 w 1223178"/>
                <a:gd name="connsiteY16" fmla="*/ 691288 h 1868003"/>
                <a:gd name="connsiteX17" fmla="*/ 445509 w 1223178"/>
                <a:gd name="connsiteY17" fmla="*/ 1064513 h 1868003"/>
                <a:gd name="connsiteX18" fmla="*/ 436178 w 1223178"/>
                <a:gd name="connsiteY18" fmla="*/ 1400415 h 1868003"/>
                <a:gd name="connsiteX19" fmla="*/ 529484 w 1223178"/>
                <a:gd name="connsiteY19" fmla="*/ 1577697 h 1868003"/>
                <a:gd name="connsiteX20" fmla="*/ 548145 w 1223178"/>
                <a:gd name="connsiteY20" fmla="*/ 1708325 h 1868003"/>
                <a:gd name="connsiteX21" fmla="*/ 249566 w 1223178"/>
                <a:gd name="connsiteY21" fmla="*/ 1512382 h 1868003"/>
                <a:gd name="connsiteX22" fmla="*/ 100276 w 1223178"/>
                <a:gd name="connsiteY22" fmla="*/ 1073843 h 1868003"/>
                <a:gd name="connsiteX23" fmla="*/ 90945 w 1223178"/>
                <a:gd name="connsiteY23" fmla="*/ 635305 h 1868003"/>
                <a:gd name="connsiteX24" fmla="*/ 118937 w 1223178"/>
                <a:gd name="connsiteY24" fmla="*/ 823 h 1868003"/>
                <a:gd name="connsiteX0" fmla="*/ 118937 w 1223178"/>
                <a:gd name="connsiteY0" fmla="*/ 823 h 1868003"/>
                <a:gd name="connsiteX1" fmla="*/ 6970 w 1223178"/>
                <a:gd name="connsiteY1" fmla="*/ 709950 h 1868003"/>
                <a:gd name="connsiteX2" fmla="*/ 72284 w 1223178"/>
                <a:gd name="connsiteY2" fmla="*/ 1400415 h 1868003"/>
                <a:gd name="connsiteX3" fmla="*/ 557476 w 1223178"/>
                <a:gd name="connsiteY3" fmla="*/ 1838954 h 1868003"/>
                <a:gd name="connsiteX4" fmla="*/ 818733 w 1223178"/>
                <a:gd name="connsiteY4" fmla="*/ 1773639 h 1868003"/>
                <a:gd name="connsiteX5" fmla="*/ 1154635 w 1223178"/>
                <a:gd name="connsiteY5" fmla="*/ 1344431 h 1868003"/>
                <a:gd name="connsiteX6" fmla="*/ 1219950 w 1223178"/>
                <a:gd name="connsiteY6" fmla="*/ 812586 h 1868003"/>
                <a:gd name="connsiteX7" fmla="*/ 1098652 w 1223178"/>
                <a:gd name="connsiteY7" fmla="*/ 28815 h 1868003"/>
                <a:gd name="connsiteX8" fmla="*/ 1117313 w 1223178"/>
                <a:gd name="connsiteY8" fmla="*/ 523337 h 1868003"/>
                <a:gd name="connsiteX9" fmla="*/ 1117313 w 1223178"/>
                <a:gd name="connsiteY9" fmla="*/ 1017860 h 1868003"/>
                <a:gd name="connsiteX10" fmla="*/ 958692 w 1223178"/>
                <a:gd name="connsiteY10" fmla="*/ 1456399 h 1868003"/>
                <a:gd name="connsiteX11" fmla="*/ 762750 w 1223178"/>
                <a:gd name="connsiteY11" fmla="*/ 1689664 h 1868003"/>
                <a:gd name="connsiteX12" fmla="*/ 641452 w 1223178"/>
                <a:gd name="connsiteY12" fmla="*/ 1717656 h 1868003"/>
                <a:gd name="connsiteX13" fmla="*/ 632121 w 1223178"/>
                <a:gd name="connsiteY13" fmla="*/ 1549705 h 1868003"/>
                <a:gd name="connsiteX14" fmla="*/ 734758 w 1223178"/>
                <a:gd name="connsiteY14" fmla="*/ 1316439 h 1868003"/>
                <a:gd name="connsiteX15" fmla="*/ 706766 w 1223178"/>
                <a:gd name="connsiteY15" fmla="*/ 1101835 h 1868003"/>
                <a:gd name="connsiteX16" fmla="*/ 594799 w 1223178"/>
                <a:gd name="connsiteY16" fmla="*/ 691288 h 1868003"/>
                <a:gd name="connsiteX17" fmla="*/ 445509 w 1223178"/>
                <a:gd name="connsiteY17" fmla="*/ 1064513 h 1868003"/>
                <a:gd name="connsiteX18" fmla="*/ 436178 w 1223178"/>
                <a:gd name="connsiteY18" fmla="*/ 1400415 h 1868003"/>
                <a:gd name="connsiteX19" fmla="*/ 529484 w 1223178"/>
                <a:gd name="connsiteY19" fmla="*/ 1577697 h 1868003"/>
                <a:gd name="connsiteX20" fmla="*/ 548145 w 1223178"/>
                <a:gd name="connsiteY20" fmla="*/ 1708325 h 1868003"/>
                <a:gd name="connsiteX21" fmla="*/ 249566 w 1223178"/>
                <a:gd name="connsiteY21" fmla="*/ 1512382 h 1868003"/>
                <a:gd name="connsiteX22" fmla="*/ 90945 w 1223178"/>
                <a:gd name="connsiteY22" fmla="*/ 635305 h 1868003"/>
                <a:gd name="connsiteX23" fmla="*/ 118937 w 1223178"/>
                <a:gd name="connsiteY23" fmla="*/ 823 h 1868003"/>
                <a:gd name="connsiteX0" fmla="*/ 118937 w 1223178"/>
                <a:gd name="connsiteY0" fmla="*/ 1 h 1867181"/>
                <a:gd name="connsiteX1" fmla="*/ 6970 w 1223178"/>
                <a:gd name="connsiteY1" fmla="*/ 709128 h 1867181"/>
                <a:gd name="connsiteX2" fmla="*/ 72284 w 1223178"/>
                <a:gd name="connsiteY2" fmla="*/ 1399593 h 1867181"/>
                <a:gd name="connsiteX3" fmla="*/ 557476 w 1223178"/>
                <a:gd name="connsiteY3" fmla="*/ 1838132 h 1867181"/>
                <a:gd name="connsiteX4" fmla="*/ 818733 w 1223178"/>
                <a:gd name="connsiteY4" fmla="*/ 1772817 h 1867181"/>
                <a:gd name="connsiteX5" fmla="*/ 1154635 w 1223178"/>
                <a:gd name="connsiteY5" fmla="*/ 1343609 h 1867181"/>
                <a:gd name="connsiteX6" fmla="*/ 1219950 w 1223178"/>
                <a:gd name="connsiteY6" fmla="*/ 811764 h 1867181"/>
                <a:gd name="connsiteX7" fmla="*/ 1098652 w 1223178"/>
                <a:gd name="connsiteY7" fmla="*/ 27993 h 1867181"/>
                <a:gd name="connsiteX8" fmla="*/ 1117313 w 1223178"/>
                <a:gd name="connsiteY8" fmla="*/ 522515 h 1867181"/>
                <a:gd name="connsiteX9" fmla="*/ 1117313 w 1223178"/>
                <a:gd name="connsiteY9" fmla="*/ 1017038 h 1867181"/>
                <a:gd name="connsiteX10" fmla="*/ 958692 w 1223178"/>
                <a:gd name="connsiteY10" fmla="*/ 1455577 h 1867181"/>
                <a:gd name="connsiteX11" fmla="*/ 762750 w 1223178"/>
                <a:gd name="connsiteY11" fmla="*/ 1688842 h 1867181"/>
                <a:gd name="connsiteX12" fmla="*/ 641452 w 1223178"/>
                <a:gd name="connsiteY12" fmla="*/ 1716834 h 1867181"/>
                <a:gd name="connsiteX13" fmla="*/ 632121 w 1223178"/>
                <a:gd name="connsiteY13" fmla="*/ 1548883 h 1867181"/>
                <a:gd name="connsiteX14" fmla="*/ 734758 w 1223178"/>
                <a:gd name="connsiteY14" fmla="*/ 1315617 h 1867181"/>
                <a:gd name="connsiteX15" fmla="*/ 706766 w 1223178"/>
                <a:gd name="connsiteY15" fmla="*/ 1101013 h 1867181"/>
                <a:gd name="connsiteX16" fmla="*/ 594799 w 1223178"/>
                <a:gd name="connsiteY16" fmla="*/ 690466 h 1867181"/>
                <a:gd name="connsiteX17" fmla="*/ 445509 w 1223178"/>
                <a:gd name="connsiteY17" fmla="*/ 1063691 h 1867181"/>
                <a:gd name="connsiteX18" fmla="*/ 436178 w 1223178"/>
                <a:gd name="connsiteY18" fmla="*/ 1399593 h 1867181"/>
                <a:gd name="connsiteX19" fmla="*/ 529484 w 1223178"/>
                <a:gd name="connsiteY19" fmla="*/ 1576875 h 1867181"/>
                <a:gd name="connsiteX20" fmla="*/ 548145 w 1223178"/>
                <a:gd name="connsiteY20" fmla="*/ 1707503 h 1867181"/>
                <a:gd name="connsiteX21" fmla="*/ 249566 w 1223178"/>
                <a:gd name="connsiteY21" fmla="*/ 1511560 h 1867181"/>
                <a:gd name="connsiteX22" fmla="*/ 118937 w 1223178"/>
                <a:gd name="connsiteY22" fmla="*/ 1 h 1867181"/>
                <a:gd name="connsiteX0" fmla="*/ 259218 w 1232830"/>
                <a:gd name="connsiteY0" fmla="*/ 1487782 h 1843403"/>
                <a:gd name="connsiteX1" fmla="*/ 16622 w 1232830"/>
                <a:gd name="connsiteY1" fmla="*/ 685350 h 1843403"/>
                <a:gd name="connsiteX2" fmla="*/ 81936 w 1232830"/>
                <a:gd name="connsiteY2" fmla="*/ 1375815 h 1843403"/>
                <a:gd name="connsiteX3" fmla="*/ 567128 w 1232830"/>
                <a:gd name="connsiteY3" fmla="*/ 1814354 h 1843403"/>
                <a:gd name="connsiteX4" fmla="*/ 828385 w 1232830"/>
                <a:gd name="connsiteY4" fmla="*/ 1749039 h 1843403"/>
                <a:gd name="connsiteX5" fmla="*/ 1164287 w 1232830"/>
                <a:gd name="connsiteY5" fmla="*/ 1319831 h 1843403"/>
                <a:gd name="connsiteX6" fmla="*/ 1229602 w 1232830"/>
                <a:gd name="connsiteY6" fmla="*/ 787986 h 1843403"/>
                <a:gd name="connsiteX7" fmla="*/ 1108304 w 1232830"/>
                <a:gd name="connsiteY7" fmla="*/ 4215 h 1843403"/>
                <a:gd name="connsiteX8" fmla="*/ 1126965 w 1232830"/>
                <a:gd name="connsiteY8" fmla="*/ 498737 h 1843403"/>
                <a:gd name="connsiteX9" fmla="*/ 1126965 w 1232830"/>
                <a:gd name="connsiteY9" fmla="*/ 993260 h 1843403"/>
                <a:gd name="connsiteX10" fmla="*/ 968344 w 1232830"/>
                <a:gd name="connsiteY10" fmla="*/ 1431799 h 1843403"/>
                <a:gd name="connsiteX11" fmla="*/ 772402 w 1232830"/>
                <a:gd name="connsiteY11" fmla="*/ 1665064 h 1843403"/>
                <a:gd name="connsiteX12" fmla="*/ 651104 w 1232830"/>
                <a:gd name="connsiteY12" fmla="*/ 1693056 h 1843403"/>
                <a:gd name="connsiteX13" fmla="*/ 641773 w 1232830"/>
                <a:gd name="connsiteY13" fmla="*/ 1525105 h 1843403"/>
                <a:gd name="connsiteX14" fmla="*/ 744410 w 1232830"/>
                <a:gd name="connsiteY14" fmla="*/ 1291839 h 1843403"/>
                <a:gd name="connsiteX15" fmla="*/ 716418 w 1232830"/>
                <a:gd name="connsiteY15" fmla="*/ 1077235 h 1843403"/>
                <a:gd name="connsiteX16" fmla="*/ 604451 w 1232830"/>
                <a:gd name="connsiteY16" fmla="*/ 666688 h 1843403"/>
                <a:gd name="connsiteX17" fmla="*/ 455161 w 1232830"/>
                <a:gd name="connsiteY17" fmla="*/ 1039913 h 1843403"/>
                <a:gd name="connsiteX18" fmla="*/ 445830 w 1232830"/>
                <a:gd name="connsiteY18" fmla="*/ 1375815 h 1843403"/>
                <a:gd name="connsiteX19" fmla="*/ 539136 w 1232830"/>
                <a:gd name="connsiteY19" fmla="*/ 1553097 h 1843403"/>
                <a:gd name="connsiteX20" fmla="*/ 557797 w 1232830"/>
                <a:gd name="connsiteY20" fmla="*/ 1683725 h 1843403"/>
                <a:gd name="connsiteX21" fmla="*/ 259218 w 1232830"/>
                <a:gd name="connsiteY21" fmla="*/ 1487782 h 1843403"/>
                <a:gd name="connsiteX0" fmla="*/ 187783 w 1161395"/>
                <a:gd name="connsiteY0" fmla="*/ 1487782 h 1843403"/>
                <a:gd name="connsiteX1" fmla="*/ 10501 w 1161395"/>
                <a:gd name="connsiteY1" fmla="*/ 1375815 h 1843403"/>
                <a:gd name="connsiteX2" fmla="*/ 495693 w 1161395"/>
                <a:gd name="connsiteY2" fmla="*/ 1814354 h 1843403"/>
                <a:gd name="connsiteX3" fmla="*/ 756950 w 1161395"/>
                <a:gd name="connsiteY3" fmla="*/ 1749039 h 1843403"/>
                <a:gd name="connsiteX4" fmla="*/ 1092852 w 1161395"/>
                <a:gd name="connsiteY4" fmla="*/ 1319831 h 1843403"/>
                <a:gd name="connsiteX5" fmla="*/ 1158167 w 1161395"/>
                <a:gd name="connsiteY5" fmla="*/ 787986 h 1843403"/>
                <a:gd name="connsiteX6" fmla="*/ 1036869 w 1161395"/>
                <a:gd name="connsiteY6" fmla="*/ 4215 h 1843403"/>
                <a:gd name="connsiteX7" fmla="*/ 1055530 w 1161395"/>
                <a:gd name="connsiteY7" fmla="*/ 498737 h 1843403"/>
                <a:gd name="connsiteX8" fmla="*/ 1055530 w 1161395"/>
                <a:gd name="connsiteY8" fmla="*/ 993260 h 1843403"/>
                <a:gd name="connsiteX9" fmla="*/ 896909 w 1161395"/>
                <a:gd name="connsiteY9" fmla="*/ 1431799 h 1843403"/>
                <a:gd name="connsiteX10" fmla="*/ 700967 w 1161395"/>
                <a:gd name="connsiteY10" fmla="*/ 1665064 h 1843403"/>
                <a:gd name="connsiteX11" fmla="*/ 579669 w 1161395"/>
                <a:gd name="connsiteY11" fmla="*/ 1693056 h 1843403"/>
                <a:gd name="connsiteX12" fmla="*/ 570338 w 1161395"/>
                <a:gd name="connsiteY12" fmla="*/ 1525105 h 1843403"/>
                <a:gd name="connsiteX13" fmla="*/ 672975 w 1161395"/>
                <a:gd name="connsiteY13" fmla="*/ 1291839 h 1843403"/>
                <a:gd name="connsiteX14" fmla="*/ 644983 w 1161395"/>
                <a:gd name="connsiteY14" fmla="*/ 1077235 h 1843403"/>
                <a:gd name="connsiteX15" fmla="*/ 533016 w 1161395"/>
                <a:gd name="connsiteY15" fmla="*/ 666688 h 1843403"/>
                <a:gd name="connsiteX16" fmla="*/ 383726 w 1161395"/>
                <a:gd name="connsiteY16" fmla="*/ 1039913 h 1843403"/>
                <a:gd name="connsiteX17" fmla="*/ 374395 w 1161395"/>
                <a:gd name="connsiteY17" fmla="*/ 1375815 h 1843403"/>
                <a:gd name="connsiteX18" fmla="*/ 467701 w 1161395"/>
                <a:gd name="connsiteY18" fmla="*/ 1553097 h 1843403"/>
                <a:gd name="connsiteX19" fmla="*/ 486362 w 1161395"/>
                <a:gd name="connsiteY19" fmla="*/ 1683725 h 1843403"/>
                <a:gd name="connsiteX20" fmla="*/ 187783 w 1161395"/>
                <a:gd name="connsiteY20" fmla="*/ 1487782 h 1843403"/>
                <a:gd name="connsiteX0" fmla="*/ 187783 w 1160184"/>
                <a:gd name="connsiteY0" fmla="*/ 993157 h 1348778"/>
                <a:gd name="connsiteX1" fmla="*/ 10501 w 1160184"/>
                <a:gd name="connsiteY1" fmla="*/ 881190 h 1348778"/>
                <a:gd name="connsiteX2" fmla="*/ 495693 w 1160184"/>
                <a:gd name="connsiteY2" fmla="*/ 1319729 h 1348778"/>
                <a:gd name="connsiteX3" fmla="*/ 756950 w 1160184"/>
                <a:gd name="connsiteY3" fmla="*/ 1254414 h 1348778"/>
                <a:gd name="connsiteX4" fmla="*/ 1092852 w 1160184"/>
                <a:gd name="connsiteY4" fmla="*/ 825206 h 1348778"/>
                <a:gd name="connsiteX5" fmla="*/ 1158167 w 1160184"/>
                <a:gd name="connsiteY5" fmla="*/ 293361 h 1348778"/>
                <a:gd name="connsiteX6" fmla="*/ 1055530 w 1160184"/>
                <a:gd name="connsiteY6" fmla="*/ 4112 h 1348778"/>
                <a:gd name="connsiteX7" fmla="*/ 1055530 w 1160184"/>
                <a:gd name="connsiteY7" fmla="*/ 498635 h 1348778"/>
                <a:gd name="connsiteX8" fmla="*/ 896909 w 1160184"/>
                <a:gd name="connsiteY8" fmla="*/ 937174 h 1348778"/>
                <a:gd name="connsiteX9" fmla="*/ 700967 w 1160184"/>
                <a:gd name="connsiteY9" fmla="*/ 1170439 h 1348778"/>
                <a:gd name="connsiteX10" fmla="*/ 579669 w 1160184"/>
                <a:gd name="connsiteY10" fmla="*/ 1198431 h 1348778"/>
                <a:gd name="connsiteX11" fmla="*/ 570338 w 1160184"/>
                <a:gd name="connsiteY11" fmla="*/ 1030480 h 1348778"/>
                <a:gd name="connsiteX12" fmla="*/ 672975 w 1160184"/>
                <a:gd name="connsiteY12" fmla="*/ 797214 h 1348778"/>
                <a:gd name="connsiteX13" fmla="*/ 644983 w 1160184"/>
                <a:gd name="connsiteY13" fmla="*/ 582610 h 1348778"/>
                <a:gd name="connsiteX14" fmla="*/ 533016 w 1160184"/>
                <a:gd name="connsiteY14" fmla="*/ 172063 h 1348778"/>
                <a:gd name="connsiteX15" fmla="*/ 383726 w 1160184"/>
                <a:gd name="connsiteY15" fmla="*/ 545288 h 1348778"/>
                <a:gd name="connsiteX16" fmla="*/ 374395 w 1160184"/>
                <a:gd name="connsiteY16" fmla="*/ 881190 h 1348778"/>
                <a:gd name="connsiteX17" fmla="*/ 467701 w 1160184"/>
                <a:gd name="connsiteY17" fmla="*/ 1058472 h 1348778"/>
                <a:gd name="connsiteX18" fmla="*/ 486362 w 1160184"/>
                <a:gd name="connsiteY18" fmla="*/ 1189100 h 1348778"/>
                <a:gd name="connsiteX19" fmla="*/ 187783 w 1160184"/>
                <a:gd name="connsiteY19" fmla="*/ 993157 h 1348778"/>
                <a:gd name="connsiteX0" fmla="*/ 187783 w 1160184"/>
                <a:gd name="connsiteY0" fmla="*/ 821205 h 1176826"/>
                <a:gd name="connsiteX1" fmla="*/ 10501 w 1160184"/>
                <a:gd name="connsiteY1" fmla="*/ 709238 h 1176826"/>
                <a:gd name="connsiteX2" fmla="*/ 495693 w 1160184"/>
                <a:gd name="connsiteY2" fmla="*/ 1147777 h 1176826"/>
                <a:gd name="connsiteX3" fmla="*/ 756950 w 1160184"/>
                <a:gd name="connsiteY3" fmla="*/ 1082462 h 1176826"/>
                <a:gd name="connsiteX4" fmla="*/ 1092852 w 1160184"/>
                <a:gd name="connsiteY4" fmla="*/ 653254 h 1176826"/>
                <a:gd name="connsiteX5" fmla="*/ 1158167 w 1160184"/>
                <a:gd name="connsiteY5" fmla="*/ 121409 h 1176826"/>
                <a:gd name="connsiteX6" fmla="*/ 1055530 w 1160184"/>
                <a:gd name="connsiteY6" fmla="*/ 326683 h 1176826"/>
                <a:gd name="connsiteX7" fmla="*/ 896909 w 1160184"/>
                <a:gd name="connsiteY7" fmla="*/ 765222 h 1176826"/>
                <a:gd name="connsiteX8" fmla="*/ 700967 w 1160184"/>
                <a:gd name="connsiteY8" fmla="*/ 998487 h 1176826"/>
                <a:gd name="connsiteX9" fmla="*/ 579669 w 1160184"/>
                <a:gd name="connsiteY9" fmla="*/ 1026479 h 1176826"/>
                <a:gd name="connsiteX10" fmla="*/ 570338 w 1160184"/>
                <a:gd name="connsiteY10" fmla="*/ 858528 h 1176826"/>
                <a:gd name="connsiteX11" fmla="*/ 672975 w 1160184"/>
                <a:gd name="connsiteY11" fmla="*/ 625262 h 1176826"/>
                <a:gd name="connsiteX12" fmla="*/ 644983 w 1160184"/>
                <a:gd name="connsiteY12" fmla="*/ 410658 h 1176826"/>
                <a:gd name="connsiteX13" fmla="*/ 533016 w 1160184"/>
                <a:gd name="connsiteY13" fmla="*/ 111 h 1176826"/>
                <a:gd name="connsiteX14" fmla="*/ 383726 w 1160184"/>
                <a:gd name="connsiteY14" fmla="*/ 373336 h 1176826"/>
                <a:gd name="connsiteX15" fmla="*/ 374395 w 1160184"/>
                <a:gd name="connsiteY15" fmla="*/ 709238 h 1176826"/>
                <a:gd name="connsiteX16" fmla="*/ 467701 w 1160184"/>
                <a:gd name="connsiteY16" fmla="*/ 886520 h 1176826"/>
                <a:gd name="connsiteX17" fmla="*/ 486362 w 1160184"/>
                <a:gd name="connsiteY17" fmla="*/ 1017148 h 1176826"/>
                <a:gd name="connsiteX18" fmla="*/ 187783 w 1160184"/>
                <a:gd name="connsiteY18" fmla="*/ 821205 h 1176826"/>
                <a:gd name="connsiteX0" fmla="*/ 187783 w 1112929"/>
                <a:gd name="connsiteY0" fmla="*/ 821205 h 1176826"/>
                <a:gd name="connsiteX1" fmla="*/ 10501 w 1112929"/>
                <a:gd name="connsiteY1" fmla="*/ 709238 h 1176826"/>
                <a:gd name="connsiteX2" fmla="*/ 495693 w 1112929"/>
                <a:gd name="connsiteY2" fmla="*/ 1147777 h 1176826"/>
                <a:gd name="connsiteX3" fmla="*/ 756950 w 1112929"/>
                <a:gd name="connsiteY3" fmla="*/ 1082462 h 1176826"/>
                <a:gd name="connsiteX4" fmla="*/ 1092852 w 1112929"/>
                <a:gd name="connsiteY4" fmla="*/ 653254 h 1176826"/>
                <a:gd name="connsiteX5" fmla="*/ 1055530 w 1112929"/>
                <a:gd name="connsiteY5" fmla="*/ 326683 h 1176826"/>
                <a:gd name="connsiteX6" fmla="*/ 896909 w 1112929"/>
                <a:gd name="connsiteY6" fmla="*/ 765222 h 1176826"/>
                <a:gd name="connsiteX7" fmla="*/ 700967 w 1112929"/>
                <a:gd name="connsiteY7" fmla="*/ 998487 h 1176826"/>
                <a:gd name="connsiteX8" fmla="*/ 579669 w 1112929"/>
                <a:gd name="connsiteY8" fmla="*/ 1026479 h 1176826"/>
                <a:gd name="connsiteX9" fmla="*/ 570338 w 1112929"/>
                <a:gd name="connsiteY9" fmla="*/ 858528 h 1176826"/>
                <a:gd name="connsiteX10" fmla="*/ 672975 w 1112929"/>
                <a:gd name="connsiteY10" fmla="*/ 625262 h 1176826"/>
                <a:gd name="connsiteX11" fmla="*/ 644983 w 1112929"/>
                <a:gd name="connsiteY11" fmla="*/ 410658 h 1176826"/>
                <a:gd name="connsiteX12" fmla="*/ 533016 w 1112929"/>
                <a:gd name="connsiteY12" fmla="*/ 111 h 1176826"/>
                <a:gd name="connsiteX13" fmla="*/ 383726 w 1112929"/>
                <a:gd name="connsiteY13" fmla="*/ 373336 h 1176826"/>
                <a:gd name="connsiteX14" fmla="*/ 374395 w 1112929"/>
                <a:gd name="connsiteY14" fmla="*/ 709238 h 1176826"/>
                <a:gd name="connsiteX15" fmla="*/ 467701 w 1112929"/>
                <a:gd name="connsiteY15" fmla="*/ 886520 h 1176826"/>
                <a:gd name="connsiteX16" fmla="*/ 486362 w 1112929"/>
                <a:gd name="connsiteY16" fmla="*/ 1017148 h 1176826"/>
                <a:gd name="connsiteX17" fmla="*/ 187783 w 1112929"/>
                <a:gd name="connsiteY17" fmla="*/ 821205 h 1176826"/>
                <a:gd name="connsiteX0" fmla="*/ 187783 w 1095236"/>
                <a:gd name="connsiteY0" fmla="*/ 821205 h 1176826"/>
                <a:gd name="connsiteX1" fmla="*/ 10501 w 1095236"/>
                <a:gd name="connsiteY1" fmla="*/ 709238 h 1176826"/>
                <a:gd name="connsiteX2" fmla="*/ 495693 w 1095236"/>
                <a:gd name="connsiteY2" fmla="*/ 1147777 h 1176826"/>
                <a:gd name="connsiteX3" fmla="*/ 756950 w 1095236"/>
                <a:gd name="connsiteY3" fmla="*/ 1082462 h 1176826"/>
                <a:gd name="connsiteX4" fmla="*/ 1092852 w 1095236"/>
                <a:gd name="connsiteY4" fmla="*/ 653254 h 1176826"/>
                <a:gd name="connsiteX5" fmla="*/ 896909 w 1095236"/>
                <a:gd name="connsiteY5" fmla="*/ 765222 h 1176826"/>
                <a:gd name="connsiteX6" fmla="*/ 700967 w 1095236"/>
                <a:gd name="connsiteY6" fmla="*/ 998487 h 1176826"/>
                <a:gd name="connsiteX7" fmla="*/ 579669 w 1095236"/>
                <a:gd name="connsiteY7" fmla="*/ 1026479 h 1176826"/>
                <a:gd name="connsiteX8" fmla="*/ 570338 w 1095236"/>
                <a:gd name="connsiteY8" fmla="*/ 858528 h 1176826"/>
                <a:gd name="connsiteX9" fmla="*/ 672975 w 1095236"/>
                <a:gd name="connsiteY9" fmla="*/ 625262 h 1176826"/>
                <a:gd name="connsiteX10" fmla="*/ 644983 w 1095236"/>
                <a:gd name="connsiteY10" fmla="*/ 410658 h 1176826"/>
                <a:gd name="connsiteX11" fmla="*/ 533016 w 1095236"/>
                <a:gd name="connsiteY11" fmla="*/ 111 h 1176826"/>
                <a:gd name="connsiteX12" fmla="*/ 383726 w 1095236"/>
                <a:gd name="connsiteY12" fmla="*/ 373336 h 1176826"/>
                <a:gd name="connsiteX13" fmla="*/ 374395 w 1095236"/>
                <a:gd name="connsiteY13" fmla="*/ 709238 h 1176826"/>
                <a:gd name="connsiteX14" fmla="*/ 467701 w 1095236"/>
                <a:gd name="connsiteY14" fmla="*/ 886520 h 1176826"/>
                <a:gd name="connsiteX15" fmla="*/ 486362 w 1095236"/>
                <a:gd name="connsiteY15" fmla="*/ 1017148 h 1176826"/>
                <a:gd name="connsiteX16" fmla="*/ 187783 w 1095236"/>
                <a:gd name="connsiteY16" fmla="*/ 821205 h 1176826"/>
                <a:gd name="connsiteX0" fmla="*/ 187783 w 897635"/>
                <a:gd name="connsiteY0" fmla="*/ 821205 h 1173185"/>
                <a:gd name="connsiteX1" fmla="*/ 10501 w 897635"/>
                <a:gd name="connsiteY1" fmla="*/ 709238 h 1173185"/>
                <a:gd name="connsiteX2" fmla="*/ 495693 w 897635"/>
                <a:gd name="connsiteY2" fmla="*/ 1147777 h 1173185"/>
                <a:gd name="connsiteX3" fmla="*/ 756950 w 897635"/>
                <a:gd name="connsiteY3" fmla="*/ 1082462 h 1173185"/>
                <a:gd name="connsiteX4" fmla="*/ 896909 w 897635"/>
                <a:gd name="connsiteY4" fmla="*/ 765222 h 1173185"/>
                <a:gd name="connsiteX5" fmla="*/ 700967 w 897635"/>
                <a:gd name="connsiteY5" fmla="*/ 998487 h 1173185"/>
                <a:gd name="connsiteX6" fmla="*/ 579669 w 897635"/>
                <a:gd name="connsiteY6" fmla="*/ 1026479 h 1173185"/>
                <a:gd name="connsiteX7" fmla="*/ 570338 w 897635"/>
                <a:gd name="connsiteY7" fmla="*/ 858528 h 1173185"/>
                <a:gd name="connsiteX8" fmla="*/ 672975 w 897635"/>
                <a:gd name="connsiteY8" fmla="*/ 625262 h 1173185"/>
                <a:gd name="connsiteX9" fmla="*/ 644983 w 897635"/>
                <a:gd name="connsiteY9" fmla="*/ 410658 h 1173185"/>
                <a:gd name="connsiteX10" fmla="*/ 533016 w 897635"/>
                <a:gd name="connsiteY10" fmla="*/ 111 h 1173185"/>
                <a:gd name="connsiteX11" fmla="*/ 383726 w 897635"/>
                <a:gd name="connsiteY11" fmla="*/ 373336 h 1173185"/>
                <a:gd name="connsiteX12" fmla="*/ 374395 w 897635"/>
                <a:gd name="connsiteY12" fmla="*/ 709238 h 1173185"/>
                <a:gd name="connsiteX13" fmla="*/ 467701 w 897635"/>
                <a:gd name="connsiteY13" fmla="*/ 886520 h 1173185"/>
                <a:gd name="connsiteX14" fmla="*/ 486362 w 897635"/>
                <a:gd name="connsiteY14" fmla="*/ 1017148 h 1173185"/>
                <a:gd name="connsiteX15" fmla="*/ 187783 w 897635"/>
                <a:gd name="connsiteY15" fmla="*/ 821205 h 1173185"/>
                <a:gd name="connsiteX0" fmla="*/ 187783 w 767120"/>
                <a:gd name="connsiteY0" fmla="*/ 821205 h 1167492"/>
                <a:gd name="connsiteX1" fmla="*/ 10501 w 767120"/>
                <a:gd name="connsiteY1" fmla="*/ 709238 h 1167492"/>
                <a:gd name="connsiteX2" fmla="*/ 495693 w 767120"/>
                <a:gd name="connsiteY2" fmla="*/ 1147777 h 1167492"/>
                <a:gd name="connsiteX3" fmla="*/ 756950 w 767120"/>
                <a:gd name="connsiteY3" fmla="*/ 1082462 h 1167492"/>
                <a:gd name="connsiteX4" fmla="*/ 700967 w 767120"/>
                <a:gd name="connsiteY4" fmla="*/ 998487 h 1167492"/>
                <a:gd name="connsiteX5" fmla="*/ 579669 w 767120"/>
                <a:gd name="connsiteY5" fmla="*/ 1026479 h 1167492"/>
                <a:gd name="connsiteX6" fmla="*/ 570338 w 767120"/>
                <a:gd name="connsiteY6" fmla="*/ 858528 h 1167492"/>
                <a:gd name="connsiteX7" fmla="*/ 672975 w 767120"/>
                <a:gd name="connsiteY7" fmla="*/ 625262 h 1167492"/>
                <a:gd name="connsiteX8" fmla="*/ 644983 w 767120"/>
                <a:gd name="connsiteY8" fmla="*/ 410658 h 1167492"/>
                <a:gd name="connsiteX9" fmla="*/ 533016 w 767120"/>
                <a:gd name="connsiteY9" fmla="*/ 111 h 1167492"/>
                <a:gd name="connsiteX10" fmla="*/ 383726 w 767120"/>
                <a:gd name="connsiteY10" fmla="*/ 373336 h 1167492"/>
                <a:gd name="connsiteX11" fmla="*/ 374395 w 767120"/>
                <a:gd name="connsiteY11" fmla="*/ 709238 h 1167492"/>
                <a:gd name="connsiteX12" fmla="*/ 467701 w 767120"/>
                <a:gd name="connsiteY12" fmla="*/ 886520 h 1167492"/>
                <a:gd name="connsiteX13" fmla="*/ 486362 w 767120"/>
                <a:gd name="connsiteY13" fmla="*/ 1017148 h 1167492"/>
                <a:gd name="connsiteX14" fmla="*/ 187783 w 767120"/>
                <a:gd name="connsiteY14" fmla="*/ 821205 h 1167492"/>
                <a:gd name="connsiteX0" fmla="*/ 475867 w 756625"/>
                <a:gd name="connsiteY0" fmla="*/ 1017148 h 1167492"/>
                <a:gd name="connsiteX1" fmla="*/ 6 w 756625"/>
                <a:gd name="connsiteY1" fmla="*/ 709238 h 1167492"/>
                <a:gd name="connsiteX2" fmla="*/ 485198 w 756625"/>
                <a:gd name="connsiteY2" fmla="*/ 1147777 h 1167492"/>
                <a:gd name="connsiteX3" fmla="*/ 746455 w 756625"/>
                <a:gd name="connsiteY3" fmla="*/ 1082462 h 1167492"/>
                <a:gd name="connsiteX4" fmla="*/ 690472 w 756625"/>
                <a:gd name="connsiteY4" fmla="*/ 998487 h 1167492"/>
                <a:gd name="connsiteX5" fmla="*/ 569174 w 756625"/>
                <a:gd name="connsiteY5" fmla="*/ 1026479 h 1167492"/>
                <a:gd name="connsiteX6" fmla="*/ 559843 w 756625"/>
                <a:gd name="connsiteY6" fmla="*/ 858528 h 1167492"/>
                <a:gd name="connsiteX7" fmla="*/ 662480 w 756625"/>
                <a:gd name="connsiteY7" fmla="*/ 625262 h 1167492"/>
                <a:gd name="connsiteX8" fmla="*/ 634488 w 756625"/>
                <a:gd name="connsiteY8" fmla="*/ 410658 h 1167492"/>
                <a:gd name="connsiteX9" fmla="*/ 522521 w 756625"/>
                <a:gd name="connsiteY9" fmla="*/ 111 h 1167492"/>
                <a:gd name="connsiteX10" fmla="*/ 373231 w 756625"/>
                <a:gd name="connsiteY10" fmla="*/ 373336 h 1167492"/>
                <a:gd name="connsiteX11" fmla="*/ 363900 w 756625"/>
                <a:gd name="connsiteY11" fmla="*/ 709238 h 1167492"/>
                <a:gd name="connsiteX12" fmla="*/ 457206 w 756625"/>
                <a:gd name="connsiteY12" fmla="*/ 886520 h 1167492"/>
                <a:gd name="connsiteX13" fmla="*/ 475867 w 756625"/>
                <a:gd name="connsiteY13" fmla="*/ 1017148 h 1167492"/>
                <a:gd name="connsiteX0" fmla="*/ 122556 w 403314"/>
                <a:gd name="connsiteY0" fmla="*/ 1017148 h 1149270"/>
                <a:gd name="connsiteX1" fmla="*/ 131887 w 403314"/>
                <a:gd name="connsiteY1" fmla="*/ 1147777 h 1149270"/>
                <a:gd name="connsiteX2" fmla="*/ 393144 w 403314"/>
                <a:gd name="connsiteY2" fmla="*/ 1082462 h 1149270"/>
                <a:gd name="connsiteX3" fmla="*/ 337161 w 403314"/>
                <a:gd name="connsiteY3" fmla="*/ 998487 h 1149270"/>
                <a:gd name="connsiteX4" fmla="*/ 215863 w 403314"/>
                <a:gd name="connsiteY4" fmla="*/ 1026479 h 1149270"/>
                <a:gd name="connsiteX5" fmla="*/ 206532 w 403314"/>
                <a:gd name="connsiteY5" fmla="*/ 858528 h 1149270"/>
                <a:gd name="connsiteX6" fmla="*/ 309169 w 403314"/>
                <a:gd name="connsiteY6" fmla="*/ 625262 h 1149270"/>
                <a:gd name="connsiteX7" fmla="*/ 281177 w 403314"/>
                <a:gd name="connsiteY7" fmla="*/ 410658 h 1149270"/>
                <a:gd name="connsiteX8" fmla="*/ 169210 w 403314"/>
                <a:gd name="connsiteY8" fmla="*/ 111 h 1149270"/>
                <a:gd name="connsiteX9" fmla="*/ 19920 w 403314"/>
                <a:gd name="connsiteY9" fmla="*/ 373336 h 1149270"/>
                <a:gd name="connsiteX10" fmla="*/ 10589 w 403314"/>
                <a:gd name="connsiteY10" fmla="*/ 709238 h 1149270"/>
                <a:gd name="connsiteX11" fmla="*/ 103895 w 403314"/>
                <a:gd name="connsiteY11" fmla="*/ 886520 h 1149270"/>
                <a:gd name="connsiteX12" fmla="*/ 122556 w 403314"/>
                <a:gd name="connsiteY12" fmla="*/ 1017148 h 1149270"/>
                <a:gd name="connsiteX0" fmla="*/ 122556 w 394007"/>
                <a:gd name="connsiteY0" fmla="*/ 1017148 h 1149166"/>
                <a:gd name="connsiteX1" fmla="*/ 131887 w 394007"/>
                <a:gd name="connsiteY1" fmla="*/ 1147777 h 1149166"/>
                <a:gd name="connsiteX2" fmla="*/ 393144 w 394007"/>
                <a:gd name="connsiteY2" fmla="*/ 1082462 h 1149166"/>
                <a:gd name="connsiteX3" fmla="*/ 215863 w 394007"/>
                <a:gd name="connsiteY3" fmla="*/ 1026479 h 1149166"/>
                <a:gd name="connsiteX4" fmla="*/ 206532 w 394007"/>
                <a:gd name="connsiteY4" fmla="*/ 858528 h 1149166"/>
                <a:gd name="connsiteX5" fmla="*/ 309169 w 394007"/>
                <a:gd name="connsiteY5" fmla="*/ 625262 h 1149166"/>
                <a:gd name="connsiteX6" fmla="*/ 281177 w 394007"/>
                <a:gd name="connsiteY6" fmla="*/ 410658 h 1149166"/>
                <a:gd name="connsiteX7" fmla="*/ 169210 w 394007"/>
                <a:gd name="connsiteY7" fmla="*/ 111 h 1149166"/>
                <a:gd name="connsiteX8" fmla="*/ 19920 w 394007"/>
                <a:gd name="connsiteY8" fmla="*/ 373336 h 1149166"/>
                <a:gd name="connsiteX9" fmla="*/ 10589 w 394007"/>
                <a:gd name="connsiteY9" fmla="*/ 709238 h 1149166"/>
                <a:gd name="connsiteX10" fmla="*/ 103895 w 394007"/>
                <a:gd name="connsiteY10" fmla="*/ 886520 h 1149166"/>
                <a:gd name="connsiteX11" fmla="*/ 122556 w 394007"/>
                <a:gd name="connsiteY11" fmla="*/ 1017148 h 1149166"/>
                <a:gd name="connsiteX0" fmla="*/ 122556 w 313346"/>
                <a:gd name="connsiteY0" fmla="*/ 1017148 h 1147800"/>
                <a:gd name="connsiteX1" fmla="*/ 131887 w 313346"/>
                <a:gd name="connsiteY1" fmla="*/ 1147777 h 1147800"/>
                <a:gd name="connsiteX2" fmla="*/ 215863 w 313346"/>
                <a:gd name="connsiteY2" fmla="*/ 1026479 h 1147800"/>
                <a:gd name="connsiteX3" fmla="*/ 206532 w 313346"/>
                <a:gd name="connsiteY3" fmla="*/ 858528 h 1147800"/>
                <a:gd name="connsiteX4" fmla="*/ 309169 w 313346"/>
                <a:gd name="connsiteY4" fmla="*/ 625262 h 1147800"/>
                <a:gd name="connsiteX5" fmla="*/ 281177 w 313346"/>
                <a:gd name="connsiteY5" fmla="*/ 410658 h 1147800"/>
                <a:gd name="connsiteX6" fmla="*/ 169210 w 313346"/>
                <a:gd name="connsiteY6" fmla="*/ 111 h 1147800"/>
                <a:gd name="connsiteX7" fmla="*/ 19920 w 313346"/>
                <a:gd name="connsiteY7" fmla="*/ 373336 h 1147800"/>
                <a:gd name="connsiteX8" fmla="*/ 10589 w 313346"/>
                <a:gd name="connsiteY8" fmla="*/ 709238 h 1147800"/>
                <a:gd name="connsiteX9" fmla="*/ 103895 w 313346"/>
                <a:gd name="connsiteY9" fmla="*/ 886520 h 1147800"/>
                <a:gd name="connsiteX10" fmla="*/ 122556 w 313346"/>
                <a:gd name="connsiteY10" fmla="*/ 1017148 h 1147800"/>
                <a:gd name="connsiteX0" fmla="*/ 122555 w 313347"/>
                <a:gd name="connsiteY0" fmla="*/ 1017146 h 1041332"/>
                <a:gd name="connsiteX1" fmla="*/ 215862 w 313347"/>
                <a:gd name="connsiteY1" fmla="*/ 1026477 h 1041332"/>
                <a:gd name="connsiteX2" fmla="*/ 206531 w 313347"/>
                <a:gd name="connsiteY2" fmla="*/ 858526 h 1041332"/>
                <a:gd name="connsiteX3" fmla="*/ 309168 w 313347"/>
                <a:gd name="connsiteY3" fmla="*/ 625260 h 1041332"/>
                <a:gd name="connsiteX4" fmla="*/ 281176 w 313347"/>
                <a:gd name="connsiteY4" fmla="*/ 410656 h 1041332"/>
                <a:gd name="connsiteX5" fmla="*/ 169209 w 313347"/>
                <a:gd name="connsiteY5" fmla="*/ 109 h 1041332"/>
                <a:gd name="connsiteX6" fmla="*/ 19919 w 313347"/>
                <a:gd name="connsiteY6" fmla="*/ 373334 h 1041332"/>
                <a:gd name="connsiteX7" fmla="*/ 10588 w 313347"/>
                <a:gd name="connsiteY7" fmla="*/ 709236 h 1041332"/>
                <a:gd name="connsiteX8" fmla="*/ 103894 w 313347"/>
                <a:gd name="connsiteY8" fmla="*/ 886518 h 1041332"/>
                <a:gd name="connsiteX9" fmla="*/ 122555 w 313347"/>
                <a:gd name="connsiteY9" fmla="*/ 1017146 h 1041332"/>
                <a:gd name="connsiteX0" fmla="*/ 122555 w 313347"/>
                <a:gd name="connsiteY0" fmla="*/ 1017146 h 1042574"/>
                <a:gd name="connsiteX1" fmla="*/ 215862 w 313347"/>
                <a:gd name="connsiteY1" fmla="*/ 1026477 h 1042574"/>
                <a:gd name="connsiteX2" fmla="*/ 206531 w 313347"/>
                <a:gd name="connsiteY2" fmla="*/ 858526 h 1042574"/>
                <a:gd name="connsiteX3" fmla="*/ 309168 w 313347"/>
                <a:gd name="connsiteY3" fmla="*/ 625260 h 1042574"/>
                <a:gd name="connsiteX4" fmla="*/ 281176 w 313347"/>
                <a:gd name="connsiteY4" fmla="*/ 410656 h 1042574"/>
                <a:gd name="connsiteX5" fmla="*/ 169209 w 313347"/>
                <a:gd name="connsiteY5" fmla="*/ 109 h 1042574"/>
                <a:gd name="connsiteX6" fmla="*/ 19919 w 313347"/>
                <a:gd name="connsiteY6" fmla="*/ 373334 h 1042574"/>
                <a:gd name="connsiteX7" fmla="*/ 10588 w 313347"/>
                <a:gd name="connsiteY7" fmla="*/ 709236 h 1042574"/>
                <a:gd name="connsiteX8" fmla="*/ 103894 w 313347"/>
                <a:gd name="connsiteY8" fmla="*/ 886518 h 1042574"/>
                <a:gd name="connsiteX9" fmla="*/ 122555 w 313347"/>
                <a:gd name="connsiteY9" fmla="*/ 1017146 h 1042574"/>
                <a:gd name="connsiteX0" fmla="*/ 91699 w 313347"/>
                <a:gd name="connsiteY0" fmla="*/ 1080058 h 1088652"/>
                <a:gd name="connsiteX1" fmla="*/ 215862 w 313347"/>
                <a:gd name="connsiteY1" fmla="*/ 1026477 h 1088652"/>
                <a:gd name="connsiteX2" fmla="*/ 206531 w 313347"/>
                <a:gd name="connsiteY2" fmla="*/ 858526 h 1088652"/>
                <a:gd name="connsiteX3" fmla="*/ 309168 w 313347"/>
                <a:gd name="connsiteY3" fmla="*/ 625260 h 1088652"/>
                <a:gd name="connsiteX4" fmla="*/ 281176 w 313347"/>
                <a:gd name="connsiteY4" fmla="*/ 410656 h 1088652"/>
                <a:gd name="connsiteX5" fmla="*/ 169209 w 313347"/>
                <a:gd name="connsiteY5" fmla="*/ 109 h 1088652"/>
                <a:gd name="connsiteX6" fmla="*/ 19919 w 313347"/>
                <a:gd name="connsiteY6" fmla="*/ 373334 h 1088652"/>
                <a:gd name="connsiteX7" fmla="*/ 10588 w 313347"/>
                <a:gd name="connsiteY7" fmla="*/ 709236 h 1088652"/>
                <a:gd name="connsiteX8" fmla="*/ 103894 w 313347"/>
                <a:gd name="connsiteY8" fmla="*/ 886518 h 1088652"/>
                <a:gd name="connsiteX9" fmla="*/ 91699 w 313347"/>
                <a:gd name="connsiteY9" fmla="*/ 1080058 h 1088652"/>
                <a:gd name="connsiteX0" fmla="*/ 91699 w 313347"/>
                <a:gd name="connsiteY0" fmla="*/ 1080058 h 1123507"/>
                <a:gd name="connsiteX1" fmla="*/ 215862 w 313347"/>
                <a:gd name="connsiteY1" fmla="*/ 1026477 h 1123507"/>
                <a:gd name="connsiteX2" fmla="*/ 206531 w 313347"/>
                <a:gd name="connsiteY2" fmla="*/ 858526 h 1123507"/>
                <a:gd name="connsiteX3" fmla="*/ 309168 w 313347"/>
                <a:gd name="connsiteY3" fmla="*/ 625260 h 1123507"/>
                <a:gd name="connsiteX4" fmla="*/ 281176 w 313347"/>
                <a:gd name="connsiteY4" fmla="*/ 410656 h 1123507"/>
                <a:gd name="connsiteX5" fmla="*/ 169209 w 313347"/>
                <a:gd name="connsiteY5" fmla="*/ 109 h 1123507"/>
                <a:gd name="connsiteX6" fmla="*/ 19919 w 313347"/>
                <a:gd name="connsiteY6" fmla="*/ 373334 h 1123507"/>
                <a:gd name="connsiteX7" fmla="*/ 10588 w 313347"/>
                <a:gd name="connsiteY7" fmla="*/ 709236 h 1123507"/>
                <a:gd name="connsiteX8" fmla="*/ 103894 w 313347"/>
                <a:gd name="connsiteY8" fmla="*/ 886518 h 1123507"/>
                <a:gd name="connsiteX9" fmla="*/ 91699 w 313347"/>
                <a:gd name="connsiteY9" fmla="*/ 1080058 h 1123507"/>
                <a:gd name="connsiteX0" fmla="*/ 106099 w 313347"/>
                <a:gd name="connsiteY0" fmla="*/ 1025537 h 1081018"/>
                <a:gd name="connsiteX1" fmla="*/ 215862 w 313347"/>
                <a:gd name="connsiteY1" fmla="*/ 1026477 h 1081018"/>
                <a:gd name="connsiteX2" fmla="*/ 206531 w 313347"/>
                <a:gd name="connsiteY2" fmla="*/ 858526 h 1081018"/>
                <a:gd name="connsiteX3" fmla="*/ 309168 w 313347"/>
                <a:gd name="connsiteY3" fmla="*/ 625260 h 1081018"/>
                <a:gd name="connsiteX4" fmla="*/ 281176 w 313347"/>
                <a:gd name="connsiteY4" fmla="*/ 410656 h 1081018"/>
                <a:gd name="connsiteX5" fmla="*/ 169209 w 313347"/>
                <a:gd name="connsiteY5" fmla="*/ 109 h 1081018"/>
                <a:gd name="connsiteX6" fmla="*/ 19919 w 313347"/>
                <a:gd name="connsiteY6" fmla="*/ 373334 h 1081018"/>
                <a:gd name="connsiteX7" fmla="*/ 10588 w 313347"/>
                <a:gd name="connsiteY7" fmla="*/ 709236 h 1081018"/>
                <a:gd name="connsiteX8" fmla="*/ 103894 w 313347"/>
                <a:gd name="connsiteY8" fmla="*/ 886518 h 1081018"/>
                <a:gd name="connsiteX9" fmla="*/ 106099 w 313347"/>
                <a:gd name="connsiteY9" fmla="*/ 1025537 h 1081018"/>
                <a:gd name="connsiteX0" fmla="*/ 106099 w 313347"/>
                <a:gd name="connsiteY0" fmla="*/ 1025537 h 1045266"/>
                <a:gd name="connsiteX1" fmla="*/ 207633 w 313347"/>
                <a:gd name="connsiteY1" fmla="*/ 1026476 h 1045266"/>
                <a:gd name="connsiteX2" fmla="*/ 206531 w 313347"/>
                <a:gd name="connsiteY2" fmla="*/ 858526 h 1045266"/>
                <a:gd name="connsiteX3" fmla="*/ 309168 w 313347"/>
                <a:gd name="connsiteY3" fmla="*/ 625260 h 1045266"/>
                <a:gd name="connsiteX4" fmla="*/ 281176 w 313347"/>
                <a:gd name="connsiteY4" fmla="*/ 410656 h 1045266"/>
                <a:gd name="connsiteX5" fmla="*/ 169209 w 313347"/>
                <a:gd name="connsiteY5" fmla="*/ 109 h 1045266"/>
                <a:gd name="connsiteX6" fmla="*/ 19919 w 313347"/>
                <a:gd name="connsiteY6" fmla="*/ 373334 h 1045266"/>
                <a:gd name="connsiteX7" fmla="*/ 10588 w 313347"/>
                <a:gd name="connsiteY7" fmla="*/ 709236 h 1045266"/>
                <a:gd name="connsiteX8" fmla="*/ 103894 w 313347"/>
                <a:gd name="connsiteY8" fmla="*/ 886518 h 1045266"/>
                <a:gd name="connsiteX9" fmla="*/ 106099 w 313347"/>
                <a:gd name="connsiteY9" fmla="*/ 1025537 h 1045266"/>
                <a:gd name="connsiteX0" fmla="*/ 106099 w 309762"/>
                <a:gd name="connsiteY0" fmla="*/ 1025537 h 1045266"/>
                <a:gd name="connsiteX1" fmla="*/ 207633 w 309762"/>
                <a:gd name="connsiteY1" fmla="*/ 1026476 h 1045266"/>
                <a:gd name="connsiteX2" fmla="*/ 206531 w 309762"/>
                <a:gd name="connsiteY2" fmla="*/ 858526 h 1045266"/>
                <a:gd name="connsiteX3" fmla="*/ 305054 w 309762"/>
                <a:gd name="connsiteY3" fmla="*/ 683976 h 1045266"/>
                <a:gd name="connsiteX4" fmla="*/ 281176 w 309762"/>
                <a:gd name="connsiteY4" fmla="*/ 410656 h 1045266"/>
                <a:gd name="connsiteX5" fmla="*/ 169209 w 309762"/>
                <a:gd name="connsiteY5" fmla="*/ 109 h 1045266"/>
                <a:gd name="connsiteX6" fmla="*/ 19919 w 309762"/>
                <a:gd name="connsiteY6" fmla="*/ 373334 h 1045266"/>
                <a:gd name="connsiteX7" fmla="*/ 10588 w 309762"/>
                <a:gd name="connsiteY7" fmla="*/ 709236 h 1045266"/>
                <a:gd name="connsiteX8" fmla="*/ 103894 w 309762"/>
                <a:gd name="connsiteY8" fmla="*/ 886518 h 1045266"/>
                <a:gd name="connsiteX9" fmla="*/ 106099 w 309762"/>
                <a:gd name="connsiteY9" fmla="*/ 1025537 h 1045266"/>
                <a:gd name="connsiteX0" fmla="*/ 106099 w 309762"/>
                <a:gd name="connsiteY0" fmla="*/ 1025537 h 1043896"/>
                <a:gd name="connsiteX1" fmla="*/ 207633 w 309762"/>
                <a:gd name="connsiteY1" fmla="*/ 1026476 h 1043896"/>
                <a:gd name="connsiteX2" fmla="*/ 206531 w 309762"/>
                <a:gd name="connsiteY2" fmla="*/ 879497 h 1043896"/>
                <a:gd name="connsiteX3" fmla="*/ 305054 w 309762"/>
                <a:gd name="connsiteY3" fmla="*/ 683976 h 1043896"/>
                <a:gd name="connsiteX4" fmla="*/ 281176 w 309762"/>
                <a:gd name="connsiteY4" fmla="*/ 410656 h 1043896"/>
                <a:gd name="connsiteX5" fmla="*/ 169209 w 309762"/>
                <a:gd name="connsiteY5" fmla="*/ 109 h 1043896"/>
                <a:gd name="connsiteX6" fmla="*/ 19919 w 309762"/>
                <a:gd name="connsiteY6" fmla="*/ 373334 h 1043896"/>
                <a:gd name="connsiteX7" fmla="*/ 10588 w 309762"/>
                <a:gd name="connsiteY7" fmla="*/ 709236 h 1043896"/>
                <a:gd name="connsiteX8" fmla="*/ 103894 w 309762"/>
                <a:gd name="connsiteY8" fmla="*/ 886518 h 1043896"/>
                <a:gd name="connsiteX9" fmla="*/ 106099 w 309762"/>
                <a:gd name="connsiteY9" fmla="*/ 1025537 h 1043896"/>
                <a:gd name="connsiteX0" fmla="*/ 106099 w 309294"/>
                <a:gd name="connsiteY0" fmla="*/ 1025485 h 1043846"/>
                <a:gd name="connsiteX1" fmla="*/ 207633 w 309294"/>
                <a:gd name="connsiteY1" fmla="*/ 1026424 h 1043846"/>
                <a:gd name="connsiteX2" fmla="*/ 206531 w 309294"/>
                <a:gd name="connsiteY2" fmla="*/ 879445 h 1043846"/>
                <a:gd name="connsiteX3" fmla="*/ 305054 w 309294"/>
                <a:gd name="connsiteY3" fmla="*/ 683924 h 1043846"/>
                <a:gd name="connsiteX4" fmla="*/ 279118 w 309294"/>
                <a:gd name="connsiteY4" fmla="*/ 347692 h 1043846"/>
                <a:gd name="connsiteX5" fmla="*/ 169209 w 309294"/>
                <a:gd name="connsiteY5" fmla="*/ 57 h 1043846"/>
                <a:gd name="connsiteX6" fmla="*/ 19919 w 309294"/>
                <a:gd name="connsiteY6" fmla="*/ 373282 h 1043846"/>
                <a:gd name="connsiteX7" fmla="*/ 10588 w 309294"/>
                <a:gd name="connsiteY7" fmla="*/ 709184 h 1043846"/>
                <a:gd name="connsiteX8" fmla="*/ 103894 w 309294"/>
                <a:gd name="connsiteY8" fmla="*/ 886466 h 1043846"/>
                <a:gd name="connsiteX9" fmla="*/ 106099 w 309294"/>
                <a:gd name="connsiteY9" fmla="*/ 1025485 h 1043846"/>
                <a:gd name="connsiteX0" fmla="*/ 105520 w 308952"/>
                <a:gd name="connsiteY0" fmla="*/ 1029678 h 1048038"/>
                <a:gd name="connsiteX1" fmla="*/ 207054 w 308952"/>
                <a:gd name="connsiteY1" fmla="*/ 1030617 h 1048038"/>
                <a:gd name="connsiteX2" fmla="*/ 205952 w 308952"/>
                <a:gd name="connsiteY2" fmla="*/ 883638 h 1048038"/>
                <a:gd name="connsiteX3" fmla="*/ 304475 w 308952"/>
                <a:gd name="connsiteY3" fmla="*/ 688117 h 1048038"/>
                <a:gd name="connsiteX4" fmla="*/ 278539 w 308952"/>
                <a:gd name="connsiteY4" fmla="*/ 351885 h 1048038"/>
                <a:gd name="connsiteX5" fmla="*/ 158345 w 308952"/>
                <a:gd name="connsiteY5" fmla="*/ 55 h 1048038"/>
                <a:gd name="connsiteX6" fmla="*/ 19340 w 308952"/>
                <a:gd name="connsiteY6" fmla="*/ 377475 h 1048038"/>
                <a:gd name="connsiteX7" fmla="*/ 10009 w 308952"/>
                <a:gd name="connsiteY7" fmla="*/ 713377 h 1048038"/>
                <a:gd name="connsiteX8" fmla="*/ 103315 w 308952"/>
                <a:gd name="connsiteY8" fmla="*/ 890659 h 1048038"/>
                <a:gd name="connsiteX9" fmla="*/ 105520 w 308952"/>
                <a:gd name="connsiteY9" fmla="*/ 1029678 h 1048038"/>
                <a:gd name="connsiteX0" fmla="*/ 105520 w 308952"/>
                <a:gd name="connsiteY0" fmla="*/ 1029678 h 1048038"/>
                <a:gd name="connsiteX1" fmla="*/ 207054 w 308952"/>
                <a:gd name="connsiteY1" fmla="*/ 1030617 h 1048038"/>
                <a:gd name="connsiteX2" fmla="*/ 205952 w 308952"/>
                <a:gd name="connsiteY2" fmla="*/ 883638 h 1048038"/>
                <a:gd name="connsiteX3" fmla="*/ 304475 w 308952"/>
                <a:gd name="connsiteY3" fmla="*/ 688117 h 1048038"/>
                <a:gd name="connsiteX4" fmla="*/ 278539 w 308952"/>
                <a:gd name="connsiteY4" fmla="*/ 351885 h 1048038"/>
                <a:gd name="connsiteX5" fmla="*/ 158345 w 308952"/>
                <a:gd name="connsiteY5" fmla="*/ 55 h 1048038"/>
                <a:gd name="connsiteX6" fmla="*/ 19340 w 308952"/>
                <a:gd name="connsiteY6" fmla="*/ 377475 h 1048038"/>
                <a:gd name="connsiteX7" fmla="*/ 10009 w 308952"/>
                <a:gd name="connsiteY7" fmla="*/ 713377 h 1048038"/>
                <a:gd name="connsiteX8" fmla="*/ 103315 w 308952"/>
                <a:gd name="connsiteY8" fmla="*/ 890659 h 1048038"/>
                <a:gd name="connsiteX9" fmla="*/ 105520 w 308952"/>
                <a:gd name="connsiteY9" fmla="*/ 1029678 h 1048038"/>
                <a:gd name="connsiteX0" fmla="*/ 108959 w 308952"/>
                <a:gd name="connsiteY0" fmla="*/ 964412 h 1032668"/>
                <a:gd name="connsiteX1" fmla="*/ 207054 w 308952"/>
                <a:gd name="connsiteY1" fmla="*/ 1030617 h 1032668"/>
                <a:gd name="connsiteX2" fmla="*/ 205952 w 308952"/>
                <a:gd name="connsiteY2" fmla="*/ 883638 h 1032668"/>
                <a:gd name="connsiteX3" fmla="*/ 304475 w 308952"/>
                <a:gd name="connsiteY3" fmla="*/ 688117 h 1032668"/>
                <a:gd name="connsiteX4" fmla="*/ 278539 w 308952"/>
                <a:gd name="connsiteY4" fmla="*/ 351885 h 1032668"/>
                <a:gd name="connsiteX5" fmla="*/ 158345 w 308952"/>
                <a:gd name="connsiteY5" fmla="*/ 55 h 1032668"/>
                <a:gd name="connsiteX6" fmla="*/ 19340 w 308952"/>
                <a:gd name="connsiteY6" fmla="*/ 377475 h 1032668"/>
                <a:gd name="connsiteX7" fmla="*/ 10009 w 308952"/>
                <a:gd name="connsiteY7" fmla="*/ 713377 h 1032668"/>
                <a:gd name="connsiteX8" fmla="*/ 103315 w 308952"/>
                <a:gd name="connsiteY8" fmla="*/ 890659 h 1032668"/>
                <a:gd name="connsiteX9" fmla="*/ 108959 w 308952"/>
                <a:gd name="connsiteY9" fmla="*/ 964412 h 1032668"/>
                <a:gd name="connsiteX0" fmla="*/ 108959 w 308952"/>
                <a:gd name="connsiteY0" fmla="*/ 964412 h 970745"/>
                <a:gd name="connsiteX1" fmla="*/ 205334 w 308952"/>
                <a:gd name="connsiteY1" fmla="*/ 957672 h 970745"/>
                <a:gd name="connsiteX2" fmla="*/ 205952 w 308952"/>
                <a:gd name="connsiteY2" fmla="*/ 883638 h 970745"/>
                <a:gd name="connsiteX3" fmla="*/ 304475 w 308952"/>
                <a:gd name="connsiteY3" fmla="*/ 688117 h 970745"/>
                <a:gd name="connsiteX4" fmla="*/ 278539 w 308952"/>
                <a:gd name="connsiteY4" fmla="*/ 351885 h 970745"/>
                <a:gd name="connsiteX5" fmla="*/ 158345 w 308952"/>
                <a:gd name="connsiteY5" fmla="*/ 55 h 970745"/>
                <a:gd name="connsiteX6" fmla="*/ 19340 w 308952"/>
                <a:gd name="connsiteY6" fmla="*/ 377475 h 970745"/>
                <a:gd name="connsiteX7" fmla="*/ 10009 w 308952"/>
                <a:gd name="connsiteY7" fmla="*/ 713377 h 970745"/>
                <a:gd name="connsiteX8" fmla="*/ 103315 w 308952"/>
                <a:gd name="connsiteY8" fmla="*/ 890659 h 970745"/>
                <a:gd name="connsiteX9" fmla="*/ 108959 w 308952"/>
                <a:gd name="connsiteY9" fmla="*/ 964412 h 970745"/>
                <a:gd name="connsiteX0" fmla="*/ 117555 w 308952"/>
                <a:gd name="connsiteY0" fmla="*/ 956733 h 965991"/>
                <a:gd name="connsiteX1" fmla="*/ 205334 w 308952"/>
                <a:gd name="connsiteY1" fmla="*/ 957672 h 965991"/>
                <a:gd name="connsiteX2" fmla="*/ 205952 w 308952"/>
                <a:gd name="connsiteY2" fmla="*/ 883638 h 965991"/>
                <a:gd name="connsiteX3" fmla="*/ 304475 w 308952"/>
                <a:gd name="connsiteY3" fmla="*/ 688117 h 965991"/>
                <a:gd name="connsiteX4" fmla="*/ 278539 w 308952"/>
                <a:gd name="connsiteY4" fmla="*/ 351885 h 965991"/>
                <a:gd name="connsiteX5" fmla="*/ 158345 w 308952"/>
                <a:gd name="connsiteY5" fmla="*/ 55 h 965991"/>
                <a:gd name="connsiteX6" fmla="*/ 19340 w 308952"/>
                <a:gd name="connsiteY6" fmla="*/ 377475 h 965991"/>
                <a:gd name="connsiteX7" fmla="*/ 10009 w 308952"/>
                <a:gd name="connsiteY7" fmla="*/ 713377 h 965991"/>
                <a:gd name="connsiteX8" fmla="*/ 103315 w 308952"/>
                <a:gd name="connsiteY8" fmla="*/ 890659 h 965991"/>
                <a:gd name="connsiteX9" fmla="*/ 117555 w 308952"/>
                <a:gd name="connsiteY9" fmla="*/ 956733 h 965991"/>
                <a:gd name="connsiteX0" fmla="*/ 117555 w 308952"/>
                <a:gd name="connsiteY0" fmla="*/ 956733 h 965993"/>
                <a:gd name="connsiteX1" fmla="*/ 191580 w 308952"/>
                <a:gd name="connsiteY1" fmla="*/ 957672 h 965993"/>
                <a:gd name="connsiteX2" fmla="*/ 205952 w 308952"/>
                <a:gd name="connsiteY2" fmla="*/ 883638 h 965993"/>
                <a:gd name="connsiteX3" fmla="*/ 304475 w 308952"/>
                <a:gd name="connsiteY3" fmla="*/ 688117 h 965993"/>
                <a:gd name="connsiteX4" fmla="*/ 278539 w 308952"/>
                <a:gd name="connsiteY4" fmla="*/ 351885 h 965993"/>
                <a:gd name="connsiteX5" fmla="*/ 158345 w 308952"/>
                <a:gd name="connsiteY5" fmla="*/ 55 h 965993"/>
                <a:gd name="connsiteX6" fmla="*/ 19340 w 308952"/>
                <a:gd name="connsiteY6" fmla="*/ 377475 h 965993"/>
                <a:gd name="connsiteX7" fmla="*/ 10009 w 308952"/>
                <a:gd name="connsiteY7" fmla="*/ 713377 h 965993"/>
                <a:gd name="connsiteX8" fmla="*/ 103315 w 308952"/>
                <a:gd name="connsiteY8" fmla="*/ 890659 h 965993"/>
                <a:gd name="connsiteX9" fmla="*/ 117555 w 308952"/>
                <a:gd name="connsiteY9" fmla="*/ 956733 h 965993"/>
                <a:gd name="connsiteX0" fmla="*/ 119274 w 308952"/>
                <a:gd name="connsiteY0" fmla="*/ 960573 h 968186"/>
                <a:gd name="connsiteX1" fmla="*/ 191580 w 308952"/>
                <a:gd name="connsiteY1" fmla="*/ 957672 h 968186"/>
                <a:gd name="connsiteX2" fmla="*/ 205952 w 308952"/>
                <a:gd name="connsiteY2" fmla="*/ 883638 h 968186"/>
                <a:gd name="connsiteX3" fmla="*/ 304475 w 308952"/>
                <a:gd name="connsiteY3" fmla="*/ 688117 h 968186"/>
                <a:gd name="connsiteX4" fmla="*/ 278539 w 308952"/>
                <a:gd name="connsiteY4" fmla="*/ 351885 h 968186"/>
                <a:gd name="connsiteX5" fmla="*/ 158345 w 308952"/>
                <a:gd name="connsiteY5" fmla="*/ 55 h 968186"/>
                <a:gd name="connsiteX6" fmla="*/ 19340 w 308952"/>
                <a:gd name="connsiteY6" fmla="*/ 377475 h 968186"/>
                <a:gd name="connsiteX7" fmla="*/ 10009 w 308952"/>
                <a:gd name="connsiteY7" fmla="*/ 713377 h 968186"/>
                <a:gd name="connsiteX8" fmla="*/ 103315 w 308952"/>
                <a:gd name="connsiteY8" fmla="*/ 890659 h 968186"/>
                <a:gd name="connsiteX9" fmla="*/ 119274 w 308952"/>
                <a:gd name="connsiteY9" fmla="*/ 960573 h 96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8952" h="968186">
                  <a:moveTo>
                    <a:pt x="119274" y="960573"/>
                  </a:moveTo>
                  <a:cubicBezTo>
                    <a:pt x="133985" y="971742"/>
                    <a:pt x="177134" y="970495"/>
                    <a:pt x="191580" y="957672"/>
                  </a:cubicBezTo>
                  <a:cubicBezTo>
                    <a:pt x="206026" y="944849"/>
                    <a:pt x="187136" y="928564"/>
                    <a:pt x="205952" y="883638"/>
                  </a:cubicBezTo>
                  <a:cubicBezTo>
                    <a:pt x="224768" y="838712"/>
                    <a:pt x="292377" y="776743"/>
                    <a:pt x="304475" y="688117"/>
                  </a:cubicBezTo>
                  <a:cubicBezTo>
                    <a:pt x="316573" y="599492"/>
                    <a:pt x="302894" y="466562"/>
                    <a:pt x="278539" y="351885"/>
                  </a:cubicBezTo>
                  <a:cubicBezTo>
                    <a:pt x="254184" y="237208"/>
                    <a:pt x="201545" y="-4210"/>
                    <a:pt x="158345" y="55"/>
                  </a:cubicBezTo>
                  <a:cubicBezTo>
                    <a:pt x="115145" y="4320"/>
                    <a:pt x="44063" y="258588"/>
                    <a:pt x="19340" y="377475"/>
                  </a:cubicBezTo>
                  <a:cubicBezTo>
                    <a:pt x="-5383" y="496362"/>
                    <a:pt x="-3987" y="627846"/>
                    <a:pt x="10009" y="713377"/>
                  </a:cubicBezTo>
                  <a:cubicBezTo>
                    <a:pt x="24005" y="798908"/>
                    <a:pt x="85104" y="849460"/>
                    <a:pt x="103315" y="890659"/>
                  </a:cubicBezTo>
                  <a:cubicBezTo>
                    <a:pt x="121526" y="931858"/>
                    <a:pt x="104563" y="949404"/>
                    <a:pt x="119274" y="960573"/>
                  </a:cubicBezTo>
                  <a:close/>
                </a:path>
              </a:pathLst>
            </a:custGeom>
            <a:solidFill>
              <a:schemeClr val="accent1">
                <a:lumMod val="50000"/>
              </a:schemeClr>
            </a:solidFill>
            <a:ln w="9525" cap="flat" cmpd="sng" algn="ctr">
              <a:solidFill>
                <a:srgbClr val="4F81B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Arial" charset="0"/>
                <a:ea typeface="ヒラギノ角ゴ Pro W3" pitchFamily="48" charset="-128"/>
                <a:cs typeface="Arial" charset="0"/>
              </a:endParaRPr>
            </a:p>
          </p:txBody>
        </p:sp>
        <p:sp>
          <p:nvSpPr>
            <p:cNvPr id="57" name="TextBox 56"/>
            <p:cNvSpPr txBox="1"/>
            <p:nvPr/>
          </p:nvSpPr>
          <p:spPr>
            <a:xfrm>
              <a:off x="7315200" y="722896"/>
              <a:ext cx="653343" cy="242343"/>
            </a:xfrm>
            <a:prstGeom prst="rect">
              <a:avLst/>
            </a:prstGeom>
            <a:noFill/>
          </p:spPr>
          <p:txBody>
            <a:bodyPr wrap="none" rtlCol="0">
              <a:spAutoFit/>
            </a:bodyPr>
            <a:lstStyle/>
            <a:p>
              <a:r>
                <a:rPr lang="fr-FR" sz="1200" b="1" dirty="0" err="1">
                  <a:solidFill>
                    <a:schemeClr val="bg1"/>
                  </a:solidFill>
                </a:rPr>
                <a:t>Versican</a:t>
              </a:r>
              <a:endParaRPr lang="en-US" sz="1200" b="1" dirty="0">
                <a:solidFill>
                  <a:schemeClr val="bg1"/>
                </a:solidFill>
              </a:endParaRPr>
            </a:p>
          </p:txBody>
        </p:sp>
        <p:sp>
          <p:nvSpPr>
            <p:cNvPr id="58" name="Rectangle 57"/>
            <p:cNvSpPr/>
            <p:nvPr/>
          </p:nvSpPr>
          <p:spPr>
            <a:xfrm>
              <a:off x="7355117" y="505317"/>
              <a:ext cx="585818" cy="296197"/>
            </a:xfrm>
            <a:prstGeom prst="rect">
              <a:avLst/>
            </a:prstGeom>
            <a:noFill/>
          </p:spPr>
          <p:txBody>
            <a:bodyPr wrap="none" lIns="91440" tIns="45720" rIns="91440" bIns="45720">
              <a:spAutoFit/>
            </a:bodyPr>
            <a:lstStyle/>
            <a:p>
              <a:pPr algn="ctr"/>
              <a:r>
                <a:rPr lang="en-US" sz="1600" b="1" dirty="0">
                  <a:ln w="0"/>
                  <a:solidFill>
                    <a:schemeClr val="bg1"/>
                  </a:solidFill>
                  <a:effectLst>
                    <a:outerShdw blurRad="38100" dist="25400" dir="5400000" algn="ctr" rotWithShape="0">
                      <a:srgbClr val="6E747A">
                        <a:alpha val="43000"/>
                      </a:srgbClr>
                    </a:outerShdw>
                  </a:effectLst>
                </a:rPr>
                <a:t>+72%</a:t>
              </a:r>
            </a:p>
          </p:txBody>
        </p:sp>
      </p:grpSp>
      <p:grpSp>
        <p:nvGrpSpPr>
          <p:cNvPr id="59" name="Group 58"/>
          <p:cNvGrpSpPr/>
          <p:nvPr/>
        </p:nvGrpSpPr>
        <p:grpSpPr>
          <a:xfrm>
            <a:off x="2130942" y="3773270"/>
            <a:ext cx="832022" cy="864111"/>
            <a:chOff x="7288172" y="314089"/>
            <a:chExt cx="756000" cy="756000"/>
          </a:xfrm>
        </p:grpSpPr>
        <p:sp>
          <p:nvSpPr>
            <p:cNvPr id="60" name="Oval 59"/>
            <p:cNvSpPr/>
            <p:nvPr/>
          </p:nvSpPr>
          <p:spPr>
            <a:xfrm>
              <a:off x="7288172" y="314089"/>
              <a:ext cx="756000" cy="756000"/>
            </a:xfrm>
            <a:prstGeom prst="ellipse">
              <a:avLst/>
            </a:prstGeom>
            <a:solidFill>
              <a:srgbClr val="005295"/>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extrusionH="190500">
              <a:bevelT w="666750" h="69850"/>
              <a:extrusionClr>
                <a:schemeClr val="tx1"/>
              </a:extrusionClr>
            </a:sp3d>
          </p:spPr>
          <p:txBody>
            <a:bodyPr vert="horz" wrap="square" lIns="91440" tIns="45720" rIns="91440" bIns="45720" numCol="1" rtlCol="0" anchor="t" anchorCtr="0" compatLnSpc="1">
              <a:prstTxWarp prst="textNoShape">
                <a:avLst/>
              </a:prstTxWarp>
            </a:bodyPr>
            <a:lstStyle/>
            <a:p>
              <a:pPr eaLnBrk="0" hangingPunct="0"/>
              <a:endParaRPr lang="en-US" sz="2800">
                <a:latin typeface="Arial" charset="0"/>
                <a:ea typeface="ヒラギノ角ゴ Pro W3" pitchFamily="48" charset="-128"/>
                <a:cs typeface="Arial" charset="0"/>
              </a:endParaRPr>
            </a:p>
          </p:txBody>
        </p:sp>
        <p:sp>
          <p:nvSpPr>
            <p:cNvPr id="61" name="Freeform 60"/>
            <p:cNvSpPr/>
            <p:nvPr/>
          </p:nvSpPr>
          <p:spPr bwMode="auto">
            <a:xfrm>
              <a:off x="7484705" y="334517"/>
              <a:ext cx="363896" cy="717626"/>
            </a:xfrm>
            <a:custGeom>
              <a:avLst/>
              <a:gdLst>
                <a:gd name="connsiteX0" fmla="*/ 118937 w 1223178"/>
                <a:gd name="connsiteY0" fmla="*/ 4214 h 1843402"/>
                <a:gd name="connsiteX1" fmla="*/ 6970 w 1223178"/>
                <a:gd name="connsiteY1" fmla="*/ 685349 h 1843402"/>
                <a:gd name="connsiteX2" fmla="*/ 72284 w 1223178"/>
                <a:gd name="connsiteY2" fmla="*/ 1375814 h 1843402"/>
                <a:gd name="connsiteX3" fmla="*/ 557476 w 1223178"/>
                <a:gd name="connsiteY3" fmla="*/ 1814353 h 1843402"/>
                <a:gd name="connsiteX4" fmla="*/ 818733 w 1223178"/>
                <a:gd name="connsiteY4" fmla="*/ 1749038 h 1843402"/>
                <a:gd name="connsiteX5" fmla="*/ 1154635 w 1223178"/>
                <a:gd name="connsiteY5" fmla="*/ 1319830 h 1843402"/>
                <a:gd name="connsiteX6" fmla="*/ 1219950 w 1223178"/>
                <a:gd name="connsiteY6" fmla="*/ 787985 h 1843402"/>
                <a:gd name="connsiteX7" fmla="*/ 1098652 w 1223178"/>
                <a:gd name="connsiteY7" fmla="*/ 4214 h 1843402"/>
                <a:gd name="connsiteX8" fmla="*/ 1117313 w 1223178"/>
                <a:gd name="connsiteY8" fmla="*/ 498736 h 1843402"/>
                <a:gd name="connsiteX9" fmla="*/ 1117313 w 1223178"/>
                <a:gd name="connsiteY9" fmla="*/ 993259 h 1843402"/>
                <a:gd name="connsiteX10" fmla="*/ 958692 w 1223178"/>
                <a:gd name="connsiteY10" fmla="*/ 1431798 h 1843402"/>
                <a:gd name="connsiteX11" fmla="*/ 762750 w 1223178"/>
                <a:gd name="connsiteY11" fmla="*/ 1665063 h 1843402"/>
                <a:gd name="connsiteX12" fmla="*/ 641452 w 1223178"/>
                <a:gd name="connsiteY12" fmla="*/ 1693055 h 1843402"/>
                <a:gd name="connsiteX13" fmla="*/ 632121 w 1223178"/>
                <a:gd name="connsiteY13" fmla="*/ 1525104 h 1843402"/>
                <a:gd name="connsiteX14" fmla="*/ 734758 w 1223178"/>
                <a:gd name="connsiteY14" fmla="*/ 1291838 h 1843402"/>
                <a:gd name="connsiteX15" fmla="*/ 706766 w 1223178"/>
                <a:gd name="connsiteY15" fmla="*/ 1077234 h 1843402"/>
                <a:gd name="connsiteX16" fmla="*/ 594799 w 1223178"/>
                <a:gd name="connsiteY16" fmla="*/ 666687 h 1843402"/>
                <a:gd name="connsiteX17" fmla="*/ 445509 w 1223178"/>
                <a:gd name="connsiteY17" fmla="*/ 1039912 h 1843402"/>
                <a:gd name="connsiteX18" fmla="*/ 436178 w 1223178"/>
                <a:gd name="connsiteY18" fmla="*/ 1375814 h 1843402"/>
                <a:gd name="connsiteX19" fmla="*/ 529484 w 1223178"/>
                <a:gd name="connsiteY19" fmla="*/ 1553096 h 1843402"/>
                <a:gd name="connsiteX20" fmla="*/ 548145 w 1223178"/>
                <a:gd name="connsiteY20" fmla="*/ 1683724 h 1843402"/>
                <a:gd name="connsiteX21" fmla="*/ 249566 w 1223178"/>
                <a:gd name="connsiteY21" fmla="*/ 1487781 h 1843402"/>
                <a:gd name="connsiteX22" fmla="*/ 100276 w 1223178"/>
                <a:gd name="connsiteY22" fmla="*/ 1049242 h 1843402"/>
                <a:gd name="connsiteX23" fmla="*/ 146929 w 1223178"/>
                <a:gd name="connsiteY23" fmla="*/ 508067 h 1843402"/>
                <a:gd name="connsiteX24" fmla="*/ 174921 w 1223178"/>
                <a:gd name="connsiteY24" fmla="*/ 13545 h 1843402"/>
                <a:gd name="connsiteX25" fmla="*/ 174921 w 1223178"/>
                <a:gd name="connsiteY25" fmla="*/ 13545 h 1843402"/>
                <a:gd name="connsiteX0" fmla="*/ 118937 w 1223178"/>
                <a:gd name="connsiteY0" fmla="*/ 38655 h 1877843"/>
                <a:gd name="connsiteX1" fmla="*/ 6970 w 1223178"/>
                <a:gd name="connsiteY1" fmla="*/ 719790 h 1877843"/>
                <a:gd name="connsiteX2" fmla="*/ 72284 w 1223178"/>
                <a:gd name="connsiteY2" fmla="*/ 1410255 h 1877843"/>
                <a:gd name="connsiteX3" fmla="*/ 557476 w 1223178"/>
                <a:gd name="connsiteY3" fmla="*/ 1848794 h 1877843"/>
                <a:gd name="connsiteX4" fmla="*/ 818733 w 1223178"/>
                <a:gd name="connsiteY4" fmla="*/ 1783479 h 1877843"/>
                <a:gd name="connsiteX5" fmla="*/ 1154635 w 1223178"/>
                <a:gd name="connsiteY5" fmla="*/ 1354271 h 1877843"/>
                <a:gd name="connsiteX6" fmla="*/ 1219950 w 1223178"/>
                <a:gd name="connsiteY6" fmla="*/ 822426 h 1877843"/>
                <a:gd name="connsiteX7" fmla="*/ 1098652 w 1223178"/>
                <a:gd name="connsiteY7" fmla="*/ 38655 h 1877843"/>
                <a:gd name="connsiteX8" fmla="*/ 1117313 w 1223178"/>
                <a:gd name="connsiteY8" fmla="*/ 533177 h 1877843"/>
                <a:gd name="connsiteX9" fmla="*/ 1117313 w 1223178"/>
                <a:gd name="connsiteY9" fmla="*/ 1027700 h 1877843"/>
                <a:gd name="connsiteX10" fmla="*/ 958692 w 1223178"/>
                <a:gd name="connsiteY10" fmla="*/ 1466239 h 1877843"/>
                <a:gd name="connsiteX11" fmla="*/ 762750 w 1223178"/>
                <a:gd name="connsiteY11" fmla="*/ 1699504 h 1877843"/>
                <a:gd name="connsiteX12" fmla="*/ 641452 w 1223178"/>
                <a:gd name="connsiteY12" fmla="*/ 1727496 h 1877843"/>
                <a:gd name="connsiteX13" fmla="*/ 632121 w 1223178"/>
                <a:gd name="connsiteY13" fmla="*/ 1559545 h 1877843"/>
                <a:gd name="connsiteX14" fmla="*/ 734758 w 1223178"/>
                <a:gd name="connsiteY14" fmla="*/ 1326279 h 1877843"/>
                <a:gd name="connsiteX15" fmla="*/ 706766 w 1223178"/>
                <a:gd name="connsiteY15" fmla="*/ 1111675 h 1877843"/>
                <a:gd name="connsiteX16" fmla="*/ 594799 w 1223178"/>
                <a:gd name="connsiteY16" fmla="*/ 701128 h 1877843"/>
                <a:gd name="connsiteX17" fmla="*/ 445509 w 1223178"/>
                <a:gd name="connsiteY17" fmla="*/ 1074353 h 1877843"/>
                <a:gd name="connsiteX18" fmla="*/ 436178 w 1223178"/>
                <a:gd name="connsiteY18" fmla="*/ 1410255 h 1877843"/>
                <a:gd name="connsiteX19" fmla="*/ 529484 w 1223178"/>
                <a:gd name="connsiteY19" fmla="*/ 1587537 h 1877843"/>
                <a:gd name="connsiteX20" fmla="*/ 548145 w 1223178"/>
                <a:gd name="connsiteY20" fmla="*/ 1718165 h 1877843"/>
                <a:gd name="connsiteX21" fmla="*/ 249566 w 1223178"/>
                <a:gd name="connsiteY21" fmla="*/ 1522222 h 1877843"/>
                <a:gd name="connsiteX22" fmla="*/ 100276 w 1223178"/>
                <a:gd name="connsiteY22" fmla="*/ 1083683 h 1877843"/>
                <a:gd name="connsiteX23" fmla="*/ 146929 w 1223178"/>
                <a:gd name="connsiteY23" fmla="*/ 542508 h 1877843"/>
                <a:gd name="connsiteX24" fmla="*/ 174921 w 1223178"/>
                <a:gd name="connsiteY24" fmla="*/ 47986 h 1877843"/>
                <a:gd name="connsiteX25" fmla="*/ 118937 w 1223178"/>
                <a:gd name="connsiteY25" fmla="*/ 10663 h 1877843"/>
                <a:gd name="connsiteX0" fmla="*/ 118937 w 1223178"/>
                <a:gd name="connsiteY0" fmla="*/ 38655 h 1877843"/>
                <a:gd name="connsiteX1" fmla="*/ 6970 w 1223178"/>
                <a:gd name="connsiteY1" fmla="*/ 719790 h 1877843"/>
                <a:gd name="connsiteX2" fmla="*/ 72284 w 1223178"/>
                <a:gd name="connsiteY2" fmla="*/ 1410255 h 1877843"/>
                <a:gd name="connsiteX3" fmla="*/ 557476 w 1223178"/>
                <a:gd name="connsiteY3" fmla="*/ 1848794 h 1877843"/>
                <a:gd name="connsiteX4" fmla="*/ 818733 w 1223178"/>
                <a:gd name="connsiteY4" fmla="*/ 1783479 h 1877843"/>
                <a:gd name="connsiteX5" fmla="*/ 1154635 w 1223178"/>
                <a:gd name="connsiteY5" fmla="*/ 1354271 h 1877843"/>
                <a:gd name="connsiteX6" fmla="*/ 1219950 w 1223178"/>
                <a:gd name="connsiteY6" fmla="*/ 822426 h 1877843"/>
                <a:gd name="connsiteX7" fmla="*/ 1098652 w 1223178"/>
                <a:gd name="connsiteY7" fmla="*/ 38655 h 1877843"/>
                <a:gd name="connsiteX8" fmla="*/ 1117313 w 1223178"/>
                <a:gd name="connsiteY8" fmla="*/ 533177 h 1877843"/>
                <a:gd name="connsiteX9" fmla="*/ 1117313 w 1223178"/>
                <a:gd name="connsiteY9" fmla="*/ 1027700 h 1877843"/>
                <a:gd name="connsiteX10" fmla="*/ 958692 w 1223178"/>
                <a:gd name="connsiteY10" fmla="*/ 1466239 h 1877843"/>
                <a:gd name="connsiteX11" fmla="*/ 762750 w 1223178"/>
                <a:gd name="connsiteY11" fmla="*/ 1699504 h 1877843"/>
                <a:gd name="connsiteX12" fmla="*/ 641452 w 1223178"/>
                <a:gd name="connsiteY12" fmla="*/ 1727496 h 1877843"/>
                <a:gd name="connsiteX13" fmla="*/ 632121 w 1223178"/>
                <a:gd name="connsiteY13" fmla="*/ 1559545 h 1877843"/>
                <a:gd name="connsiteX14" fmla="*/ 734758 w 1223178"/>
                <a:gd name="connsiteY14" fmla="*/ 1326279 h 1877843"/>
                <a:gd name="connsiteX15" fmla="*/ 706766 w 1223178"/>
                <a:gd name="connsiteY15" fmla="*/ 1111675 h 1877843"/>
                <a:gd name="connsiteX16" fmla="*/ 594799 w 1223178"/>
                <a:gd name="connsiteY16" fmla="*/ 701128 h 1877843"/>
                <a:gd name="connsiteX17" fmla="*/ 445509 w 1223178"/>
                <a:gd name="connsiteY17" fmla="*/ 1074353 h 1877843"/>
                <a:gd name="connsiteX18" fmla="*/ 436178 w 1223178"/>
                <a:gd name="connsiteY18" fmla="*/ 1410255 h 1877843"/>
                <a:gd name="connsiteX19" fmla="*/ 529484 w 1223178"/>
                <a:gd name="connsiteY19" fmla="*/ 1587537 h 1877843"/>
                <a:gd name="connsiteX20" fmla="*/ 548145 w 1223178"/>
                <a:gd name="connsiteY20" fmla="*/ 1718165 h 1877843"/>
                <a:gd name="connsiteX21" fmla="*/ 249566 w 1223178"/>
                <a:gd name="connsiteY21" fmla="*/ 1522222 h 1877843"/>
                <a:gd name="connsiteX22" fmla="*/ 100276 w 1223178"/>
                <a:gd name="connsiteY22" fmla="*/ 1083683 h 1877843"/>
                <a:gd name="connsiteX23" fmla="*/ 146929 w 1223178"/>
                <a:gd name="connsiteY23" fmla="*/ 542508 h 1877843"/>
                <a:gd name="connsiteX24" fmla="*/ 174921 w 1223178"/>
                <a:gd name="connsiteY24" fmla="*/ 47986 h 1877843"/>
                <a:gd name="connsiteX25" fmla="*/ 118937 w 1223178"/>
                <a:gd name="connsiteY25" fmla="*/ 10663 h 1877843"/>
                <a:gd name="connsiteX26" fmla="*/ 118937 w 1223178"/>
                <a:gd name="connsiteY26" fmla="*/ 38655 h 1877843"/>
                <a:gd name="connsiteX0" fmla="*/ 118937 w 1223178"/>
                <a:gd name="connsiteY0" fmla="*/ 10663 h 1877843"/>
                <a:gd name="connsiteX1" fmla="*/ 6970 w 1223178"/>
                <a:gd name="connsiteY1" fmla="*/ 719790 h 1877843"/>
                <a:gd name="connsiteX2" fmla="*/ 72284 w 1223178"/>
                <a:gd name="connsiteY2" fmla="*/ 1410255 h 1877843"/>
                <a:gd name="connsiteX3" fmla="*/ 557476 w 1223178"/>
                <a:gd name="connsiteY3" fmla="*/ 1848794 h 1877843"/>
                <a:gd name="connsiteX4" fmla="*/ 818733 w 1223178"/>
                <a:gd name="connsiteY4" fmla="*/ 1783479 h 1877843"/>
                <a:gd name="connsiteX5" fmla="*/ 1154635 w 1223178"/>
                <a:gd name="connsiteY5" fmla="*/ 1354271 h 1877843"/>
                <a:gd name="connsiteX6" fmla="*/ 1219950 w 1223178"/>
                <a:gd name="connsiteY6" fmla="*/ 822426 h 1877843"/>
                <a:gd name="connsiteX7" fmla="*/ 1098652 w 1223178"/>
                <a:gd name="connsiteY7" fmla="*/ 38655 h 1877843"/>
                <a:gd name="connsiteX8" fmla="*/ 1117313 w 1223178"/>
                <a:gd name="connsiteY8" fmla="*/ 533177 h 1877843"/>
                <a:gd name="connsiteX9" fmla="*/ 1117313 w 1223178"/>
                <a:gd name="connsiteY9" fmla="*/ 1027700 h 1877843"/>
                <a:gd name="connsiteX10" fmla="*/ 958692 w 1223178"/>
                <a:gd name="connsiteY10" fmla="*/ 1466239 h 1877843"/>
                <a:gd name="connsiteX11" fmla="*/ 762750 w 1223178"/>
                <a:gd name="connsiteY11" fmla="*/ 1699504 h 1877843"/>
                <a:gd name="connsiteX12" fmla="*/ 641452 w 1223178"/>
                <a:gd name="connsiteY12" fmla="*/ 1727496 h 1877843"/>
                <a:gd name="connsiteX13" fmla="*/ 632121 w 1223178"/>
                <a:gd name="connsiteY13" fmla="*/ 1559545 h 1877843"/>
                <a:gd name="connsiteX14" fmla="*/ 734758 w 1223178"/>
                <a:gd name="connsiteY14" fmla="*/ 1326279 h 1877843"/>
                <a:gd name="connsiteX15" fmla="*/ 706766 w 1223178"/>
                <a:gd name="connsiteY15" fmla="*/ 1111675 h 1877843"/>
                <a:gd name="connsiteX16" fmla="*/ 594799 w 1223178"/>
                <a:gd name="connsiteY16" fmla="*/ 701128 h 1877843"/>
                <a:gd name="connsiteX17" fmla="*/ 445509 w 1223178"/>
                <a:gd name="connsiteY17" fmla="*/ 1074353 h 1877843"/>
                <a:gd name="connsiteX18" fmla="*/ 436178 w 1223178"/>
                <a:gd name="connsiteY18" fmla="*/ 1410255 h 1877843"/>
                <a:gd name="connsiteX19" fmla="*/ 529484 w 1223178"/>
                <a:gd name="connsiteY19" fmla="*/ 1587537 h 1877843"/>
                <a:gd name="connsiteX20" fmla="*/ 548145 w 1223178"/>
                <a:gd name="connsiteY20" fmla="*/ 1718165 h 1877843"/>
                <a:gd name="connsiteX21" fmla="*/ 249566 w 1223178"/>
                <a:gd name="connsiteY21" fmla="*/ 1522222 h 1877843"/>
                <a:gd name="connsiteX22" fmla="*/ 100276 w 1223178"/>
                <a:gd name="connsiteY22" fmla="*/ 1083683 h 1877843"/>
                <a:gd name="connsiteX23" fmla="*/ 146929 w 1223178"/>
                <a:gd name="connsiteY23" fmla="*/ 542508 h 1877843"/>
                <a:gd name="connsiteX24" fmla="*/ 174921 w 1223178"/>
                <a:gd name="connsiteY24" fmla="*/ 47986 h 1877843"/>
                <a:gd name="connsiteX25" fmla="*/ 118937 w 1223178"/>
                <a:gd name="connsiteY25" fmla="*/ 10663 h 1877843"/>
                <a:gd name="connsiteX0" fmla="*/ 118937 w 1223178"/>
                <a:gd name="connsiteY0" fmla="*/ 13287 h 1880467"/>
                <a:gd name="connsiteX1" fmla="*/ 6970 w 1223178"/>
                <a:gd name="connsiteY1" fmla="*/ 722414 h 1880467"/>
                <a:gd name="connsiteX2" fmla="*/ 72284 w 1223178"/>
                <a:gd name="connsiteY2" fmla="*/ 1412879 h 1880467"/>
                <a:gd name="connsiteX3" fmla="*/ 557476 w 1223178"/>
                <a:gd name="connsiteY3" fmla="*/ 1851418 h 1880467"/>
                <a:gd name="connsiteX4" fmla="*/ 818733 w 1223178"/>
                <a:gd name="connsiteY4" fmla="*/ 1786103 h 1880467"/>
                <a:gd name="connsiteX5" fmla="*/ 1154635 w 1223178"/>
                <a:gd name="connsiteY5" fmla="*/ 1356895 h 1880467"/>
                <a:gd name="connsiteX6" fmla="*/ 1219950 w 1223178"/>
                <a:gd name="connsiteY6" fmla="*/ 825050 h 1880467"/>
                <a:gd name="connsiteX7" fmla="*/ 1098652 w 1223178"/>
                <a:gd name="connsiteY7" fmla="*/ 41279 h 1880467"/>
                <a:gd name="connsiteX8" fmla="*/ 1117313 w 1223178"/>
                <a:gd name="connsiteY8" fmla="*/ 535801 h 1880467"/>
                <a:gd name="connsiteX9" fmla="*/ 1117313 w 1223178"/>
                <a:gd name="connsiteY9" fmla="*/ 1030324 h 1880467"/>
                <a:gd name="connsiteX10" fmla="*/ 958692 w 1223178"/>
                <a:gd name="connsiteY10" fmla="*/ 1468863 h 1880467"/>
                <a:gd name="connsiteX11" fmla="*/ 762750 w 1223178"/>
                <a:gd name="connsiteY11" fmla="*/ 1702128 h 1880467"/>
                <a:gd name="connsiteX12" fmla="*/ 641452 w 1223178"/>
                <a:gd name="connsiteY12" fmla="*/ 1730120 h 1880467"/>
                <a:gd name="connsiteX13" fmla="*/ 632121 w 1223178"/>
                <a:gd name="connsiteY13" fmla="*/ 1562169 h 1880467"/>
                <a:gd name="connsiteX14" fmla="*/ 734758 w 1223178"/>
                <a:gd name="connsiteY14" fmla="*/ 1328903 h 1880467"/>
                <a:gd name="connsiteX15" fmla="*/ 706766 w 1223178"/>
                <a:gd name="connsiteY15" fmla="*/ 1114299 h 1880467"/>
                <a:gd name="connsiteX16" fmla="*/ 594799 w 1223178"/>
                <a:gd name="connsiteY16" fmla="*/ 703752 h 1880467"/>
                <a:gd name="connsiteX17" fmla="*/ 445509 w 1223178"/>
                <a:gd name="connsiteY17" fmla="*/ 1076977 h 1880467"/>
                <a:gd name="connsiteX18" fmla="*/ 436178 w 1223178"/>
                <a:gd name="connsiteY18" fmla="*/ 1412879 h 1880467"/>
                <a:gd name="connsiteX19" fmla="*/ 529484 w 1223178"/>
                <a:gd name="connsiteY19" fmla="*/ 1590161 h 1880467"/>
                <a:gd name="connsiteX20" fmla="*/ 548145 w 1223178"/>
                <a:gd name="connsiteY20" fmla="*/ 1720789 h 1880467"/>
                <a:gd name="connsiteX21" fmla="*/ 249566 w 1223178"/>
                <a:gd name="connsiteY21" fmla="*/ 1524846 h 1880467"/>
                <a:gd name="connsiteX22" fmla="*/ 100276 w 1223178"/>
                <a:gd name="connsiteY22" fmla="*/ 1086307 h 1880467"/>
                <a:gd name="connsiteX23" fmla="*/ 118937 w 1223178"/>
                <a:gd name="connsiteY23" fmla="*/ 582455 h 1880467"/>
                <a:gd name="connsiteX24" fmla="*/ 174921 w 1223178"/>
                <a:gd name="connsiteY24" fmla="*/ 50610 h 1880467"/>
                <a:gd name="connsiteX25" fmla="*/ 118937 w 1223178"/>
                <a:gd name="connsiteY25" fmla="*/ 13287 h 1880467"/>
                <a:gd name="connsiteX0" fmla="*/ 118937 w 1223178"/>
                <a:gd name="connsiteY0" fmla="*/ 948 h 1868128"/>
                <a:gd name="connsiteX1" fmla="*/ 6970 w 1223178"/>
                <a:gd name="connsiteY1" fmla="*/ 710075 h 1868128"/>
                <a:gd name="connsiteX2" fmla="*/ 72284 w 1223178"/>
                <a:gd name="connsiteY2" fmla="*/ 1400540 h 1868128"/>
                <a:gd name="connsiteX3" fmla="*/ 557476 w 1223178"/>
                <a:gd name="connsiteY3" fmla="*/ 1839079 h 1868128"/>
                <a:gd name="connsiteX4" fmla="*/ 818733 w 1223178"/>
                <a:gd name="connsiteY4" fmla="*/ 1773764 h 1868128"/>
                <a:gd name="connsiteX5" fmla="*/ 1154635 w 1223178"/>
                <a:gd name="connsiteY5" fmla="*/ 1344556 h 1868128"/>
                <a:gd name="connsiteX6" fmla="*/ 1219950 w 1223178"/>
                <a:gd name="connsiteY6" fmla="*/ 812711 h 1868128"/>
                <a:gd name="connsiteX7" fmla="*/ 1098652 w 1223178"/>
                <a:gd name="connsiteY7" fmla="*/ 28940 h 1868128"/>
                <a:gd name="connsiteX8" fmla="*/ 1117313 w 1223178"/>
                <a:gd name="connsiteY8" fmla="*/ 523462 h 1868128"/>
                <a:gd name="connsiteX9" fmla="*/ 1117313 w 1223178"/>
                <a:gd name="connsiteY9" fmla="*/ 1017985 h 1868128"/>
                <a:gd name="connsiteX10" fmla="*/ 958692 w 1223178"/>
                <a:gd name="connsiteY10" fmla="*/ 1456524 h 1868128"/>
                <a:gd name="connsiteX11" fmla="*/ 762750 w 1223178"/>
                <a:gd name="connsiteY11" fmla="*/ 1689789 h 1868128"/>
                <a:gd name="connsiteX12" fmla="*/ 641452 w 1223178"/>
                <a:gd name="connsiteY12" fmla="*/ 1717781 h 1868128"/>
                <a:gd name="connsiteX13" fmla="*/ 632121 w 1223178"/>
                <a:gd name="connsiteY13" fmla="*/ 1549830 h 1868128"/>
                <a:gd name="connsiteX14" fmla="*/ 734758 w 1223178"/>
                <a:gd name="connsiteY14" fmla="*/ 1316564 h 1868128"/>
                <a:gd name="connsiteX15" fmla="*/ 706766 w 1223178"/>
                <a:gd name="connsiteY15" fmla="*/ 1101960 h 1868128"/>
                <a:gd name="connsiteX16" fmla="*/ 594799 w 1223178"/>
                <a:gd name="connsiteY16" fmla="*/ 691413 h 1868128"/>
                <a:gd name="connsiteX17" fmla="*/ 445509 w 1223178"/>
                <a:gd name="connsiteY17" fmla="*/ 1064638 h 1868128"/>
                <a:gd name="connsiteX18" fmla="*/ 436178 w 1223178"/>
                <a:gd name="connsiteY18" fmla="*/ 1400540 h 1868128"/>
                <a:gd name="connsiteX19" fmla="*/ 529484 w 1223178"/>
                <a:gd name="connsiteY19" fmla="*/ 1577822 h 1868128"/>
                <a:gd name="connsiteX20" fmla="*/ 548145 w 1223178"/>
                <a:gd name="connsiteY20" fmla="*/ 1708450 h 1868128"/>
                <a:gd name="connsiteX21" fmla="*/ 249566 w 1223178"/>
                <a:gd name="connsiteY21" fmla="*/ 1512507 h 1868128"/>
                <a:gd name="connsiteX22" fmla="*/ 100276 w 1223178"/>
                <a:gd name="connsiteY22" fmla="*/ 1073968 h 1868128"/>
                <a:gd name="connsiteX23" fmla="*/ 118937 w 1223178"/>
                <a:gd name="connsiteY23" fmla="*/ 570116 h 1868128"/>
                <a:gd name="connsiteX24" fmla="*/ 118937 w 1223178"/>
                <a:gd name="connsiteY24" fmla="*/ 948 h 1868128"/>
                <a:gd name="connsiteX0" fmla="*/ 118937 w 1223178"/>
                <a:gd name="connsiteY0" fmla="*/ 823 h 1868003"/>
                <a:gd name="connsiteX1" fmla="*/ 6970 w 1223178"/>
                <a:gd name="connsiteY1" fmla="*/ 709950 h 1868003"/>
                <a:gd name="connsiteX2" fmla="*/ 72284 w 1223178"/>
                <a:gd name="connsiteY2" fmla="*/ 1400415 h 1868003"/>
                <a:gd name="connsiteX3" fmla="*/ 557476 w 1223178"/>
                <a:gd name="connsiteY3" fmla="*/ 1838954 h 1868003"/>
                <a:gd name="connsiteX4" fmla="*/ 818733 w 1223178"/>
                <a:gd name="connsiteY4" fmla="*/ 1773639 h 1868003"/>
                <a:gd name="connsiteX5" fmla="*/ 1154635 w 1223178"/>
                <a:gd name="connsiteY5" fmla="*/ 1344431 h 1868003"/>
                <a:gd name="connsiteX6" fmla="*/ 1219950 w 1223178"/>
                <a:gd name="connsiteY6" fmla="*/ 812586 h 1868003"/>
                <a:gd name="connsiteX7" fmla="*/ 1098652 w 1223178"/>
                <a:gd name="connsiteY7" fmla="*/ 28815 h 1868003"/>
                <a:gd name="connsiteX8" fmla="*/ 1117313 w 1223178"/>
                <a:gd name="connsiteY8" fmla="*/ 523337 h 1868003"/>
                <a:gd name="connsiteX9" fmla="*/ 1117313 w 1223178"/>
                <a:gd name="connsiteY9" fmla="*/ 1017860 h 1868003"/>
                <a:gd name="connsiteX10" fmla="*/ 958692 w 1223178"/>
                <a:gd name="connsiteY10" fmla="*/ 1456399 h 1868003"/>
                <a:gd name="connsiteX11" fmla="*/ 762750 w 1223178"/>
                <a:gd name="connsiteY11" fmla="*/ 1689664 h 1868003"/>
                <a:gd name="connsiteX12" fmla="*/ 641452 w 1223178"/>
                <a:gd name="connsiteY12" fmla="*/ 1717656 h 1868003"/>
                <a:gd name="connsiteX13" fmla="*/ 632121 w 1223178"/>
                <a:gd name="connsiteY13" fmla="*/ 1549705 h 1868003"/>
                <a:gd name="connsiteX14" fmla="*/ 734758 w 1223178"/>
                <a:gd name="connsiteY14" fmla="*/ 1316439 h 1868003"/>
                <a:gd name="connsiteX15" fmla="*/ 706766 w 1223178"/>
                <a:gd name="connsiteY15" fmla="*/ 1101835 h 1868003"/>
                <a:gd name="connsiteX16" fmla="*/ 594799 w 1223178"/>
                <a:gd name="connsiteY16" fmla="*/ 691288 h 1868003"/>
                <a:gd name="connsiteX17" fmla="*/ 445509 w 1223178"/>
                <a:gd name="connsiteY17" fmla="*/ 1064513 h 1868003"/>
                <a:gd name="connsiteX18" fmla="*/ 436178 w 1223178"/>
                <a:gd name="connsiteY18" fmla="*/ 1400415 h 1868003"/>
                <a:gd name="connsiteX19" fmla="*/ 529484 w 1223178"/>
                <a:gd name="connsiteY19" fmla="*/ 1577697 h 1868003"/>
                <a:gd name="connsiteX20" fmla="*/ 548145 w 1223178"/>
                <a:gd name="connsiteY20" fmla="*/ 1708325 h 1868003"/>
                <a:gd name="connsiteX21" fmla="*/ 249566 w 1223178"/>
                <a:gd name="connsiteY21" fmla="*/ 1512382 h 1868003"/>
                <a:gd name="connsiteX22" fmla="*/ 100276 w 1223178"/>
                <a:gd name="connsiteY22" fmla="*/ 1073843 h 1868003"/>
                <a:gd name="connsiteX23" fmla="*/ 90945 w 1223178"/>
                <a:gd name="connsiteY23" fmla="*/ 635305 h 1868003"/>
                <a:gd name="connsiteX24" fmla="*/ 118937 w 1223178"/>
                <a:gd name="connsiteY24" fmla="*/ 823 h 1868003"/>
                <a:gd name="connsiteX0" fmla="*/ 118937 w 1223178"/>
                <a:gd name="connsiteY0" fmla="*/ 823 h 1868003"/>
                <a:gd name="connsiteX1" fmla="*/ 6970 w 1223178"/>
                <a:gd name="connsiteY1" fmla="*/ 709950 h 1868003"/>
                <a:gd name="connsiteX2" fmla="*/ 72284 w 1223178"/>
                <a:gd name="connsiteY2" fmla="*/ 1400415 h 1868003"/>
                <a:gd name="connsiteX3" fmla="*/ 557476 w 1223178"/>
                <a:gd name="connsiteY3" fmla="*/ 1838954 h 1868003"/>
                <a:gd name="connsiteX4" fmla="*/ 818733 w 1223178"/>
                <a:gd name="connsiteY4" fmla="*/ 1773639 h 1868003"/>
                <a:gd name="connsiteX5" fmla="*/ 1154635 w 1223178"/>
                <a:gd name="connsiteY5" fmla="*/ 1344431 h 1868003"/>
                <a:gd name="connsiteX6" fmla="*/ 1219950 w 1223178"/>
                <a:gd name="connsiteY6" fmla="*/ 812586 h 1868003"/>
                <a:gd name="connsiteX7" fmla="*/ 1098652 w 1223178"/>
                <a:gd name="connsiteY7" fmla="*/ 28815 h 1868003"/>
                <a:gd name="connsiteX8" fmla="*/ 1117313 w 1223178"/>
                <a:gd name="connsiteY8" fmla="*/ 523337 h 1868003"/>
                <a:gd name="connsiteX9" fmla="*/ 1117313 w 1223178"/>
                <a:gd name="connsiteY9" fmla="*/ 1017860 h 1868003"/>
                <a:gd name="connsiteX10" fmla="*/ 958692 w 1223178"/>
                <a:gd name="connsiteY10" fmla="*/ 1456399 h 1868003"/>
                <a:gd name="connsiteX11" fmla="*/ 762750 w 1223178"/>
                <a:gd name="connsiteY11" fmla="*/ 1689664 h 1868003"/>
                <a:gd name="connsiteX12" fmla="*/ 641452 w 1223178"/>
                <a:gd name="connsiteY12" fmla="*/ 1717656 h 1868003"/>
                <a:gd name="connsiteX13" fmla="*/ 632121 w 1223178"/>
                <a:gd name="connsiteY13" fmla="*/ 1549705 h 1868003"/>
                <a:gd name="connsiteX14" fmla="*/ 734758 w 1223178"/>
                <a:gd name="connsiteY14" fmla="*/ 1316439 h 1868003"/>
                <a:gd name="connsiteX15" fmla="*/ 706766 w 1223178"/>
                <a:gd name="connsiteY15" fmla="*/ 1101835 h 1868003"/>
                <a:gd name="connsiteX16" fmla="*/ 594799 w 1223178"/>
                <a:gd name="connsiteY16" fmla="*/ 691288 h 1868003"/>
                <a:gd name="connsiteX17" fmla="*/ 445509 w 1223178"/>
                <a:gd name="connsiteY17" fmla="*/ 1064513 h 1868003"/>
                <a:gd name="connsiteX18" fmla="*/ 436178 w 1223178"/>
                <a:gd name="connsiteY18" fmla="*/ 1400415 h 1868003"/>
                <a:gd name="connsiteX19" fmla="*/ 529484 w 1223178"/>
                <a:gd name="connsiteY19" fmla="*/ 1577697 h 1868003"/>
                <a:gd name="connsiteX20" fmla="*/ 548145 w 1223178"/>
                <a:gd name="connsiteY20" fmla="*/ 1708325 h 1868003"/>
                <a:gd name="connsiteX21" fmla="*/ 249566 w 1223178"/>
                <a:gd name="connsiteY21" fmla="*/ 1512382 h 1868003"/>
                <a:gd name="connsiteX22" fmla="*/ 90945 w 1223178"/>
                <a:gd name="connsiteY22" fmla="*/ 635305 h 1868003"/>
                <a:gd name="connsiteX23" fmla="*/ 118937 w 1223178"/>
                <a:gd name="connsiteY23" fmla="*/ 823 h 1868003"/>
                <a:gd name="connsiteX0" fmla="*/ 118937 w 1223178"/>
                <a:gd name="connsiteY0" fmla="*/ 1 h 1867181"/>
                <a:gd name="connsiteX1" fmla="*/ 6970 w 1223178"/>
                <a:gd name="connsiteY1" fmla="*/ 709128 h 1867181"/>
                <a:gd name="connsiteX2" fmla="*/ 72284 w 1223178"/>
                <a:gd name="connsiteY2" fmla="*/ 1399593 h 1867181"/>
                <a:gd name="connsiteX3" fmla="*/ 557476 w 1223178"/>
                <a:gd name="connsiteY3" fmla="*/ 1838132 h 1867181"/>
                <a:gd name="connsiteX4" fmla="*/ 818733 w 1223178"/>
                <a:gd name="connsiteY4" fmla="*/ 1772817 h 1867181"/>
                <a:gd name="connsiteX5" fmla="*/ 1154635 w 1223178"/>
                <a:gd name="connsiteY5" fmla="*/ 1343609 h 1867181"/>
                <a:gd name="connsiteX6" fmla="*/ 1219950 w 1223178"/>
                <a:gd name="connsiteY6" fmla="*/ 811764 h 1867181"/>
                <a:gd name="connsiteX7" fmla="*/ 1098652 w 1223178"/>
                <a:gd name="connsiteY7" fmla="*/ 27993 h 1867181"/>
                <a:gd name="connsiteX8" fmla="*/ 1117313 w 1223178"/>
                <a:gd name="connsiteY8" fmla="*/ 522515 h 1867181"/>
                <a:gd name="connsiteX9" fmla="*/ 1117313 w 1223178"/>
                <a:gd name="connsiteY9" fmla="*/ 1017038 h 1867181"/>
                <a:gd name="connsiteX10" fmla="*/ 958692 w 1223178"/>
                <a:gd name="connsiteY10" fmla="*/ 1455577 h 1867181"/>
                <a:gd name="connsiteX11" fmla="*/ 762750 w 1223178"/>
                <a:gd name="connsiteY11" fmla="*/ 1688842 h 1867181"/>
                <a:gd name="connsiteX12" fmla="*/ 641452 w 1223178"/>
                <a:gd name="connsiteY12" fmla="*/ 1716834 h 1867181"/>
                <a:gd name="connsiteX13" fmla="*/ 632121 w 1223178"/>
                <a:gd name="connsiteY13" fmla="*/ 1548883 h 1867181"/>
                <a:gd name="connsiteX14" fmla="*/ 734758 w 1223178"/>
                <a:gd name="connsiteY14" fmla="*/ 1315617 h 1867181"/>
                <a:gd name="connsiteX15" fmla="*/ 706766 w 1223178"/>
                <a:gd name="connsiteY15" fmla="*/ 1101013 h 1867181"/>
                <a:gd name="connsiteX16" fmla="*/ 594799 w 1223178"/>
                <a:gd name="connsiteY16" fmla="*/ 690466 h 1867181"/>
                <a:gd name="connsiteX17" fmla="*/ 445509 w 1223178"/>
                <a:gd name="connsiteY17" fmla="*/ 1063691 h 1867181"/>
                <a:gd name="connsiteX18" fmla="*/ 436178 w 1223178"/>
                <a:gd name="connsiteY18" fmla="*/ 1399593 h 1867181"/>
                <a:gd name="connsiteX19" fmla="*/ 529484 w 1223178"/>
                <a:gd name="connsiteY19" fmla="*/ 1576875 h 1867181"/>
                <a:gd name="connsiteX20" fmla="*/ 548145 w 1223178"/>
                <a:gd name="connsiteY20" fmla="*/ 1707503 h 1867181"/>
                <a:gd name="connsiteX21" fmla="*/ 249566 w 1223178"/>
                <a:gd name="connsiteY21" fmla="*/ 1511560 h 1867181"/>
                <a:gd name="connsiteX22" fmla="*/ 118937 w 1223178"/>
                <a:gd name="connsiteY22" fmla="*/ 1 h 1867181"/>
                <a:gd name="connsiteX0" fmla="*/ 259218 w 1232830"/>
                <a:gd name="connsiteY0" fmla="*/ 1487782 h 1843403"/>
                <a:gd name="connsiteX1" fmla="*/ 16622 w 1232830"/>
                <a:gd name="connsiteY1" fmla="*/ 685350 h 1843403"/>
                <a:gd name="connsiteX2" fmla="*/ 81936 w 1232830"/>
                <a:gd name="connsiteY2" fmla="*/ 1375815 h 1843403"/>
                <a:gd name="connsiteX3" fmla="*/ 567128 w 1232830"/>
                <a:gd name="connsiteY3" fmla="*/ 1814354 h 1843403"/>
                <a:gd name="connsiteX4" fmla="*/ 828385 w 1232830"/>
                <a:gd name="connsiteY4" fmla="*/ 1749039 h 1843403"/>
                <a:gd name="connsiteX5" fmla="*/ 1164287 w 1232830"/>
                <a:gd name="connsiteY5" fmla="*/ 1319831 h 1843403"/>
                <a:gd name="connsiteX6" fmla="*/ 1229602 w 1232830"/>
                <a:gd name="connsiteY6" fmla="*/ 787986 h 1843403"/>
                <a:gd name="connsiteX7" fmla="*/ 1108304 w 1232830"/>
                <a:gd name="connsiteY7" fmla="*/ 4215 h 1843403"/>
                <a:gd name="connsiteX8" fmla="*/ 1126965 w 1232830"/>
                <a:gd name="connsiteY8" fmla="*/ 498737 h 1843403"/>
                <a:gd name="connsiteX9" fmla="*/ 1126965 w 1232830"/>
                <a:gd name="connsiteY9" fmla="*/ 993260 h 1843403"/>
                <a:gd name="connsiteX10" fmla="*/ 968344 w 1232830"/>
                <a:gd name="connsiteY10" fmla="*/ 1431799 h 1843403"/>
                <a:gd name="connsiteX11" fmla="*/ 772402 w 1232830"/>
                <a:gd name="connsiteY11" fmla="*/ 1665064 h 1843403"/>
                <a:gd name="connsiteX12" fmla="*/ 651104 w 1232830"/>
                <a:gd name="connsiteY12" fmla="*/ 1693056 h 1843403"/>
                <a:gd name="connsiteX13" fmla="*/ 641773 w 1232830"/>
                <a:gd name="connsiteY13" fmla="*/ 1525105 h 1843403"/>
                <a:gd name="connsiteX14" fmla="*/ 744410 w 1232830"/>
                <a:gd name="connsiteY14" fmla="*/ 1291839 h 1843403"/>
                <a:gd name="connsiteX15" fmla="*/ 716418 w 1232830"/>
                <a:gd name="connsiteY15" fmla="*/ 1077235 h 1843403"/>
                <a:gd name="connsiteX16" fmla="*/ 604451 w 1232830"/>
                <a:gd name="connsiteY16" fmla="*/ 666688 h 1843403"/>
                <a:gd name="connsiteX17" fmla="*/ 455161 w 1232830"/>
                <a:gd name="connsiteY17" fmla="*/ 1039913 h 1843403"/>
                <a:gd name="connsiteX18" fmla="*/ 445830 w 1232830"/>
                <a:gd name="connsiteY18" fmla="*/ 1375815 h 1843403"/>
                <a:gd name="connsiteX19" fmla="*/ 539136 w 1232830"/>
                <a:gd name="connsiteY19" fmla="*/ 1553097 h 1843403"/>
                <a:gd name="connsiteX20" fmla="*/ 557797 w 1232830"/>
                <a:gd name="connsiteY20" fmla="*/ 1683725 h 1843403"/>
                <a:gd name="connsiteX21" fmla="*/ 259218 w 1232830"/>
                <a:gd name="connsiteY21" fmla="*/ 1487782 h 1843403"/>
                <a:gd name="connsiteX0" fmla="*/ 187783 w 1161395"/>
                <a:gd name="connsiteY0" fmla="*/ 1487782 h 1843403"/>
                <a:gd name="connsiteX1" fmla="*/ 10501 w 1161395"/>
                <a:gd name="connsiteY1" fmla="*/ 1375815 h 1843403"/>
                <a:gd name="connsiteX2" fmla="*/ 495693 w 1161395"/>
                <a:gd name="connsiteY2" fmla="*/ 1814354 h 1843403"/>
                <a:gd name="connsiteX3" fmla="*/ 756950 w 1161395"/>
                <a:gd name="connsiteY3" fmla="*/ 1749039 h 1843403"/>
                <a:gd name="connsiteX4" fmla="*/ 1092852 w 1161395"/>
                <a:gd name="connsiteY4" fmla="*/ 1319831 h 1843403"/>
                <a:gd name="connsiteX5" fmla="*/ 1158167 w 1161395"/>
                <a:gd name="connsiteY5" fmla="*/ 787986 h 1843403"/>
                <a:gd name="connsiteX6" fmla="*/ 1036869 w 1161395"/>
                <a:gd name="connsiteY6" fmla="*/ 4215 h 1843403"/>
                <a:gd name="connsiteX7" fmla="*/ 1055530 w 1161395"/>
                <a:gd name="connsiteY7" fmla="*/ 498737 h 1843403"/>
                <a:gd name="connsiteX8" fmla="*/ 1055530 w 1161395"/>
                <a:gd name="connsiteY8" fmla="*/ 993260 h 1843403"/>
                <a:gd name="connsiteX9" fmla="*/ 896909 w 1161395"/>
                <a:gd name="connsiteY9" fmla="*/ 1431799 h 1843403"/>
                <a:gd name="connsiteX10" fmla="*/ 700967 w 1161395"/>
                <a:gd name="connsiteY10" fmla="*/ 1665064 h 1843403"/>
                <a:gd name="connsiteX11" fmla="*/ 579669 w 1161395"/>
                <a:gd name="connsiteY11" fmla="*/ 1693056 h 1843403"/>
                <a:gd name="connsiteX12" fmla="*/ 570338 w 1161395"/>
                <a:gd name="connsiteY12" fmla="*/ 1525105 h 1843403"/>
                <a:gd name="connsiteX13" fmla="*/ 672975 w 1161395"/>
                <a:gd name="connsiteY13" fmla="*/ 1291839 h 1843403"/>
                <a:gd name="connsiteX14" fmla="*/ 644983 w 1161395"/>
                <a:gd name="connsiteY14" fmla="*/ 1077235 h 1843403"/>
                <a:gd name="connsiteX15" fmla="*/ 533016 w 1161395"/>
                <a:gd name="connsiteY15" fmla="*/ 666688 h 1843403"/>
                <a:gd name="connsiteX16" fmla="*/ 383726 w 1161395"/>
                <a:gd name="connsiteY16" fmla="*/ 1039913 h 1843403"/>
                <a:gd name="connsiteX17" fmla="*/ 374395 w 1161395"/>
                <a:gd name="connsiteY17" fmla="*/ 1375815 h 1843403"/>
                <a:gd name="connsiteX18" fmla="*/ 467701 w 1161395"/>
                <a:gd name="connsiteY18" fmla="*/ 1553097 h 1843403"/>
                <a:gd name="connsiteX19" fmla="*/ 486362 w 1161395"/>
                <a:gd name="connsiteY19" fmla="*/ 1683725 h 1843403"/>
                <a:gd name="connsiteX20" fmla="*/ 187783 w 1161395"/>
                <a:gd name="connsiteY20" fmla="*/ 1487782 h 1843403"/>
                <a:gd name="connsiteX0" fmla="*/ 187783 w 1160184"/>
                <a:gd name="connsiteY0" fmla="*/ 993157 h 1348778"/>
                <a:gd name="connsiteX1" fmla="*/ 10501 w 1160184"/>
                <a:gd name="connsiteY1" fmla="*/ 881190 h 1348778"/>
                <a:gd name="connsiteX2" fmla="*/ 495693 w 1160184"/>
                <a:gd name="connsiteY2" fmla="*/ 1319729 h 1348778"/>
                <a:gd name="connsiteX3" fmla="*/ 756950 w 1160184"/>
                <a:gd name="connsiteY3" fmla="*/ 1254414 h 1348778"/>
                <a:gd name="connsiteX4" fmla="*/ 1092852 w 1160184"/>
                <a:gd name="connsiteY4" fmla="*/ 825206 h 1348778"/>
                <a:gd name="connsiteX5" fmla="*/ 1158167 w 1160184"/>
                <a:gd name="connsiteY5" fmla="*/ 293361 h 1348778"/>
                <a:gd name="connsiteX6" fmla="*/ 1055530 w 1160184"/>
                <a:gd name="connsiteY6" fmla="*/ 4112 h 1348778"/>
                <a:gd name="connsiteX7" fmla="*/ 1055530 w 1160184"/>
                <a:gd name="connsiteY7" fmla="*/ 498635 h 1348778"/>
                <a:gd name="connsiteX8" fmla="*/ 896909 w 1160184"/>
                <a:gd name="connsiteY8" fmla="*/ 937174 h 1348778"/>
                <a:gd name="connsiteX9" fmla="*/ 700967 w 1160184"/>
                <a:gd name="connsiteY9" fmla="*/ 1170439 h 1348778"/>
                <a:gd name="connsiteX10" fmla="*/ 579669 w 1160184"/>
                <a:gd name="connsiteY10" fmla="*/ 1198431 h 1348778"/>
                <a:gd name="connsiteX11" fmla="*/ 570338 w 1160184"/>
                <a:gd name="connsiteY11" fmla="*/ 1030480 h 1348778"/>
                <a:gd name="connsiteX12" fmla="*/ 672975 w 1160184"/>
                <a:gd name="connsiteY12" fmla="*/ 797214 h 1348778"/>
                <a:gd name="connsiteX13" fmla="*/ 644983 w 1160184"/>
                <a:gd name="connsiteY13" fmla="*/ 582610 h 1348778"/>
                <a:gd name="connsiteX14" fmla="*/ 533016 w 1160184"/>
                <a:gd name="connsiteY14" fmla="*/ 172063 h 1348778"/>
                <a:gd name="connsiteX15" fmla="*/ 383726 w 1160184"/>
                <a:gd name="connsiteY15" fmla="*/ 545288 h 1348778"/>
                <a:gd name="connsiteX16" fmla="*/ 374395 w 1160184"/>
                <a:gd name="connsiteY16" fmla="*/ 881190 h 1348778"/>
                <a:gd name="connsiteX17" fmla="*/ 467701 w 1160184"/>
                <a:gd name="connsiteY17" fmla="*/ 1058472 h 1348778"/>
                <a:gd name="connsiteX18" fmla="*/ 486362 w 1160184"/>
                <a:gd name="connsiteY18" fmla="*/ 1189100 h 1348778"/>
                <a:gd name="connsiteX19" fmla="*/ 187783 w 1160184"/>
                <a:gd name="connsiteY19" fmla="*/ 993157 h 1348778"/>
                <a:gd name="connsiteX0" fmla="*/ 187783 w 1160184"/>
                <a:gd name="connsiteY0" fmla="*/ 821205 h 1176826"/>
                <a:gd name="connsiteX1" fmla="*/ 10501 w 1160184"/>
                <a:gd name="connsiteY1" fmla="*/ 709238 h 1176826"/>
                <a:gd name="connsiteX2" fmla="*/ 495693 w 1160184"/>
                <a:gd name="connsiteY2" fmla="*/ 1147777 h 1176826"/>
                <a:gd name="connsiteX3" fmla="*/ 756950 w 1160184"/>
                <a:gd name="connsiteY3" fmla="*/ 1082462 h 1176826"/>
                <a:gd name="connsiteX4" fmla="*/ 1092852 w 1160184"/>
                <a:gd name="connsiteY4" fmla="*/ 653254 h 1176826"/>
                <a:gd name="connsiteX5" fmla="*/ 1158167 w 1160184"/>
                <a:gd name="connsiteY5" fmla="*/ 121409 h 1176826"/>
                <a:gd name="connsiteX6" fmla="*/ 1055530 w 1160184"/>
                <a:gd name="connsiteY6" fmla="*/ 326683 h 1176826"/>
                <a:gd name="connsiteX7" fmla="*/ 896909 w 1160184"/>
                <a:gd name="connsiteY7" fmla="*/ 765222 h 1176826"/>
                <a:gd name="connsiteX8" fmla="*/ 700967 w 1160184"/>
                <a:gd name="connsiteY8" fmla="*/ 998487 h 1176826"/>
                <a:gd name="connsiteX9" fmla="*/ 579669 w 1160184"/>
                <a:gd name="connsiteY9" fmla="*/ 1026479 h 1176826"/>
                <a:gd name="connsiteX10" fmla="*/ 570338 w 1160184"/>
                <a:gd name="connsiteY10" fmla="*/ 858528 h 1176826"/>
                <a:gd name="connsiteX11" fmla="*/ 672975 w 1160184"/>
                <a:gd name="connsiteY11" fmla="*/ 625262 h 1176826"/>
                <a:gd name="connsiteX12" fmla="*/ 644983 w 1160184"/>
                <a:gd name="connsiteY12" fmla="*/ 410658 h 1176826"/>
                <a:gd name="connsiteX13" fmla="*/ 533016 w 1160184"/>
                <a:gd name="connsiteY13" fmla="*/ 111 h 1176826"/>
                <a:gd name="connsiteX14" fmla="*/ 383726 w 1160184"/>
                <a:gd name="connsiteY14" fmla="*/ 373336 h 1176826"/>
                <a:gd name="connsiteX15" fmla="*/ 374395 w 1160184"/>
                <a:gd name="connsiteY15" fmla="*/ 709238 h 1176826"/>
                <a:gd name="connsiteX16" fmla="*/ 467701 w 1160184"/>
                <a:gd name="connsiteY16" fmla="*/ 886520 h 1176826"/>
                <a:gd name="connsiteX17" fmla="*/ 486362 w 1160184"/>
                <a:gd name="connsiteY17" fmla="*/ 1017148 h 1176826"/>
                <a:gd name="connsiteX18" fmla="*/ 187783 w 1160184"/>
                <a:gd name="connsiteY18" fmla="*/ 821205 h 1176826"/>
                <a:gd name="connsiteX0" fmla="*/ 187783 w 1112929"/>
                <a:gd name="connsiteY0" fmla="*/ 821205 h 1176826"/>
                <a:gd name="connsiteX1" fmla="*/ 10501 w 1112929"/>
                <a:gd name="connsiteY1" fmla="*/ 709238 h 1176826"/>
                <a:gd name="connsiteX2" fmla="*/ 495693 w 1112929"/>
                <a:gd name="connsiteY2" fmla="*/ 1147777 h 1176826"/>
                <a:gd name="connsiteX3" fmla="*/ 756950 w 1112929"/>
                <a:gd name="connsiteY3" fmla="*/ 1082462 h 1176826"/>
                <a:gd name="connsiteX4" fmla="*/ 1092852 w 1112929"/>
                <a:gd name="connsiteY4" fmla="*/ 653254 h 1176826"/>
                <a:gd name="connsiteX5" fmla="*/ 1055530 w 1112929"/>
                <a:gd name="connsiteY5" fmla="*/ 326683 h 1176826"/>
                <a:gd name="connsiteX6" fmla="*/ 896909 w 1112929"/>
                <a:gd name="connsiteY6" fmla="*/ 765222 h 1176826"/>
                <a:gd name="connsiteX7" fmla="*/ 700967 w 1112929"/>
                <a:gd name="connsiteY7" fmla="*/ 998487 h 1176826"/>
                <a:gd name="connsiteX8" fmla="*/ 579669 w 1112929"/>
                <a:gd name="connsiteY8" fmla="*/ 1026479 h 1176826"/>
                <a:gd name="connsiteX9" fmla="*/ 570338 w 1112929"/>
                <a:gd name="connsiteY9" fmla="*/ 858528 h 1176826"/>
                <a:gd name="connsiteX10" fmla="*/ 672975 w 1112929"/>
                <a:gd name="connsiteY10" fmla="*/ 625262 h 1176826"/>
                <a:gd name="connsiteX11" fmla="*/ 644983 w 1112929"/>
                <a:gd name="connsiteY11" fmla="*/ 410658 h 1176826"/>
                <a:gd name="connsiteX12" fmla="*/ 533016 w 1112929"/>
                <a:gd name="connsiteY12" fmla="*/ 111 h 1176826"/>
                <a:gd name="connsiteX13" fmla="*/ 383726 w 1112929"/>
                <a:gd name="connsiteY13" fmla="*/ 373336 h 1176826"/>
                <a:gd name="connsiteX14" fmla="*/ 374395 w 1112929"/>
                <a:gd name="connsiteY14" fmla="*/ 709238 h 1176826"/>
                <a:gd name="connsiteX15" fmla="*/ 467701 w 1112929"/>
                <a:gd name="connsiteY15" fmla="*/ 886520 h 1176826"/>
                <a:gd name="connsiteX16" fmla="*/ 486362 w 1112929"/>
                <a:gd name="connsiteY16" fmla="*/ 1017148 h 1176826"/>
                <a:gd name="connsiteX17" fmla="*/ 187783 w 1112929"/>
                <a:gd name="connsiteY17" fmla="*/ 821205 h 1176826"/>
                <a:gd name="connsiteX0" fmla="*/ 187783 w 1095236"/>
                <a:gd name="connsiteY0" fmla="*/ 821205 h 1176826"/>
                <a:gd name="connsiteX1" fmla="*/ 10501 w 1095236"/>
                <a:gd name="connsiteY1" fmla="*/ 709238 h 1176826"/>
                <a:gd name="connsiteX2" fmla="*/ 495693 w 1095236"/>
                <a:gd name="connsiteY2" fmla="*/ 1147777 h 1176826"/>
                <a:gd name="connsiteX3" fmla="*/ 756950 w 1095236"/>
                <a:gd name="connsiteY3" fmla="*/ 1082462 h 1176826"/>
                <a:gd name="connsiteX4" fmla="*/ 1092852 w 1095236"/>
                <a:gd name="connsiteY4" fmla="*/ 653254 h 1176826"/>
                <a:gd name="connsiteX5" fmla="*/ 896909 w 1095236"/>
                <a:gd name="connsiteY5" fmla="*/ 765222 h 1176826"/>
                <a:gd name="connsiteX6" fmla="*/ 700967 w 1095236"/>
                <a:gd name="connsiteY6" fmla="*/ 998487 h 1176826"/>
                <a:gd name="connsiteX7" fmla="*/ 579669 w 1095236"/>
                <a:gd name="connsiteY7" fmla="*/ 1026479 h 1176826"/>
                <a:gd name="connsiteX8" fmla="*/ 570338 w 1095236"/>
                <a:gd name="connsiteY8" fmla="*/ 858528 h 1176826"/>
                <a:gd name="connsiteX9" fmla="*/ 672975 w 1095236"/>
                <a:gd name="connsiteY9" fmla="*/ 625262 h 1176826"/>
                <a:gd name="connsiteX10" fmla="*/ 644983 w 1095236"/>
                <a:gd name="connsiteY10" fmla="*/ 410658 h 1176826"/>
                <a:gd name="connsiteX11" fmla="*/ 533016 w 1095236"/>
                <a:gd name="connsiteY11" fmla="*/ 111 h 1176826"/>
                <a:gd name="connsiteX12" fmla="*/ 383726 w 1095236"/>
                <a:gd name="connsiteY12" fmla="*/ 373336 h 1176826"/>
                <a:gd name="connsiteX13" fmla="*/ 374395 w 1095236"/>
                <a:gd name="connsiteY13" fmla="*/ 709238 h 1176826"/>
                <a:gd name="connsiteX14" fmla="*/ 467701 w 1095236"/>
                <a:gd name="connsiteY14" fmla="*/ 886520 h 1176826"/>
                <a:gd name="connsiteX15" fmla="*/ 486362 w 1095236"/>
                <a:gd name="connsiteY15" fmla="*/ 1017148 h 1176826"/>
                <a:gd name="connsiteX16" fmla="*/ 187783 w 1095236"/>
                <a:gd name="connsiteY16" fmla="*/ 821205 h 1176826"/>
                <a:gd name="connsiteX0" fmla="*/ 187783 w 897635"/>
                <a:gd name="connsiteY0" fmla="*/ 821205 h 1173185"/>
                <a:gd name="connsiteX1" fmla="*/ 10501 w 897635"/>
                <a:gd name="connsiteY1" fmla="*/ 709238 h 1173185"/>
                <a:gd name="connsiteX2" fmla="*/ 495693 w 897635"/>
                <a:gd name="connsiteY2" fmla="*/ 1147777 h 1173185"/>
                <a:gd name="connsiteX3" fmla="*/ 756950 w 897635"/>
                <a:gd name="connsiteY3" fmla="*/ 1082462 h 1173185"/>
                <a:gd name="connsiteX4" fmla="*/ 896909 w 897635"/>
                <a:gd name="connsiteY4" fmla="*/ 765222 h 1173185"/>
                <a:gd name="connsiteX5" fmla="*/ 700967 w 897635"/>
                <a:gd name="connsiteY5" fmla="*/ 998487 h 1173185"/>
                <a:gd name="connsiteX6" fmla="*/ 579669 w 897635"/>
                <a:gd name="connsiteY6" fmla="*/ 1026479 h 1173185"/>
                <a:gd name="connsiteX7" fmla="*/ 570338 w 897635"/>
                <a:gd name="connsiteY7" fmla="*/ 858528 h 1173185"/>
                <a:gd name="connsiteX8" fmla="*/ 672975 w 897635"/>
                <a:gd name="connsiteY8" fmla="*/ 625262 h 1173185"/>
                <a:gd name="connsiteX9" fmla="*/ 644983 w 897635"/>
                <a:gd name="connsiteY9" fmla="*/ 410658 h 1173185"/>
                <a:gd name="connsiteX10" fmla="*/ 533016 w 897635"/>
                <a:gd name="connsiteY10" fmla="*/ 111 h 1173185"/>
                <a:gd name="connsiteX11" fmla="*/ 383726 w 897635"/>
                <a:gd name="connsiteY11" fmla="*/ 373336 h 1173185"/>
                <a:gd name="connsiteX12" fmla="*/ 374395 w 897635"/>
                <a:gd name="connsiteY12" fmla="*/ 709238 h 1173185"/>
                <a:gd name="connsiteX13" fmla="*/ 467701 w 897635"/>
                <a:gd name="connsiteY13" fmla="*/ 886520 h 1173185"/>
                <a:gd name="connsiteX14" fmla="*/ 486362 w 897635"/>
                <a:gd name="connsiteY14" fmla="*/ 1017148 h 1173185"/>
                <a:gd name="connsiteX15" fmla="*/ 187783 w 897635"/>
                <a:gd name="connsiteY15" fmla="*/ 821205 h 1173185"/>
                <a:gd name="connsiteX0" fmla="*/ 187783 w 767120"/>
                <a:gd name="connsiteY0" fmla="*/ 821205 h 1167492"/>
                <a:gd name="connsiteX1" fmla="*/ 10501 w 767120"/>
                <a:gd name="connsiteY1" fmla="*/ 709238 h 1167492"/>
                <a:gd name="connsiteX2" fmla="*/ 495693 w 767120"/>
                <a:gd name="connsiteY2" fmla="*/ 1147777 h 1167492"/>
                <a:gd name="connsiteX3" fmla="*/ 756950 w 767120"/>
                <a:gd name="connsiteY3" fmla="*/ 1082462 h 1167492"/>
                <a:gd name="connsiteX4" fmla="*/ 700967 w 767120"/>
                <a:gd name="connsiteY4" fmla="*/ 998487 h 1167492"/>
                <a:gd name="connsiteX5" fmla="*/ 579669 w 767120"/>
                <a:gd name="connsiteY5" fmla="*/ 1026479 h 1167492"/>
                <a:gd name="connsiteX6" fmla="*/ 570338 w 767120"/>
                <a:gd name="connsiteY6" fmla="*/ 858528 h 1167492"/>
                <a:gd name="connsiteX7" fmla="*/ 672975 w 767120"/>
                <a:gd name="connsiteY7" fmla="*/ 625262 h 1167492"/>
                <a:gd name="connsiteX8" fmla="*/ 644983 w 767120"/>
                <a:gd name="connsiteY8" fmla="*/ 410658 h 1167492"/>
                <a:gd name="connsiteX9" fmla="*/ 533016 w 767120"/>
                <a:gd name="connsiteY9" fmla="*/ 111 h 1167492"/>
                <a:gd name="connsiteX10" fmla="*/ 383726 w 767120"/>
                <a:gd name="connsiteY10" fmla="*/ 373336 h 1167492"/>
                <a:gd name="connsiteX11" fmla="*/ 374395 w 767120"/>
                <a:gd name="connsiteY11" fmla="*/ 709238 h 1167492"/>
                <a:gd name="connsiteX12" fmla="*/ 467701 w 767120"/>
                <a:gd name="connsiteY12" fmla="*/ 886520 h 1167492"/>
                <a:gd name="connsiteX13" fmla="*/ 486362 w 767120"/>
                <a:gd name="connsiteY13" fmla="*/ 1017148 h 1167492"/>
                <a:gd name="connsiteX14" fmla="*/ 187783 w 767120"/>
                <a:gd name="connsiteY14" fmla="*/ 821205 h 1167492"/>
                <a:gd name="connsiteX0" fmla="*/ 475867 w 756625"/>
                <a:gd name="connsiteY0" fmla="*/ 1017148 h 1167492"/>
                <a:gd name="connsiteX1" fmla="*/ 6 w 756625"/>
                <a:gd name="connsiteY1" fmla="*/ 709238 h 1167492"/>
                <a:gd name="connsiteX2" fmla="*/ 485198 w 756625"/>
                <a:gd name="connsiteY2" fmla="*/ 1147777 h 1167492"/>
                <a:gd name="connsiteX3" fmla="*/ 746455 w 756625"/>
                <a:gd name="connsiteY3" fmla="*/ 1082462 h 1167492"/>
                <a:gd name="connsiteX4" fmla="*/ 690472 w 756625"/>
                <a:gd name="connsiteY4" fmla="*/ 998487 h 1167492"/>
                <a:gd name="connsiteX5" fmla="*/ 569174 w 756625"/>
                <a:gd name="connsiteY5" fmla="*/ 1026479 h 1167492"/>
                <a:gd name="connsiteX6" fmla="*/ 559843 w 756625"/>
                <a:gd name="connsiteY6" fmla="*/ 858528 h 1167492"/>
                <a:gd name="connsiteX7" fmla="*/ 662480 w 756625"/>
                <a:gd name="connsiteY7" fmla="*/ 625262 h 1167492"/>
                <a:gd name="connsiteX8" fmla="*/ 634488 w 756625"/>
                <a:gd name="connsiteY8" fmla="*/ 410658 h 1167492"/>
                <a:gd name="connsiteX9" fmla="*/ 522521 w 756625"/>
                <a:gd name="connsiteY9" fmla="*/ 111 h 1167492"/>
                <a:gd name="connsiteX10" fmla="*/ 373231 w 756625"/>
                <a:gd name="connsiteY10" fmla="*/ 373336 h 1167492"/>
                <a:gd name="connsiteX11" fmla="*/ 363900 w 756625"/>
                <a:gd name="connsiteY11" fmla="*/ 709238 h 1167492"/>
                <a:gd name="connsiteX12" fmla="*/ 457206 w 756625"/>
                <a:gd name="connsiteY12" fmla="*/ 886520 h 1167492"/>
                <a:gd name="connsiteX13" fmla="*/ 475867 w 756625"/>
                <a:gd name="connsiteY13" fmla="*/ 1017148 h 1167492"/>
                <a:gd name="connsiteX0" fmla="*/ 122556 w 403314"/>
                <a:gd name="connsiteY0" fmla="*/ 1017148 h 1149270"/>
                <a:gd name="connsiteX1" fmla="*/ 131887 w 403314"/>
                <a:gd name="connsiteY1" fmla="*/ 1147777 h 1149270"/>
                <a:gd name="connsiteX2" fmla="*/ 393144 w 403314"/>
                <a:gd name="connsiteY2" fmla="*/ 1082462 h 1149270"/>
                <a:gd name="connsiteX3" fmla="*/ 337161 w 403314"/>
                <a:gd name="connsiteY3" fmla="*/ 998487 h 1149270"/>
                <a:gd name="connsiteX4" fmla="*/ 215863 w 403314"/>
                <a:gd name="connsiteY4" fmla="*/ 1026479 h 1149270"/>
                <a:gd name="connsiteX5" fmla="*/ 206532 w 403314"/>
                <a:gd name="connsiteY5" fmla="*/ 858528 h 1149270"/>
                <a:gd name="connsiteX6" fmla="*/ 309169 w 403314"/>
                <a:gd name="connsiteY6" fmla="*/ 625262 h 1149270"/>
                <a:gd name="connsiteX7" fmla="*/ 281177 w 403314"/>
                <a:gd name="connsiteY7" fmla="*/ 410658 h 1149270"/>
                <a:gd name="connsiteX8" fmla="*/ 169210 w 403314"/>
                <a:gd name="connsiteY8" fmla="*/ 111 h 1149270"/>
                <a:gd name="connsiteX9" fmla="*/ 19920 w 403314"/>
                <a:gd name="connsiteY9" fmla="*/ 373336 h 1149270"/>
                <a:gd name="connsiteX10" fmla="*/ 10589 w 403314"/>
                <a:gd name="connsiteY10" fmla="*/ 709238 h 1149270"/>
                <a:gd name="connsiteX11" fmla="*/ 103895 w 403314"/>
                <a:gd name="connsiteY11" fmla="*/ 886520 h 1149270"/>
                <a:gd name="connsiteX12" fmla="*/ 122556 w 403314"/>
                <a:gd name="connsiteY12" fmla="*/ 1017148 h 1149270"/>
                <a:gd name="connsiteX0" fmla="*/ 122556 w 394007"/>
                <a:gd name="connsiteY0" fmla="*/ 1017148 h 1149166"/>
                <a:gd name="connsiteX1" fmla="*/ 131887 w 394007"/>
                <a:gd name="connsiteY1" fmla="*/ 1147777 h 1149166"/>
                <a:gd name="connsiteX2" fmla="*/ 393144 w 394007"/>
                <a:gd name="connsiteY2" fmla="*/ 1082462 h 1149166"/>
                <a:gd name="connsiteX3" fmla="*/ 215863 w 394007"/>
                <a:gd name="connsiteY3" fmla="*/ 1026479 h 1149166"/>
                <a:gd name="connsiteX4" fmla="*/ 206532 w 394007"/>
                <a:gd name="connsiteY4" fmla="*/ 858528 h 1149166"/>
                <a:gd name="connsiteX5" fmla="*/ 309169 w 394007"/>
                <a:gd name="connsiteY5" fmla="*/ 625262 h 1149166"/>
                <a:gd name="connsiteX6" fmla="*/ 281177 w 394007"/>
                <a:gd name="connsiteY6" fmla="*/ 410658 h 1149166"/>
                <a:gd name="connsiteX7" fmla="*/ 169210 w 394007"/>
                <a:gd name="connsiteY7" fmla="*/ 111 h 1149166"/>
                <a:gd name="connsiteX8" fmla="*/ 19920 w 394007"/>
                <a:gd name="connsiteY8" fmla="*/ 373336 h 1149166"/>
                <a:gd name="connsiteX9" fmla="*/ 10589 w 394007"/>
                <a:gd name="connsiteY9" fmla="*/ 709238 h 1149166"/>
                <a:gd name="connsiteX10" fmla="*/ 103895 w 394007"/>
                <a:gd name="connsiteY10" fmla="*/ 886520 h 1149166"/>
                <a:gd name="connsiteX11" fmla="*/ 122556 w 394007"/>
                <a:gd name="connsiteY11" fmla="*/ 1017148 h 1149166"/>
                <a:gd name="connsiteX0" fmla="*/ 122556 w 313346"/>
                <a:gd name="connsiteY0" fmla="*/ 1017148 h 1147800"/>
                <a:gd name="connsiteX1" fmla="*/ 131887 w 313346"/>
                <a:gd name="connsiteY1" fmla="*/ 1147777 h 1147800"/>
                <a:gd name="connsiteX2" fmla="*/ 215863 w 313346"/>
                <a:gd name="connsiteY2" fmla="*/ 1026479 h 1147800"/>
                <a:gd name="connsiteX3" fmla="*/ 206532 w 313346"/>
                <a:gd name="connsiteY3" fmla="*/ 858528 h 1147800"/>
                <a:gd name="connsiteX4" fmla="*/ 309169 w 313346"/>
                <a:gd name="connsiteY4" fmla="*/ 625262 h 1147800"/>
                <a:gd name="connsiteX5" fmla="*/ 281177 w 313346"/>
                <a:gd name="connsiteY5" fmla="*/ 410658 h 1147800"/>
                <a:gd name="connsiteX6" fmla="*/ 169210 w 313346"/>
                <a:gd name="connsiteY6" fmla="*/ 111 h 1147800"/>
                <a:gd name="connsiteX7" fmla="*/ 19920 w 313346"/>
                <a:gd name="connsiteY7" fmla="*/ 373336 h 1147800"/>
                <a:gd name="connsiteX8" fmla="*/ 10589 w 313346"/>
                <a:gd name="connsiteY8" fmla="*/ 709238 h 1147800"/>
                <a:gd name="connsiteX9" fmla="*/ 103895 w 313346"/>
                <a:gd name="connsiteY9" fmla="*/ 886520 h 1147800"/>
                <a:gd name="connsiteX10" fmla="*/ 122556 w 313346"/>
                <a:gd name="connsiteY10" fmla="*/ 1017148 h 1147800"/>
                <a:gd name="connsiteX0" fmla="*/ 122555 w 313347"/>
                <a:gd name="connsiteY0" fmla="*/ 1017146 h 1041332"/>
                <a:gd name="connsiteX1" fmla="*/ 215862 w 313347"/>
                <a:gd name="connsiteY1" fmla="*/ 1026477 h 1041332"/>
                <a:gd name="connsiteX2" fmla="*/ 206531 w 313347"/>
                <a:gd name="connsiteY2" fmla="*/ 858526 h 1041332"/>
                <a:gd name="connsiteX3" fmla="*/ 309168 w 313347"/>
                <a:gd name="connsiteY3" fmla="*/ 625260 h 1041332"/>
                <a:gd name="connsiteX4" fmla="*/ 281176 w 313347"/>
                <a:gd name="connsiteY4" fmla="*/ 410656 h 1041332"/>
                <a:gd name="connsiteX5" fmla="*/ 169209 w 313347"/>
                <a:gd name="connsiteY5" fmla="*/ 109 h 1041332"/>
                <a:gd name="connsiteX6" fmla="*/ 19919 w 313347"/>
                <a:gd name="connsiteY6" fmla="*/ 373334 h 1041332"/>
                <a:gd name="connsiteX7" fmla="*/ 10588 w 313347"/>
                <a:gd name="connsiteY7" fmla="*/ 709236 h 1041332"/>
                <a:gd name="connsiteX8" fmla="*/ 103894 w 313347"/>
                <a:gd name="connsiteY8" fmla="*/ 886518 h 1041332"/>
                <a:gd name="connsiteX9" fmla="*/ 122555 w 313347"/>
                <a:gd name="connsiteY9" fmla="*/ 1017146 h 1041332"/>
                <a:gd name="connsiteX0" fmla="*/ 122555 w 313347"/>
                <a:gd name="connsiteY0" fmla="*/ 1017146 h 1042574"/>
                <a:gd name="connsiteX1" fmla="*/ 215862 w 313347"/>
                <a:gd name="connsiteY1" fmla="*/ 1026477 h 1042574"/>
                <a:gd name="connsiteX2" fmla="*/ 206531 w 313347"/>
                <a:gd name="connsiteY2" fmla="*/ 858526 h 1042574"/>
                <a:gd name="connsiteX3" fmla="*/ 309168 w 313347"/>
                <a:gd name="connsiteY3" fmla="*/ 625260 h 1042574"/>
                <a:gd name="connsiteX4" fmla="*/ 281176 w 313347"/>
                <a:gd name="connsiteY4" fmla="*/ 410656 h 1042574"/>
                <a:gd name="connsiteX5" fmla="*/ 169209 w 313347"/>
                <a:gd name="connsiteY5" fmla="*/ 109 h 1042574"/>
                <a:gd name="connsiteX6" fmla="*/ 19919 w 313347"/>
                <a:gd name="connsiteY6" fmla="*/ 373334 h 1042574"/>
                <a:gd name="connsiteX7" fmla="*/ 10588 w 313347"/>
                <a:gd name="connsiteY7" fmla="*/ 709236 h 1042574"/>
                <a:gd name="connsiteX8" fmla="*/ 103894 w 313347"/>
                <a:gd name="connsiteY8" fmla="*/ 886518 h 1042574"/>
                <a:gd name="connsiteX9" fmla="*/ 122555 w 313347"/>
                <a:gd name="connsiteY9" fmla="*/ 1017146 h 1042574"/>
                <a:gd name="connsiteX0" fmla="*/ 91699 w 313347"/>
                <a:gd name="connsiteY0" fmla="*/ 1080058 h 1088652"/>
                <a:gd name="connsiteX1" fmla="*/ 215862 w 313347"/>
                <a:gd name="connsiteY1" fmla="*/ 1026477 h 1088652"/>
                <a:gd name="connsiteX2" fmla="*/ 206531 w 313347"/>
                <a:gd name="connsiteY2" fmla="*/ 858526 h 1088652"/>
                <a:gd name="connsiteX3" fmla="*/ 309168 w 313347"/>
                <a:gd name="connsiteY3" fmla="*/ 625260 h 1088652"/>
                <a:gd name="connsiteX4" fmla="*/ 281176 w 313347"/>
                <a:gd name="connsiteY4" fmla="*/ 410656 h 1088652"/>
                <a:gd name="connsiteX5" fmla="*/ 169209 w 313347"/>
                <a:gd name="connsiteY5" fmla="*/ 109 h 1088652"/>
                <a:gd name="connsiteX6" fmla="*/ 19919 w 313347"/>
                <a:gd name="connsiteY6" fmla="*/ 373334 h 1088652"/>
                <a:gd name="connsiteX7" fmla="*/ 10588 w 313347"/>
                <a:gd name="connsiteY7" fmla="*/ 709236 h 1088652"/>
                <a:gd name="connsiteX8" fmla="*/ 103894 w 313347"/>
                <a:gd name="connsiteY8" fmla="*/ 886518 h 1088652"/>
                <a:gd name="connsiteX9" fmla="*/ 91699 w 313347"/>
                <a:gd name="connsiteY9" fmla="*/ 1080058 h 1088652"/>
                <a:gd name="connsiteX0" fmla="*/ 91699 w 313347"/>
                <a:gd name="connsiteY0" fmla="*/ 1080058 h 1123507"/>
                <a:gd name="connsiteX1" fmla="*/ 215862 w 313347"/>
                <a:gd name="connsiteY1" fmla="*/ 1026477 h 1123507"/>
                <a:gd name="connsiteX2" fmla="*/ 206531 w 313347"/>
                <a:gd name="connsiteY2" fmla="*/ 858526 h 1123507"/>
                <a:gd name="connsiteX3" fmla="*/ 309168 w 313347"/>
                <a:gd name="connsiteY3" fmla="*/ 625260 h 1123507"/>
                <a:gd name="connsiteX4" fmla="*/ 281176 w 313347"/>
                <a:gd name="connsiteY4" fmla="*/ 410656 h 1123507"/>
                <a:gd name="connsiteX5" fmla="*/ 169209 w 313347"/>
                <a:gd name="connsiteY5" fmla="*/ 109 h 1123507"/>
                <a:gd name="connsiteX6" fmla="*/ 19919 w 313347"/>
                <a:gd name="connsiteY6" fmla="*/ 373334 h 1123507"/>
                <a:gd name="connsiteX7" fmla="*/ 10588 w 313347"/>
                <a:gd name="connsiteY7" fmla="*/ 709236 h 1123507"/>
                <a:gd name="connsiteX8" fmla="*/ 103894 w 313347"/>
                <a:gd name="connsiteY8" fmla="*/ 886518 h 1123507"/>
                <a:gd name="connsiteX9" fmla="*/ 91699 w 313347"/>
                <a:gd name="connsiteY9" fmla="*/ 1080058 h 1123507"/>
                <a:gd name="connsiteX0" fmla="*/ 106099 w 313347"/>
                <a:gd name="connsiteY0" fmla="*/ 1025537 h 1081018"/>
                <a:gd name="connsiteX1" fmla="*/ 215862 w 313347"/>
                <a:gd name="connsiteY1" fmla="*/ 1026477 h 1081018"/>
                <a:gd name="connsiteX2" fmla="*/ 206531 w 313347"/>
                <a:gd name="connsiteY2" fmla="*/ 858526 h 1081018"/>
                <a:gd name="connsiteX3" fmla="*/ 309168 w 313347"/>
                <a:gd name="connsiteY3" fmla="*/ 625260 h 1081018"/>
                <a:gd name="connsiteX4" fmla="*/ 281176 w 313347"/>
                <a:gd name="connsiteY4" fmla="*/ 410656 h 1081018"/>
                <a:gd name="connsiteX5" fmla="*/ 169209 w 313347"/>
                <a:gd name="connsiteY5" fmla="*/ 109 h 1081018"/>
                <a:gd name="connsiteX6" fmla="*/ 19919 w 313347"/>
                <a:gd name="connsiteY6" fmla="*/ 373334 h 1081018"/>
                <a:gd name="connsiteX7" fmla="*/ 10588 w 313347"/>
                <a:gd name="connsiteY7" fmla="*/ 709236 h 1081018"/>
                <a:gd name="connsiteX8" fmla="*/ 103894 w 313347"/>
                <a:gd name="connsiteY8" fmla="*/ 886518 h 1081018"/>
                <a:gd name="connsiteX9" fmla="*/ 106099 w 313347"/>
                <a:gd name="connsiteY9" fmla="*/ 1025537 h 1081018"/>
                <a:gd name="connsiteX0" fmla="*/ 106099 w 313347"/>
                <a:gd name="connsiteY0" fmla="*/ 1025537 h 1045266"/>
                <a:gd name="connsiteX1" fmla="*/ 207633 w 313347"/>
                <a:gd name="connsiteY1" fmla="*/ 1026476 h 1045266"/>
                <a:gd name="connsiteX2" fmla="*/ 206531 w 313347"/>
                <a:gd name="connsiteY2" fmla="*/ 858526 h 1045266"/>
                <a:gd name="connsiteX3" fmla="*/ 309168 w 313347"/>
                <a:gd name="connsiteY3" fmla="*/ 625260 h 1045266"/>
                <a:gd name="connsiteX4" fmla="*/ 281176 w 313347"/>
                <a:gd name="connsiteY4" fmla="*/ 410656 h 1045266"/>
                <a:gd name="connsiteX5" fmla="*/ 169209 w 313347"/>
                <a:gd name="connsiteY5" fmla="*/ 109 h 1045266"/>
                <a:gd name="connsiteX6" fmla="*/ 19919 w 313347"/>
                <a:gd name="connsiteY6" fmla="*/ 373334 h 1045266"/>
                <a:gd name="connsiteX7" fmla="*/ 10588 w 313347"/>
                <a:gd name="connsiteY7" fmla="*/ 709236 h 1045266"/>
                <a:gd name="connsiteX8" fmla="*/ 103894 w 313347"/>
                <a:gd name="connsiteY8" fmla="*/ 886518 h 1045266"/>
                <a:gd name="connsiteX9" fmla="*/ 106099 w 313347"/>
                <a:gd name="connsiteY9" fmla="*/ 1025537 h 1045266"/>
                <a:gd name="connsiteX0" fmla="*/ 106099 w 309762"/>
                <a:gd name="connsiteY0" fmla="*/ 1025537 h 1045266"/>
                <a:gd name="connsiteX1" fmla="*/ 207633 w 309762"/>
                <a:gd name="connsiteY1" fmla="*/ 1026476 h 1045266"/>
                <a:gd name="connsiteX2" fmla="*/ 206531 w 309762"/>
                <a:gd name="connsiteY2" fmla="*/ 858526 h 1045266"/>
                <a:gd name="connsiteX3" fmla="*/ 305054 w 309762"/>
                <a:gd name="connsiteY3" fmla="*/ 683976 h 1045266"/>
                <a:gd name="connsiteX4" fmla="*/ 281176 w 309762"/>
                <a:gd name="connsiteY4" fmla="*/ 410656 h 1045266"/>
                <a:gd name="connsiteX5" fmla="*/ 169209 w 309762"/>
                <a:gd name="connsiteY5" fmla="*/ 109 h 1045266"/>
                <a:gd name="connsiteX6" fmla="*/ 19919 w 309762"/>
                <a:gd name="connsiteY6" fmla="*/ 373334 h 1045266"/>
                <a:gd name="connsiteX7" fmla="*/ 10588 w 309762"/>
                <a:gd name="connsiteY7" fmla="*/ 709236 h 1045266"/>
                <a:gd name="connsiteX8" fmla="*/ 103894 w 309762"/>
                <a:gd name="connsiteY8" fmla="*/ 886518 h 1045266"/>
                <a:gd name="connsiteX9" fmla="*/ 106099 w 309762"/>
                <a:gd name="connsiteY9" fmla="*/ 1025537 h 1045266"/>
                <a:gd name="connsiteX0" fmla="*/ 106099 w 309762"/>
                <a:gd name="connsiteY0" fmla="*/ 1025537 h 1043896"/>
                <a:gd name="connsiteX1" fmla="*/ 207633 w 309762"/>
                <a:gd name="connsiteY1" fmla="*/ 1026476 h 1043896"/>
                <a:gd name="connsiteX2" fmla="*/ 206531 w 309762"/>
                <a:gd name="connsiteY2" fmla="*/ 879497 h 1043896"/>
                <a:gd name="connsiteX3" fmla="*/ 305054 w 309762"/>
                <a:gd name="connsiteY3" fmla="*/ 683976 h 1043896"/>
                <a:gd name="connsiteX4" fmla="*/ 281176 w 309762"/>
                <a:gd name="connsiteY4" fmla="*/ 410656 h 1043896"/>
                <a:gd name="connsiteX5" fmla="*/ 169209 w 309762"/>
                <a:gd name="connsiteY5" fmla="*/ 109 h 1043896"/>
                <a:gd name="connsiteX6" fmla="*/ 19919 w 309762"/>
                <a:gd name="connsiteY6" fmla="*/ 373334 h 1043896"/>
                <a:gd name="connsiteX7" fmla="*/ 10588 w 309762"/>
                <a:gd name="connsiteY7" fmla="*/ 709236 h 1043896"/>
                <a:gd name="connsiteX8" fmla="*/ 103894 w 309762"/>
                <a:gd name="connsiteY8" fmla="*/ 886518 h 1043896"/>
                <a:gd name="connsiteX9" fmla="*/ 106099 w 309762"/>
                <a:gd name="connsiteY9" fmla="*/ 1025537 h 1043896"/>
                <a:gd name="connsiteX0" fmla="*/ 106099 w 309294"/>
                <a:gd name="connsiteY0" fmla="*/ 1025485 h 1043846"/>
                <a:gd name="connsiteX1" fmla="*/ 207633 w 309294"/>
                <a:gd name="connsiteY1" fmla="*/ 1026424 h 1043846"/>
                <a:gd name="connsiteX2" fmla="*/ 206531 w 309294"/>
                <a:gd name="connsiteY2" fmla="*/ 879445 h 1043846"/>
                <a:gd name="connsiteX3" fmla="*/ 305054 w 309294"/>
                <a:gd name="connsiteY3" fmla="*/ 683924 h 1043846"/>
                <a:gd name="connsiteX4" fmla="*/ 279118 w 309294"/>
                <a:gd name="connsiteY4" fmla="*/ 347692 h 1043846"/>
                <a:gd name="connsiteX5" fmla="*/ 169209 w 309294"/>
                <a:gd name="connsiteY5" fmla="*/ 57 h 1043846"/>
                <a:gd name="connsiteX6" fmla="*/ 19919 w 309294"/>
                <a:gd name="connsiteY6" fmla="*/ 373282 h 1043846"/>
                <a:gd name="connsiteX7" fmla="*/ 10588 w 309294"/>
                <a:gd name="connsiteY7" fmla="*/ 709184 h 1043846"/>
                <a:gd name="connsiteX8" fmla="*/ 103894 w 309294"/>
                <a:gd name="connsiteY8" fmla="*/ 886466 h 1043846"/>
                <a:gd name="connsiteX9" fmla="*/ 106099 w 309294"/>
                <a:gd name="connsiteY9" fmla="*/ 1025485 h 1043846"/>
                <a:gd name="connsiteX0" fmla="*/ 105520 w 308952"/>
                <a:gd name="connsiteY0" fmla="*/ 1029678 h 1048038"/>
                <a:gd name="connsiteX1" fmla="*/ 207054 w 308952"/>
                <a:gd name="connsiteY1" fmla="*/ 1030617 h 1048038"/>
                <a:gd name="connsiteX2" fmla="*/ 205952 w 308952"/>
                <a:gd name="connsiteY2" fmla="*/ 883638 h 1048038"/>
                <a:gd name="connsiteX3" fmla="*/ 304475 w 308952"/>
                <a:gd name="connsiteY3" fmla="*/ 688117 h 1048038"/>
                <a:gd name="connsiteX4" fmla="*/ 278539 w 308952"/>
                <a:gd name="connsiteY4" fmla="*/ 351885 h 1048038"/>
                <a:gd name="connsiteX5" fmla="*/ 158345 w 308952"/>
                <a:gd name="connsiteY5" fmla="*/ 55 h 1048038"/>
                <a:gd name="connsiteX6" fmla="*/ 19340 w 308952"/>
                <a:gd name="connsiteY6" fmla="*/ 377475 h 1048038"/>
                <a:gd name="connsiteX7" fmla="*/ 10009 w 308952"/>
                <a:gd name="connsiteY7" fmla="*/ 713377 h 1048038"/>
                <a:gd name="connsiteX8" fmla="*/ 103315 w 308952"/>
                <a:gd name="connsiteY8" fmla="*/ 890659 h 1048038"/>
                <a:gd name="connsiteX9" fmla="*/ 105520 w 308952"/>
                <a:gd name="connsiteY9" fmla="*/ 1029678 h 1048038"/>
                <a:gd name="connsiteX0" fmla="*/ 105520 w 308952"/>
                <a:gd name="connsiteY0" fmla="*/ 1029678 h 1048038"/>
                <a:gd name="connsiteX1" fmla="*/ 207054 w 308952"/>
                <a:gd name="connsiteY1" fmla="*/ 1030617 h 1048038"/>
                <a:gd name="connsiteX2" fmla="*/ 205952 w 308952"/>
                <a:gd name="connsiteY2" fmla="*/ 883638 h 1048038"/>
                <a:gd name="connsiteX3" fmla="*/ 304475 w 308952"/>
                <a:gd name="connsiteY3" fmla="*/ 688117 h 1048038"/>
                <a:gd name="connsiteX4" fmla="*/ 278539 w 308952"/>
                <a:gd name="connsiteY4" fmla="*/ 351885 h 1048038"/>
                <a:gd name="connsiteX5" fmla="*/ 158345 w 308952"/>
                <a:gd name="connsiteY5" fmla="*/ 55 h 1048038"/>
                <a:gd name="connsiteX6" fmla="*/ 19340 w 308952"/>
                <a:gd name="connsiteY6" fmla="*/ 377475 h 1048038"/>
                <a:gd name="connsiteX7" fmla="*/ 10009 w 308952"/>
                <a:gd name="connsiteY7" fmla="*/ 713377 h 1048038"/>
                <a:gd name="connsiteX8" fmla="*/ 103315 w 308952"/>
                <a:gd name="connsiteY8" fmla="*/ 890659 h 1048038"/>
                <a:gd name="connsiteX9" fmla="*/ 105520 w 308952"/>
                <a:gd name="connsiteY9" fmla="*/ 1029678 h 1048038"/>
                <a:gd name="connsiteX0" fmla="*/ 108959 w 308952"/>
                <a:gd name="connsiteY0" fmla="*/ 964412 h 1032668"/>
                <a:gd name="connsiteX1" fmla="*/ 207054 w 308952"/>
                <a:gd name="connsiteY1" fmla="*/ 1030617 h 1032668"/>
                <a:gd name="connsiteX2" fmla="*/ 205952 w 308952"/>
                <a:gd name="connsiteY2" fmla="*/ 883638 h 1032668"/>
                <a:gd name="connsiteX3" fmla="*/ 304475 w 308952"/>
                <a:gd name="connsiteY3" fmla="*/ 688117 h 1032668"/>
                <a:gd name="connsiteX4" fmla="*/ 278539 w 308952"/>
                <a:gd name="connsiteY4" fmla="*/ 351885 h 1032668"/>
                <a:gd name="connsiteX5" fmla="*/ 158345 w 308952"/>
                <a:gd name="connsiteY5" fmla="*/ 55 h 1032668"/>
                <a:gd name="connsiteX6" fmla="*/ 19340 w 308952"/>
                <a:gd name="connsiteY6" fmla="*/ 377475 h 1032668"/>
                <a:gd name="connsiteX7" fmla="*/ 10009 w 308952"/>
                <a:gd name="connsiteY7" fmla="*/ 713377 h 1032668"/>
                <a:gd name="connsiteX8" fmla="*/ 103315 w 308952"/>
                <a:gd name="connsiteY8" fmla="*/ 890659 h 1032668"/>
                <a:gd name="connsiteX9" fmla="*/ 108959 w 308952"/>
                <a:gd name="connsiteY9" fmla="*/ 964412 h 1032668"/>
                <a:gd name="connsiteX0" fmla="*/ 108959 w 308952"/>
                <a:gd name="connsiteY0" fmla="*/ 964412 h 970745"/>
                <a:gd name="connsiteX1" fmla="*/ 205334 w 308952"/>
                <a:gd name="connsiteY1" fmla="*/ 957672 h 970745"/>
                <a:gd name="connsiteX2" fmla="*/ 205952 w 308952"/>
                <a:gd name="connsiteY2" fmla="*/ 883638 h 970745"/>
                <a:gd name="connsiteX3" fmla="*/ 304475 w 308952"/>
                <a:gd name="connsiteY3" fmla="*/ 688117 h 970745"/>
                <a:gd name="connsiteX4" fmla="*/ 278539 w 308952"/>
                <a:gd name="connsiteY4" fmla="*/ 351885 h 970745"/>
                <a:gd name="connsiteX5" fmla="*/ 158345 w 308952"/>
                <a:gd name="connsiteY5" fmla="*/ 55 h 970745"/>
                <a:gd name="connsiteX6" fmla="*/ 19340 w 308952"/>
                <a:gd name="connsiteY6" fmla="*/ 377475 h 970745"/>
                <a:gd name="connsiteX7" fmla="*/ 10009 w 308952"/>
                <a:gd name="connsiteY7" fmla="*/ 713377 h 970745"/>
                <a:gd name="connsiteX8" fmla="*/ 103315 w 308952"/>
                <a:gd name="connsiteY8" fmla="*/ 890659 h 970745"/>
                <a:gd name="connsiteX9" fmla="*/ 108959 w 308952"/>
                <a:gd name="connsiteY9" fmla="*/ 964412 h 970745"/>
                <a:gd name="connsiteX0" fmla="*/ 117555 w 308952"/>
                <a:gd name="connsiteY0" fmla="*/ 956733 h 965991"/>
                <a:gd name="connsiteX1" fmla="*/ 205334 w 308952"/>
                <a:gd name="connsiteY1" fmla="*/ 957672 h 965991"/>
                <a:gd name="connsiteX2" fmla="*/ 205952 w 308952"/>
                <a:gd name="connsiteY2" fmla="*/ 883638 h 965991"/>
                <a:gd name="connsiteX3" fmla="*/ 304475 w 308952"/>
                <a:gd name="connsiteY3" fmla="*/ 688117 h 965991"/>
                <a:gd name="connsiteX4" fmla="*/ 278539 w 308952"/>
                <a:gd name="connsiteY4" fmla="*/ 351885 h 965991"/>
                <a:gd name="connsiteX5" fmla="*/ 158345 w 308952"/>
                <a:gd name="connsiteY5" fmla="*/ 55 h 965991"/>
                <a:gd name="connsiteX6" fmla="*/ 19340 w 308952"/>
                <a:gd name="connsiteY6" fmla="*/ 377475 h 965991"/>
                <a:gd name="connsiteX7" fmla="*/ 10009 w 308952"/>
                <a:gd name="connsiteY7" fmla="*/ 713377 h 965991"/>
                <a:gd name="connsiteX8" fmla="*/ 103315 w 308952"/>
                <a:gd name="connsiteY8" fmla="*/ 890659 h 965991"/>
                <a:gd name="connsiteX9" fmla="*/ 117555 w 308952"/>
                <a:gd name="connsiteY9" fmla="*/ 956733 h 965991"/>
                <a:gd name="connsiteX0" fmla="*/ 117555 w 308952"/>
                <a:gd name="connsiteY0" fmla="*/ 956733 h 965993"/>
                <a:gd name="connsiteX1" fmla="*/ 191580 w 308952"/>
                <a:gd name="connsiteY1" fmla="*/ 957672 h 965993"/>
                <a:gd name="connsiteX2" fmla="*/ 205952 w 308952"/>
                <a:gd name="connsiteY2" fmla="*/ 883638 h 965993"/>
                <a:gd name="connsiteX3" fmla="*/ 304475 w 308952"/>
                <a:gd name="connsiteY3" fmla="*/ 688117 h 965993"/>
                <a:gd name="connsiteX4" fmla="*/ 278539 w 308952"/>
                <a:gd name="connsiteY4" fmla="*/ 351885 h 965993"/>
                <a:gd name="connsiteX5" fmla="*/ 158345 w 308952"/>
                <a:gd name="connsiteY5" fmla="*/ 55 h 965993"/>
                <a:gd name="connsiteX6" fmla="*/ 19340 w 308952"/>
                <a:gd name="connsiteY6" fmla="*/ 377475 h 965993"/>
                <a:gd name="connsiteX7" fmla="*/ 10009 w 308952"/>
                <a:gd name="connsiteY7" fmla="*/ 713377 h 965993"/>
                <a:gd name="connsiteX8" fmla="*/ 103315 w 308952"/>
                <a:gd name="connsiteY8" fmla="*/ 890659 h 965993"/>
                <a:gd name="connsiteX9" fmla="*/ 117555 w 308952"/>
                <a:gd name="connsiteY9" fmla="*/ 956733 h 965993"/>
                <a:gd name="connsiteX0" fmla="*/ 119274 w 308952"/>
                <a:gd name="connsiteY0" fmla="*/ 960573 h 968186"/>
                <a:gd name="connsiteX1" fmla="*/ 191580 w 308952"/>
                <a:gd name="connsiteY1" fmla="*/ 957672 h 968186"/>
                <a:gd name="connsiteX2" fmla="*/ 205952 w 308952"/>
                <a:gd name="connsiteY2" fmla="*/ 883638 h 968186"/>
                <a:gd name="connsiteX3" fmla="*/ 304475 w 308952"/>
                <a:gd name="connsiteY3" fmla="*/ 688117 h 968186"/>
                <a:gd name="connsiteX4" fmla="*/ 278539 w 308952"/>
                <a:gd name="connsiteY4" fmla="*/ 351885 h 968186"/>
                <a:gd name="connsiteX5" fmla="*/ 158345 w 308952"/>
                <a:gd name="connsiteY5" fmla="*/ 55 h 968186"/>
                <a:gd name="connsiteX6" fmla="*/ 19340 w 308952"/>
                <a:gd name="connsiteY6" fmla="*/ 377475 h 968186"/>
                <a:gd name="connsiteX7" fmla="*/ 10009 w 308952"/>
                <a:gd name="connsiteY7" fmla="*/ 713377 h 968186"/>
                <a:gd name="connsiteX8" fmla="*/ 103315 w 308952"/>
                <a:gd name="connsiteY8" fmla="*/ 890659 h 968186"/>
                <a:gd name="connsiteX9" fmla="*/ 119274 w 308952"/>
                <a:gd name="connsiteY9" fmla="*/ 960573 h 96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8952" h="968186">
                  <a:moveTo>
                    <a:pt x="119274" y="960573"/>
                  </a:moveTo>
                  <a:cubicBezTo>
                    <a:pt x="133985" y="971742"/>
                    <a:pt x="177134" y="970495"/>
                    <a:pt x="191580" y="957672"/>
                  </a:cubicBezTo>
                  <a:cubicBezTo>
                    <a:pt x="206026" y="944849"/>
                    <a:pt x="187136" y="928564"/>
                    <a:pt x="205952" y="883638"/>
                  </a:cubicBezTo>
                  <a:cubicBezTo>
                    <a:pt x="224768" y="838712"/>
                    <a:pt x="292377" y="776743"/>
                    <a:pt x="304475" y="688117"/>
                  </a:cubicBezTo>
                  <a:cubicBezTo>
                    <a:pt x="316573" y="599492"/>
                    <a:pt x="302894" y="466562"/>
                    <a:pt x="278539" y="351885"/>
                  </a:cubicBezTo>
                  <a:cubicBezTo>
                    <a:pt x="254184" y="237208"/>
                    <a:pt x="201545" y="-4210"/>
                    <a:pt x="158345" y="55"/>
                  </a:cubicBezTo>
                  <a:cubicBezTo>
                    <a:pt x="115145" y="4320"/>
                    <a:pt x="44063" y="258588"/>
                    <a:pt x="19340" y="377475"/>
                  </a:cubicBezTo>
                  <a:cubicBezTo>
                    <a:pt x="-5383" y="496362"/>
                    <a:pt x="-3987" y="627846"/>
                    <a:pt x="10009" y="713377"/>
                  </a:cubicBezTo>
                  <a:cubicBezTo>
                    <a:pt x="24005" y="798908"/>
                    <a:pt x="85104" y="849460"/>
                    <a:pt x="103315" y="890659"/>
                  </a:cubicBezTo>
                  <a:cubicBezTo>
                    <a:pt x="121526" y="931858"/>
                    <a:pt x="104563" y="949404"/>
                    <a:pt x="119274" y="960573"/>
                  </a:cubicBezTo>
                  <a:close/>
                </a:path>
              </a:pathLst>
            </a:custGeom>
            <a:solidFill>
              <a:schemeClr val="accent1">
                <a:lumMod val="50000"/>
              </a:schemeClr>
            </a:solidFill>
            <a:ln w="9525" cap="flat" cmpd="sng" algn="ctr">
              <a:solidFill>
                <a:srgbClr val="4F81BD"/>
              </a:solidFill>
              <a:prstDash val="sysDash"/>
              <a:round/>
              <a:headEnd type="none" w="med" len="med"/>
              <a:tailEnd type="none" w="med" len="med"/>
            </a:ln>
            <a:effectLst>
              <a:softEdge rad="25400"/>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Arial" charset="0"/>
                <a:ea typeface="ヒラギノ角ゴ Pro W3" pitchFamily="48" charset="-128"/>
                <a:cs typeface="Arial" charset="0"/>
              </a:endParaRPr>
            </a:p>
          </p:txBody>
        </p:sp>
        <p:sp>
          <p:nvSpPr>
            <p:cNvPr id="62" name="TextBox 61"/>
            <p:cNvSpPr txBox="1"/>
            <p:nvPr/>
          </p:nvSpPr>
          <p:spPr>
            <a:xfrm>
              <a:off x="7315200" y="722896"/>
              <a:ext cx="581159" cy="242343"/>
            </a:xfrm>
            <a:prstGeom prst="rect">
              <a:avLst/>
            </a:prstGeom>
            <a:noFill/>
          </p:spPr>
          <p:txBody>
            <a:bodyPr wrap="none" rtlCol="0">
              <a:spAutoFit/>
            </a:bodyPr>
            <a:lstStyle/>
            <a:p>
              <a:r>
                <a:rPr lang="fr-FR" sz="1200" b="1" dirty="0" err="1">
                  <a:solidFill>
                    <a:schemeClr val="bg1"/>
                  </a:solidFill>
                </a:rPr>
                <a:t>Noggin</a:t>
              </a:r>
              <a:endParaRPr lang="en-US" sz="1200" b="1" dirty="0">
                <a:solidFill>
                  <a:schemeClr val="bg1"/>
                </a:solidFill>
              </a:endParaRPr>
            </a:p>
          </p:txBody>
        </p:sp>
        <p:sp>
          <p:nvSpPr>
            <p:cNvPr id="63" name="Rectangle 62"/>
            <p:cNvSpPr/>
            <p:nvPr/>
          </p:nvSpPr>
          <p:spPr>
            <a:xfrm>
              <a:off x="7355117" y="467383"/>
              <a:ext cx="585819" cy="296197"/>
            </a:xfrm>
            <a:prstGeom prst="rect">
              <a:avLst/>
            </a:prstGeom>
            <a:noFill/>
          </p:spPr>
          <p:txBody>
            <a:bodyPr wrap="none" lIns="91440" tIns="45720" rIns="91440" bIns="45720">
              <a:spAutoFit/>
            </a:bodyPr>
            <a:lstStyle/>
            <a:p>
              <a:pPr algn="ctr"/>
              <a:r>
                <a:rPr lang="en-US" sz="1600" b="1" dirty="0">
                  <a:ln w="0"/>
                  <a:solidFill>
                    <a:schemeClr val="bg1"/>
                  </a:solidFill>
                  <a:effectLst>
                    <a:outerShdw blurRad="38100" dist="25400" dir="5400000" algn="ctr" rotWithShape="0">
                      <a:srgbClr val="6E747A">
                        <a:alpha val="43000"/>
                      </a:srgbClr>
                    </a:outerShdw>
                  </a:effectLst>
                </a:rPr>
                <a:t>+75%</a:t>
              </a:r>
            </a:p>
          </p:txBody>
        </p:sp>
      </p:grpSp>
      <p:cxnSp>
        <p:nvCxnSpPr>
          <p:cNvPr id="64" name="Straight Arrow Connector 63"/>
          <p:cNvCxnSpPr/>
          <p:nvPr/>
        </p:nvCxnSpPr>
        <p:spPr>
          <a:xfrm flipV="1">
            <a:off x="1679807" y="4323793"/>
            <a:ext cx="496136" cy="305361"/>
          </a:xfrm>
          <a:prstGeom prst="straightConnector1">
            <a:avLst/>
          </a:prstGeom>
          <a:ln w="28575">
            <a:solidFill>
              <a:schemeClr val="bg1"/>
            </a:solidFill>
            <a:prstDash val="solid"/>
            <a:tailEnd type="triangle"/>
          </a:ln>
        </p:spPr>
        <p:style>
          <a:lnRef idx="1">
            <a:schemeClr val="dk1"/>
          </a:lnRef>
          <a:fillRef idx="0">
            <a:schemeClr val="dk1"/>
          </a:fillRef>
          <a:effectRef idx="0">
            <a:schemeClr val="dk1"/>
          </a:effectRef>
          <a:fontRef idx="minor">
            <a:schemeClr val="tx1"/>
          </a:fontRef>
        </p:style>
      </p:cxnSp>
      <p:cxnSp>
        <p:nvCxnSpPr>
          <p:cNvPr id="65" name="Straight Arrow Connector 64"/>
          <p:cNvCxnSpPr/>
          <p:nvPr/>
        </p:nvCxnSpPr>
        <p:spPr>
          <a:xfrm flipV="1">
            <a:off x="1792513" y="4768895"/>
            <a:ext cx="383430" cy="101290"/>
          </a:xfrm>
          <a:prstGeom prst="straightConnector1">
            <a:avLst/>
          </a:prstGeom>
          <a:ln w="28575">
            <a:solidFill>
              <a:schemeClr val="bg1"/>
            </a:solidFill>
            <a:prstDash val="solid"/>
            <a:tailEnd type="triangle"/>
          </a:ln>
        </p:spPr>
        <p:style>
          <a:lnRef idx="1">
            <a:schemeClr val="dk1"/>
          </a:lnRef>
          <a:fillRef idx="0">
            <a:schemeClr val="dk1"/>
          </a:fillRef>
          <a:effectRef idx="0">
            <a:schemeClr val="dk1"/>
          </a:effectRef>
          <a:fontRef idx="minor">
            <a:schemeClr val="tx1"/>
          </a:fontRef>
        </p:style>
      </p:cxnSp>
      <p:cxnSp>
        <p:nvCxnSpPr>
          <p:cNvPr id="66" name="Straight Arrow Connector 65"/>
          <p:cNvCxnSpPr/>
          <p:nvPr/>
        </p:nvCxnSpPr>
        <p:spPr>
          <a:xfrm rot="386084">
            <a:off x="1851156" y="5080362"/>
            <a:ext cx="242321" cy="60718"/>
          </a:xfrm>
          <a:prstGeom prst="straightConnector1">
            <a:avLst/>
          </a:prstGeom>
          <a:ln w="28575">
            <a:solidFill>
              <a:schemeClr val="bg1"/>
            </a:solidFill>
            <a:prstDash val="solid"/>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17106952"/>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p:cNvSpPr/>
          <p:nvPr/>
        </p:nvSpPr>
        <p:spPr>
          <a:xfrm>
            <a:off x="3276600" y="2057400"/>
            <a:ext cx="5897880" cy="3657600"/>
          </a:xfrm>
          <a:prstGeom prst="rect">
            <a:avLst/>
          </a:prstGeom>
          <a:solidFill>
            <a:schemeClr val="accent1">
              <a:alpha val="10000"/>
            </a:schemeClr>
          </a:solidFill>
          <a:ln>
            <a:solidFill>
              <a:srgbClr val="80A1B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5">
                  <a:lumMod val="50000"/>
                </a:schemeClr>
              </a:solidFill>
              <a:latin typeface="Century Gothic" panose="020B0502020202020204" pitchFamily="34" charset="0"/>
            </a:endParaRPr>
          </a:p>
        </p:txBody>
      </p:sp>
      <p:pic>
        <p:nvPicPr>
          <p:cNvPr id="62" name="Picture 61" descr="Dessin cheveu.jpg"/>
          <p:cNvPicPr preferRelativeResize="0">
            <a:picLocks/>
          </p:cNvPicPr>
          <p:nvPr/>
        </p:nvPicPr>
        <p:blipFill>
          <a:blip r:embed="rId3" cstate="print">
            <a:grayscl/>
            <a:extLst>
              <a:ext uri="{28A0092B-C50C-407E-A947-70E740481C1C}">
                <a14:useLocalDpi xmlns:a14="http://schemas.microsoft.com/office/drawing/2010/main" val="0"/>
              </a:ext>
            </a:extLst>
          </a:blip>
          <a:stretch>
            <a:fillRect/>
          </a:stretch>
        </p:blipFill>
        <p:spPr>
          <a:xfrm>
            <a:off x="1066800" y="1524000"/>
            <a:ext cx="2057402" cy="4343400"/>
          </a:xfrm>
          <a:prstGeom prst="roundRect">
            <a:avLst>
              <a:gd name="adj" fmla="val 0"/>
            </a:avLst>
          </a:prstGeom>
          <a:ln w="38100">
            <a:solidFill>
              <a:srgbClr val="80A1B6"/>
            </a:solidFill>
          </a:ln>
          <a:effectLst/>
          <a:scene3d>
            <a:camera prst="orthographicFront"/>
            <a:lightRig rig="contrasting" dir="t">
              <a:rot lat="0" lon="0" rev="4200000"/>
            </a:lightRig>
          </a:scene3d>
          <a:sp3d prstMaterial="plastic">
            <a:contourClr>
              <a:srgbClr val="969696"/>
            </a:contourClr>
          </a:sp3d>
        </p:spPr>
      </p:pic>
      <p:sp>
        <p:nvSpPr>
          <p:cNvPr id="76" name="Rectangle 75"/>
          <p:cNvSpPr/>
          <p:nvPr/>
        </p:nvSpPr>
        <p:spPr>
          <a:xfrm>
            <a:off x="3291840" y="2209801"/>
            <a:ext cx="5852160" cy="276999"/>
          </a:xfrm>
          <a:prstGeom prst="rect">
            <a:avLst/>
          </a:prstGeom>
          <a:solidFill>
            <a:schemeClr val="accent1"/>
          </a:solidFill>
        </p:spPr>
        <p:txBody>
          <a:bodyPr wrap="square">
            <a:spAutoFit/>
          </a:bodyPr>
          <a:lstStyle/>
          <a:p>
            <a:pPr>
              <a:defRPr/>
            </a:pPr>
            <a:r>
              <a:rPr lang="en-US" sz="1200" b="1" spc="-40" dirty="0">
                <a:solidFill>
                  <a:schemeClr val="bg1"/>
                </a:solidFill>
                <a:latin typeface="Century Gothic" panose="020B0502020202020204" pitchFamily="34" charset="0"/>
                <a:cs typeface="Arial" panose="020B0604020202020204" pitchFamily="34" charset="0"/>
              </a:rPr>
              <a:t>The Hair Melanin System™ </a:t>
            </a:r>
            <a:r>
              <a:rPr lang="ru-RU" sz="1200" b="1" spc="-40" dirty="0">
                <a:solidFill>
                  <a:schemeClr val="bg1"/>
                </a:solidFill>
                <a:latin typeface="Century Gothic" panose="020B0502020202020204" pitchFamily="34" charset="0"/>
                <a:cs typeface="Arial" panose="020B0604020202020204" pitchFamily="34" charset="0"/>
              </a:rPr>
              <a:t>связана со следующими маркерами</a:t>
            </a:r>
            <a:r>
              <a:rPr lang="en-US" sz="1200" b="1" spc="-40" dirty="0">
                <a:solidFill>
                  <a:schemeClr val="bg1"/>
                </a:solidFill>
                <a:latin typeface="Century Gothic" panose="020B0502020202020204" pitchFamily="34" charset="0"/>
                <a:cs typeface="Arial" panose="020B0604020202020204" pitchFamily="34" charset="0"/>
              </a:rPr>
              <a:t>:</a:t>
            </a:r>
          </a:p>
        </p:txBody>
      </p:sp>
      <p:cxnSp>
        <p:nvCxnSpPr>
          <p:cNvPr id="127" name="Straight Arrow Connector 126"/>
          <p:cNvCxnSpPr/>
          <p:nvPr/>
        </p:nvCxnSpPr>
        <p:spPr>
          <a:xfrm flipH="1">
            <a:off x="1981202" y="5105401"/>
            <a:ext cx="380999" cy="233217"/>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grpSp>
        <p:nvGrpSpPr>
          <p:cNvPr id="37896" name="Group 127"/>
          <p:cNvGrpSpPr>
            <a:grpSpLocks/>
          </p:cNvGrpSpPr>
          <p:nvPr/>
        </p:nvGrpSpPr>
        <p:grpSpPr bwMode="auto">
          <a:xfrm rot="1233596">
            <a:off x="2068367" y="4130377"/>
            <a:ext cx="1163637" cy="1141412"/>
            <a:chOff x="4495800" y="2667000"/>
            <a:chExt cx="1080000" cy="1080000"/>
          </a:xfrm>
          <a:solidFill>
            <a:srgbClr val="B0B579"/>
          </a:solidFill>
        </p:grpSpPr>
        <p:pic>
          <p:nvPicPr>
            <p:cNvPr id="129" name="Picture 5" descr="http://www3.delta.edu/mgrobert/images/nervous.gif"/>
            <p:cNvPicPr preferRelativeResize="0">
              <a:picLocks noChangeArrowheads="1"/>
            </p:cNvPicPr>
            <p:nvPr/>
          </p:nvPicPr>
          <p:blipFill>
            <a:blip r:embed="rId4" cstate="print">
              <a:clrChange>
                <a:clrFrom>
                  <a:srgbClr val="FFFFFF"/>
                </a:clrFrom>
                <a:clrTo>
                  <a:srgbClr val="FFFFFF">
                    <a:alpha val="0"/>
                  </a:srgbClr>
                </a:clrTo>
              </a:clrChange>
              <a:grayscl/>
              <a:lum/>
              <a:extLst>
                <a:ext uri="{28A0092B-C50C-407E-A947-70E740481C1C}">
                  <a14:useLocalDpi xmlns:a14="http://schemas.microsoft.com/office/drawing/2010/main" val="0"/>
                </a:ext>
              </a:extLst>
            </a:blip>
            <a:srcRect/>
            <a:stretch>
              <a:fillRect/>
            </a:stretch>
          </p:blipFill>
          <p:spPr bwMode="auto">
            <a:xfrm>
              <a:off x="4495800" y="2667000"/>
              <a:ext cx="1080000" cy="1080000"/>
            </a:xfrm>
            <a:prstGeom prst="ellipse">
              <a:avLst/>
            </a:prstGeom>
            <a:solidFill>
              <a:schemeClr val="bg1"/>
            </a:solidFill>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30" name="Oval 129"/>
            <p:cNvSpPr/>
            <p:nvPr/>
          </p:nvSpPr>
          <p:spPr bwMode="auto">
            <a:xfrm rot="20140045">
              <a:off x="4951713" y="3160318"/>
              <a:ext cx="157514" cy="180000"/>
            </a:xfrm>
            <a:prstGeom prst="ellipse">
              <a:avLst/>
            </a:prstGeom>
            <a:blipFill>
              <a:blip r:embed="rId5" cstate="email">
                <a:grayscl/>
                <a:lum/>
              </a:blip>
              <a:tile tx="0" ty="0" sx="100000" sy="100000" flip="none" algn="tl"/>
            </a:blipFill>
            <a:ln>
              <a:headEnd/>
              <a:tailEnd/>
            </a:ln>
          </p:spPr>
          <p:style>
            <a:lnRef idx="0">
              <a:schemeClr val="accent6"/>
            </a:lnRef>
            <a:fillRef idx="3">
              <a:schemeClr val="accent6"/>
            </a:fillRef>
            <a:effectRef idx="3">
              <a:schemeClr val="accent6"/>
            </a:effectRef>
            <a:fontRef idx="minor">
              <a:schemeClr val="lt1"/>
            </a:fontRef>
          </p:style>
          <p:txBody>
            <a:bodyPr anchor="ctr"/>
            <a:lstStyle/>
            <a:p>
              <a:pPr algn="ctr">
                <a:defRPr/>
              </a:pPr>
              <a:endParaRPr lang="en-US"/>
            </a:p>
          </p:txBody>
        </p:sp>
        <p:sp>
          <p:nvSpPr>
            <p:cNvPr id="131" name="Oval 130"/>
            <p:cNvSpPr/>
            <p:nvPr/>
          </p:nvSpPr>
          <p:spPr bwMode="auto">
            <a:xfrm rot="5688835">
              <a:off x="4598149" y="3042210"/>
              <a:ext cx="43200" cy="54000"/>
            </a:xfrm>
            <a:prstGeom prst="ellipse">
              <a:avLst/>
            </a:prstGeom>
            <a:solidFill>
              <a:schemeClr val="tx1"/>
            </a:solidFill>
            <a:ln>
              <a:headEnd/>
              <a:tailEnd/>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a:p>
          </p:txBody>
        </p:sp>
        <p:sp>
          <p:nvSpPr>
            <p:cNvPr id="37962" name="Freeform 131"/>
            <p:cNvSpPr>
              <a:spLocks/>
            </p:cNvSpPr>
            <p:nvPr/>
          </p:nvSpPr>
          <p:spPr bwMode="auto">
            <a:xfrm>
              <a:off x="4908711" y="3541206"/>
              <a:ext cx="262011" cy="178014"/>
            </a:xfrm>
            <a:custGeom>
              <a:avLst/>
              <a:gdLst>
                <a:gd name="T0" fmla="*/ 579 w 373465"/>
                <a:gd name="T1" fmla="*/ 126 h 289243"/>
                <a:gd name="T2" fmla="*/ 1657 w 373465"/>
                <a:gd name="T3" fmla="*/ 0 h 289243"/>
                <a:gd name="T4" fmla="*/ 3111 w 373465"/>
                <a:gd name="T5" fmla="*/ 240 h 289243"/>
                <a:gd name="T6" fmla="*/ 3282 w 373465"/>
                <a:gd name="T7" fmla="*/ 465 h 289243"/>
                <a:gd name="T8" fmla="*/ 450 w 373465"/>
                <a:gd name="T9" fmla="*/ 470 h 289243"/>
                <a:gd name="T10" fmla="*/ 579 w 373465"/>
                <a:gd name="T11" fmla="*/ 126 h 289243"/>
                <a:gd name="T12" fmla="*/ 0 60000 65536"/>
                <a:gd name="T13" fmla="*/ 0 60000 65536"/>
                <a:gd name="T14" fmla="*/ 0 60000 65536"/>
                <a:gd name="T15" fmla="*/ 0 60000 65536"/>
                <a:gd name="T16" fmla="*/ 0 60000 65536"/>
                <a:gd name="T17" fmla="*/ 0 60000 65536"/>
                <a:gd name="T18" fmla="*/ 0 w 373465"/>
                <a:gd name="T19" fmla="*/ 0 h 289243"/>
                <a:gd name="T20" fmla="*/ 373465 w 373465"/>
                <a:gd name="T21" fmla="*/ 289243 h 289243"/>
              </a:gdLst>
              <a:ahLst/>
              <a:cxnLst>
                <a:cxn ang="T12">
                  <a:pos x="T0" y="T1"/>
                </a:cxn>
                <a:cxn ang="T13">
                  <a:pos x="T2" y="T3"/>
                </a:cxn>
                <a:cxn ang="T14">
                  <a:pos x="T4" y="T5"/>
                </a:cxn>
                <a:cxn ang="T15">
                  <a:pos x="T6" y="T7"/>
                </a:cxn>
                <a:cxn ang="T16">
                  <a:pos x="T8" y="T9"/>
                </a:cxn>
                <a:cxn ang="T17">
                  <a:pos x="T10" y="T11"/>
                </a:cxn>
              </a:cxnLst>
              <a:rect l="T18" t="T19" r="T20" b="T21"/>
              <a:pathLst>
                <a:path w="373465" h="289243">
                  <a:moveTo>
                    <a:pt x="58118" y="69081"/>
                  </a:moveTo>
                  <a:cubicBezTo>
                    <a:pt x="78278" y="26057"/>
                    <a:pt x="66725" y="11281"/>
                    <a:pt x="166106" y="0"/>
                  </a:cubicBezTo>
                  <a:cubicBezTo>
                    <a:pt x="255005" y="4439"/>
                    <a:pt x="284741" y="89337"/>
                    <a:pt x="311891" y="131946"/>
                  </a:cubicBezTo>
                  <a:cubicBezTo>
                    <a:pt x="339041" y="174555"/>
                    <a:pt x="373465" y="234619"/>
                    <a:pt x="329008" y="255652"/>
                  </a:cubicBezTo>
                  <a:cubicBezTo>
                    <a:pt x="284551" y="276685"/>
                    <a:pt x="90296" y="289242"/>
                    <a:pt x="45148" y="258147"/>
                  </a:cubicBezTo>
                  <a:cubicBezTo>
                    <a:pt x="0" y="227052"/>
                    <a:pt x="37958" y="112105"/>
                    <a:pt x="58118" y="69081"/>
                  </a:cubicBezTo>
                  <a:close/>
                </a:path>
              </a:pathLst>
            </a:custGeom>
            <a:solidFill>
              <a:schemeClr val="bg1"/>
            </a:solidFill>
            <a:ln w="9525">
              <a:solidFill>
                <a:schemeClr val="tx1"/>
              </a:solidFill>
              <a:prstDash val="dash"/>
              <a:round/>
              <a:headEnd/>
              <a:tailEnd/>
            </a:ln>
          </p:spPr>
          <p:txBody>
            <a:bodyPr anchor="ctr"/>
            <a:lstStyle/>
            <a:p>
              <a:endParaRPr lang="en-US"/>
            </a:p>
          </p:txBody>
        </p:sp>
        <p:sp>
          <p:nvSpPr>
            <p:cNvPr id="134" name="Oval 133"/>
            <p:cNvSpPr/>
            <p:nvPr/>
          </p:nvSpPr>
          <p:spPr bwMode="auto">
            <a:xfrm rot="20711691">
              <a:off x="4549781" y="3280326"/>
              <a:ext cx="43200" cy="54000"/>
            </a:xfrm>
            <a:prstGeom prst="ellipse">
              <a:avLst/>
            </a:prstGeom>
            <a:solidFill>
              <a:schemeClr val="tx1"/>
            </a:solidFill>
            <a:ln>
              <a:headEnd/>
              <a:tailEnd/>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a:p>
          </p:txBody>
        </p:sp>
        <p:sp>
          <p:nvSpPr>
            <p:cNvPr id="135" name="Oval 134"/>
            <p:cNvSpPr/>
            <p:nvPr/>
          </p:nvSpPr>
          <p:spPr bwMode="auto">
            <a:xfrm rot="20711691">
              <a:off x="4701483" y="3232905"/>
              <a:ext cx="43200" cy="54000"/>
            </a:xfrm>
            <a:prstGeom prst="ellipse">
              <a:avLst/>
            </a:prstGeom>
            <a:solidFill>
              <a:schemeClr val="tx1"/>
            </a:solidFill>
            <a:ln>
              <a:headEnd/>
              <a:tailEnd/>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a:p>
          </p:txBody>
        </p:sp>
        <p:sp>
          <p:nvSpPr>
            <p:cNvPr id="136" name="Oval 135"/>
            <p:cNvSpPr/>
            <p:nvPr/>
          </p:nvSpPr>
          <p:spPr bwMode="auto">
            <a:xfrm rot="20711691">
              <a:off x="4727945" y="2973779"/>
              <a:ext cx="43200" cy="54000"/>
            </a:xfrm>
            <a:prstGeom prst="ellipse">
              <a:avLst/>
            </a:prstGeom>
            <a:solidFill>
              <a:schemeClr val="tx1"/>
            </a:solidFill>
            <a:ln>
              <a:headEnd/>
              <a:tailEnd/>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a:p>
          </p:txBody>
        </p:sp>
        <p:sp>
          <p:nvSpPr>
            <p:cNvPr id="137" name="Oval 136"/>
            <p:cNvSpPr/>
            <p:nvPr/>
          </p:nvSpPr>
          <p:spPr bwMode="auto">
            <a:xfrm rot="20711691">
              <a:off x="5118333" y="2976399"/>
              <a:ext cx="43200" cy="54000"/>
            </a:xfrm>
            <a:prstGeom prst="ellipse">
              <a:avLst/>
            </a:prstGeom>
            <a:solidFill>
              <a:schemeClr val="tx1"/>
            </a:solidFill>
            <a:ln>
              <a:headEnd/>
              <a:tailEnd/>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a:p>
          </p:txBody>
        </p:sp>
        <p:sp>
          <p:nvSpPr>
            <p:cNvPr id="138" name="Oval 137"/>
            <p:cNvSpPr/>
            <p:nvPr/>
          </p:nvSpPr>
          <p:spPr bwMode="auto">
            <a:xfrm rot="20711691">
              <a:off x="5018771" y="2816576"/>
              <a:ext cx="43200" cy="54000"/>
            </a:xfrm>
            <a:prstGeom prst="ellipse">
              <a:avLst/>
            </a:prstGeom>
            <a:solidFill>
              <a:schemeClr val="tx1"/>
            </a:solidFill>
            <a:ln>
              <a:headEnd/>
              <a:tailEnd/>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a:p>
          </p:txBody>
        </p:sp>
        <p:sp>
          <p:nvSpPr>
            <p:cNvPr id="139" name="Oval 138"/>
            <p:cNvSpPr/>
            <p:nvPr/>
          </p:nvSpPr>
          <p:spPr bwMode="auto">
            <a:xfrm rot="20711691">
              <a:off x="4929689" y="2727495"/>
              <a:ext cx="43200" cy="54000"/>
            </a:xfrm>
            <a:prstGeom prst="ellipse">
              <a:avLst/>
            </a:prstGeom>
            <a:solidFill>
              <a:schemeClr val="tx1"/>
            </a:solidFill>
            <a:ln>
              <a:headEnd/>
              <a:tailEnd/>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a:p>
          </p:txBody>
        </p:sp>
        <p:sp>
          <p:nvSpPr>
            <p:cNvPr id="141" name="Oval 140"/>
            <p:cNvSpPr/>
            <p:nvPr/>
          </p:nvSpPr>
          <p:spPr bwMode="auto">
            <a:xfrm rot="20711691">
              <a:off x="5262437" y="3149323"/>
              <a:ext cx="43200" cy="54000"/>
            </a:xfrm>
            <a:prstGeom prst="ellipse">
              <a:avLst/>
            </a:prstGeom>
            <a:solidFill>
              <a:schemeClr val="tx1"/>
            </a:solidFill>
            <a:ln>
              <a:headEnd/>
              <a:tailEnd/>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a:p>
          </p:txBody>
        </p:sp>
        <p:sp>
          <p:nvSpPr>
            <p:cNvPr id="142" name="Oval 141"/>
            <p:cNvSpPr/>
            <p:nvPr/>
          </p:nvSpPr>
          <p:spPr bwMode="auto">
            <a:xfrm rot="22920000">
              <a:off x="5380339" y="3036660"/>
              <a:ext cx="43200" cy="54000"/>
            </a:xfrm>
            <a:prstGeom prst="ellipse">
              <a:avLst/>
            </a:prstGeom>
            <a:solidFill>
              <a:schemeClr val="tx1"/>
            </a:solidFill>
            <a:ln>
              <a:headEnd/>
              <a:tailEnd/>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a:p>
          </p:txBody>
        </p:sp>
        <p:sp>
          <p:nvSpPr>
            <p:cNvPr id="143" name="Oval 142"/>
            <p:cNvSpPr/>
            <p:nvPr/>
          </p:nvSpPr>
          <p:spPr bwMode="auto">
            <a:xfrm rot="22920000">
              <a:off x="5264034" y="2807849"/>
              <a:ext cx="43200" cy="54000"/>
            </a:xfrm>
            <a:prstGeom prst="ellipse">
              <a:avLst/>
            </a:prstGeom>
            <a:solidFill>
              <a:schemeClr val="tx1"/>
            </a:solidFill>
            <a:ln>
              <a:headEnd/>
              <a:tailEnd/>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a:p>
          </p:txBody>
        </p:sp>
        <p:sp>
          <p:nvSpPr>
            <p:cNvPr id="144" name="Oval 143"/>
            <p:cNvSpPr/>
            <p:nvPr/>
          </p:nvSpPr>
          <p:spPr bwMode="auto">
            <a:xfrm rot="22920000">
              <a:off x="5454006" y="2949694"/>
              <a:ext cx="43200" cy="54000"/>
            </a:xfrm>
            <a:prstGeom prst="ellipse">
              <a:avLst/>
            </a:prstGeom>
            <a:solidFill>
              <a:schemeClr val="tx1"/>
            </a:solidFill>
            <a:ln>
              <a:headEnd/>
              <a:tailEnd/>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a:p>
          </p:txBody>
        </p:sp>
        <p:sp>
          <p:nvSpPr>
            <p:cNvPr id="145" name="Oval 144"/>
            <p:cNvSpPr/>
            <p:nvPr/>
          </p:nvSpPr>
          <p:spPr bwMode="auto">
            <a:xfrm rot="19860000">
              <a:off x="5433419" y="3347050"/>
              <a:ext cx="43200" cy="54000"/>
            </a:xfrm>
            <a:prstGeom prst="ellipse">
              <a:avLst/>
            </a:prstGeom>
            <a:solidFill>
              <a:schemeClr val="tx1"/>
            </a:solidFill>
            <a:ln>
              <a:headEnd/>
              <a:tailEnd/>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a:p>
          </p:txBody>
        </p:sp>
        <p:sp>
          <p:nvSpPr>
            <p:cNvPr id="146" name="Oval 145"/>
            <p:cNvSpPr/>
            <p:nvPr/>
          </p:nvSpPr>
          <p:spPr bwMode="auto">
            <a:xfrm rot="19860000">
              <a:off x="5336853" y="3489164"/>
              <a:ext cx="43200" cy="54000"/>
            </a:xfrm>
            <a:prstGeom prst="ellipse">
              <a:avLst/>
            </a:prstGeom>
            <a:solidFill>
              <a:schemeClr val="tx1"/>
            </a:solidFill>
            <a:ln>
              <a:headEnd/>
              <a:tailEnd/>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a:p>
          </p:txBody>
        </p:sp>
        <p:sp>
          <p:nvSpPr>
            <p:cNvPr id="37999" name="Freeform 146"/>
            <p:cNvSpPr>
              <a:spLocks/>
            </p:cNvSpPr>
            <p:nvPr/>
          </p:nvSpPr>
          <p:spPr bwMode="auto">
            <a:xfrm rot="2512519">
              <a:off x="4668338" y="3490747"/>
              <a:ext cx="284282" cy="171788"/>
            </a:xfrm>
            <a:custGeom>
              <a:avLst/>
              <a:gdLst>
                <a:gd name="T0" fmla="*/ 700 w 405210"/>
                <a:gd name="T1" fmla="*/ 157 h 279127"/>
                <a:gd name="T2" fmla="*/ 1583 w 405210"/>
                <a:gd name="T3" fmla="*/ 71 h 279127"/>
                <a:gd name="T4" fmla="*/ 3257 w 405210"/>
                <a:gd name="T5" fmla="*/ 53 h 279127"/>
                <a:gd name="T6" fmla="*/ 3579 w 405210"/>
                <a:gd name="T7" fmla="*/ 389 h 279127"/>
                <a:gd name="T8" fmla="*/ 479 w 405210"/>
                <a:gd name="T9" fmla="*/ 468 h 279127"/>
                <a:gd name="T10" fmla="*/ 700 w 405210"/>
                <a:gd name="T11" fmla="*/ 157 h 279127"/>
                <a:gd name="T12" fmla="*/ 0 60000 65536"/>
                <a:gd name="T13" fmla="*/ 0 60000 65536"/>
                <a:gd name="T14" fmla="*/ 0 60000 65536"/>
                <a:gd name="T15" fmla="*/ 0 60000 65536"/>
                <a:gd name="T16" fmla="*/ 0 60000 65536"/>
                <a:gd name="T17" fmla="*/ 0 60000 65536"/>
                <a:gd name="T18" fmla="*/ 0 w 405210"/>
                <a:gd name="T19" fmla="*/ 0 h 279127"/>
                <a:gd name="T20" fmla="*/ 405210 w 405210"/>
                <a:gd name="T21" fmla="*/ 279127 h 279127"/>
              </a:gdLst>
              <a:ahLst/>
              <a:cxnLst>
                <a:cxn ang="T12">
                  <a:pos x="T0" y="T1"/>
                </a:cxn>
                <a:cxn ang="T13">
                  <a:pos x="T2" y="T3"/>
                </a:cxn>
                <a:cxn ang="T14">
                  <a:pos x="T4" y="T5"/>
                </a:cxn>
                <a:cxn ang="T15">
                  <a:pos x="T6" y="T7"/>
                </a:cxn>
                <a:cxn ang="T16">
                  <a:pos x="T8" y="T9"/>
                </a:cxn>
                <a:cxn ang="T17">
                  <a:pos x="T10" y="T11"/>
                </a:cxn>
              </a:cxnLst>
              <a:rect l="T18" t="T19" r="T20" b="T21"/>
              <a:pathLst>
                <a:path w="405210" h="279127">
                  <a:moveTo>
                    <a:pt x="70248" y="86226"/>
                  </a:moveTo>
                  <a:cubicBezTo>
                    <a:pt x="88692" y="49770"/>
                    <a:pt x="59377" y="50379"/>
                    <a:pt x="158758" y="39098"/>
                  </a:cubicBezTo>
                  <a:cubicBezTo>
                    <a:pt x="247657" y="43537"/>
                    <a:pt x="293118" y="-1"/>
                    <a:pt x="326461" y="29148"/>
                  </a:cubicBezTo>
                  <a:cubicBezTo>
                    <a:pt x="359804" y="58297"/>
                    <a:pt x="405210" y="175877"/>
                    <a:pt x="358816" y="213991"/>
                  </a:cubicBezTo>
                  <a:cubicBezTo>
                    <a:pt x="312422" y="252105"/>
                    <a:pt x="96191" y="279126"/>
                    <a:pt x="48096" y="257832"/>
                  </a:cubicBezTo>
                  <a:cubicBezTo>
                    <a:pt x="1" y="236538"/>
                    <a:pt x="51804" y="122682"/>
                    <a:pt x="70248" y="86226"/>
                  </a:cubicBezTo>
                  <a:close/>
                </a:path>
              </a:pathLst>
            </a:custGeom>
            <a:solidFill>
              <a:schemeClr val="bg1"/>
            </a:solidFill>
            <a:ln w="9525">
              <a:solidFill>
                <a:schemeClr val="tx1"/>
              </a:solidFill>
              <a:prstDash val="dash"/>
              <a:round/>
              <a:headEnd/>
              <a:tailEnd/>
            </a:ln>
          </p:spPr>
          <p:txBody>
            <a:bodyPr anchor="ctr"/>
            <a:lstStyle/>
            <a:p>
              <a:endParaRPr lang="en-US"/>
            </a:p>
          </p:txBody>
        </p:sp>
        <p:sp>
          <p:nvSpPr>
            <p:cNvPr id="38000" name="Freeform 147"/>
            <p:cNvSpPr>
              <a:spLocks/>
            </p:cNvSpPr>
            <p:nvPr/>
          </p:nvSpPr>
          <p:spPr bwMode="auto">
            <a:xfrm rot="-1416154">
              <a:off x="4821333" y="3387342"/>
              <a:ext cx="316459" cy="158725"/>
            </a:xfrm>
            <a:custGeom>
              <a:avLst/>
              <a:gdLst>
                <a:gd name="T0" fmla="*/ 0 w 451072"/>
                <a:gd name="T1" fmla="*/ 55 h 257902"/>
                <a:gd name="T2" fmla="*/ 2126 w 451072"/>
                <a:gd name="T3" fmla="*/ 0 h 257902"/>
                <a:gd name="T4" fmla="*/ 4203 w 451072"/>
                <a:gd name="T5" fmla="*/ 135 h 257902"/>
                <a:gd name="T6" fmla="*/ 3285 w 451072"/>
                <a:gd name="T7" fmla="*/ 283 h 257902"/>
                <a:gd name="T8" fmla="*/ 2973 w 451072"/>
                <a:gd name="T9" fmla="*/ 469 h 257902"/>
                <a:gd name="T10" fmla="*/ 971 w 451072"/>
                <a:gd name="T11" fmla="*/ 453 h 257902"/>
                <a:gd name="T12" fmla="*/ 0 w 451072"/>
                <a:gd name="T13" fmla="*/ 55 h 257902"/>
                <a:gd name="T14" fmla="*/ 0 60000 65536"/>
                <a:gd name="T15" fmla="*/ 0 60000 65536"/>
                <a:gd name="T16" fmla="*/ 0 60000 65536"/>
                <a:gd name="T17" fmla="*/ 0 60000 65536"/>
                <a:gd name="T18" fmla="*/ 0 60000 65536"/>
                <a:gd name="T19" fmla="*/ 0 60000 65536"/>
                <a:gd name="T20" fmla="*/ 0 60000 65536"/>
                <a:gd name="T21" fmla="*/ 0 w 451072"/>
                <a:gd name="T22" fmla="*/ 0 h 257902"/>
                <a:gd name="T23" fmla="*/ 451072 w 451072"/>
                <a:gd name="T24" fmla="*/ 257902 h 25790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1072" h="257902">
                  <a:moveTo>
                    <a:pt x="0" y="30440"/>
                  </a:moveTo>
                  <a:cubicBezTo>
                    <a:pt x="15767" y="39893"/>
                    <a:pt x="113690" y="11281"/>
                    <a:pt x="213071" y="0"/>
                  </a:cubicBezTo>
                  <a:cubicBezTo>
                    <a:pt x="292602" y="67799"/>
                    <a:pt x="353790" y="64695"/>
                    <a:pt x="421345" y="74507"/>
                  </a:cubicBezTo>
                  <a:cubicBezTo>
                    <a:pt x="451072" y="105161"/>
                    <a:pt x="349820" y="125234"/>
                    <a:pt x="329276" y="155800"/>
                  </a:cubicBezTo>
                  <a:cubicBezTo>
                    <a:pt x="308732" y="186366"/>
                    <a:pt x="319052" y="201232"/>
                    <a:pt x="298079" y="257902"/>
                  </a:cubicBezTo>
                  <a:cubicBezTo>
                    <a:pt x="135366" y="204290"/>
                    <a:pt x="149673" y="228358"/>
                    <a:pt x="97337" y="249279"/>
                  </a:cubicBezTo>
                  <a:cubicBezTo>
                    <a:pt x="90506" y="201215"/>
                    <a:pt x="31973" y="91064"/>
                    <a:pt x="0" y="30440"/>
                  </a:cubicBezTo>
                  <a:close/>
                </a:path>
              </a:pathLst>
            </a:custGeom>
            <a:solidFill>
              <a:schemeClr val="bg1"/>
            </a:solidFill>
            <a:ln w="9525">
              <a:solidFill>
                <a:schemeClr val="tx1"/>
              </a:solidFill>
              <a:prstDash val="dash"/>
              <a:round/>
              <a:headEnd/>
              <a:tailEnd/>
            </a:ln>
          </p:spPr>
          <p:txBody>
            <a:bodyPr anchor="ctr"/>
            <a:lstStyle/>
            <a:p>
              <a:endParaRPr lang="en-US"/>
            </a:p>
          </p:txBody>
        </p:sp>
        <p:sp>
          <p:nvSpPr>
            <p:cNvPr id="149" name="Oval 148"/>
            <p:cNvSpPr/>
            <p:nvPr/>
          </p:nvSpPr>
          <p:spPr bwMode="auto">
            <a:xfrm rot="20711691">
              <a:off x="4936433" y="3446786"/>
              <a:ext cx="43200" cy="54000"/>
            </a:xfrm>
            <a:prstGeom prst="ellipse">
              <a:avLst/>
            </a:prstGeom>
            <a:solidFill>
              <a:schemeClr val="tx1"/>
            </a:solidFill>
            <a:ln>
              <a:headEnd/>
              <a:tailEnd/>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a:p>
          </p:txBody>
        </p:sp>
        <p:sp>
          <p:nvSpPr>
            <p:cNvPr id="150" name="Oval 149"/>
            <p:cNvSpPr/>
            <p:nvPr/>
          </p:nvSpPr>
          <p:spPr bwMode="auto">
            <a:xfrm rot="20711691">
              <a:off x="4776541" y="3544321"/>
              <a:ext cx="43200" cy="54000"/>
            </a:xfrm>
            <a:prstGeom prst="ellipse">
              <a:avLst/>
            </a:prstGeom>
            <a:solidFill>
              <a:schemeClr val="tx1"/>
            </a:solidFill>
            <a:ln>
              <a:headEnd/>
              <a:tailEnd/>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a:p>
          </p:txBody>
        </p:sp>
        <p:sp>
          <p:nvSpPr>
            <p:cNvPr id="151" name="Oval 150"/>
            <p:cNvSpPr/>
            <p:nvPr/>
          </p:nvSpPr>
          <p:spPr bwMode="auto">
            <a:xfrm rot="20711691">
              <a:off x="5013387" y="3605730"/>
              <a:ext cx="43200" cy="54000"/>
            </a:xfrm>
            <a:prstGeom prst="ellipse">
              <a:avLst/>
            </a:prstGeom>
            <a:solidFill>
              <a:schemeClr val="tx1"/>
            </a:solidFill>
            <a:ln>
              <a:headEnd/>
              <a:tailEnd/>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a:p>
          </p:txBody>
        </p:sp>
        <p:sp>
          <p:nvSpPr>
            <p:cNvPr id="152" name="Oval 151"/>
            <p:cNvSpPr/>
            <p:nvPr/>
          </p:nvSpPr>
          <p:spPr bwMode="auto">
            <a:xfrm rot="20711691">
              <a:off x="5165993" y="3450253"/>
              <a:ext cx="43200" cy="54000"/>
            </a:xfrm>
            <a:prstGeom prst="ellipse">
              <a:avLst/>
            </a:prstGeom>
            <a:solidFill>
              <a:schemeClr val="tx1"/>
            </a:solidFill>
            <a:ln>
              <a:headEnd/>
              <a:tailEnd/>
            </a:ln>
          </p:spPr>
          <p:style>
            <a:lnRef idx="0">
              <a:schemeClr val="accent4"/>
            </a:lnRef>
            <a:fillRef idx="3">
              <a:schemeClr val="accent4"/>
            </a:fillRef>
            <a:effectRef idx="3">
              <a:schemeClr val="accent4"/>
            </a:effectRef>
            <a:fontRef idx="minor">
              <a:schemeClr val="lt1"/>
            </a:fontRef>
          </p:style>
          <p:txBody>
            <a:bodyPr anchor="ctr"/>
            <a:lstStyle/>
            <a:p>
              <a:pPr algn="ctr">
                <a:defRPr/>
              </a:pPr>
              <a:endParaRPr lang="en-US"/>
            </a:p>
          </p:txBody>
        </p:sp>
      </p:grpSp>
      <p:sp>
        <p:nvSpPr>
          <p:cNvPr id="160" name="Teardrop 159"/>
          <p:cNvSpPr/>
          <p:nvPr/>
        </p:nvSpPr>
        <p:spPr bwMode="auto">
          <a:xfrm rot="19422787">
            <a:off x="1492216" y="5063962"/>
            <a:ext cx="450850" cy="460375"/>
          </a:xfrm>
          <a:prstGeom prst="teardrop">
            <a:avLst>
              <a:gd name="adj" fmla="val 200000"/>
            </a:avLst>
          </a:prstGeom>
          <a:noFill/>
          <a:ln>
            <a:prstDash val="sysDash"/>
            <a:headEnd/>
            <a:tailEnd/>
          </a:ln>
        </p:spPr>
        <p:style>
          <a:lnRef idx="2">
            <a:schemeClr val="dk1"/>
          </a:lnRef>
          <a:fillRef idx="1">
            <a:schemeClr val="lt1"/>
          </a:fillRef>
          <a:effectRef idx="0">
            <a:schemeClr val="dk1"/>
          </a:effectRef>
          <a:fontRef idx="minor">
            <a:schemeClr val="dk1"/>
          </a:fontRef>
        </p:style>
        <p:txBody>
          <a:bodyPr anchor="ctr"/>
          <a:lstStyle/>
          <a:p>
            <a:pPr algn="ctr" eaLnBrk="0" hangingPunct="0">
              <a:defRPr/>
            </a:pPr>
            <a:endParaRPr lang="en-US"/>
          </a:p>
        </p:txBody>
      </p:sp>
      <p:cxnSp>
        <p:nvCxnSpPr>
          <p:cNvPr id="37898" name="Straight Arrow Connector 160"/>
          <p:cNvCxnSpPr>
            <a:cxnSpLocks noChangeShapeType="1"/>
          </p:cNvCxnSpPr>
          <p:nvPr/>
        </p:nvCxnSpPr>
        <p:spPr bwMode="auto">
          <a:xfrm flipV="1">
            <a:off x="1820091" y="4204316"/>
            <a:ext cx="31750" cy="252413"/>
          </a:xfrm>
          <a:prstGeom prst="straightConnector1">
            <a:avLst/>
          </a:prstGeom>
          <a:noFill/>
          <a:ln w="19050" algn="ctr">
            <a:solidFill>
              <a:schemeClr val="tx1"/>
            </a:solidFill>
            <a:prstDash val="dash"/>
            <a:round/>
            <a:headEnd type="none" w="sm" len="sm"/>
            <a:tailEnd type="triangle" w="sm" len="lg"/>
          </a:ln>
        </p:spPr>
      </p:cxnSp>
      <p:pic>
        <p:nvPicPr>
          <p:cNvPr id="162" name="Picture 3"/>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rot="410216">
            <a:off x="1717448" y="2022249"/>
            <a:ext cx="733426" cy="733425"/>
          </a:xfrm>
          <a:prstGeom prst="roundRect">
            <a:avLst>
              <a:gd name="adj" fmla="val 50000"/>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cxnSp>
        <p:nvCxnSpPr>
          <p:cNvPr id="37900" name="Straight Arrow Connector 163"/>
          <p:cNvCxnSpPr>
            <a:cxnSpLocks noChangeShapeType="1"/>
          </p:cNvCxnSpPr>
          <p:nvPr/>
        </p:nvCxnSpPr>
        <p:spPr bwMode="auto">
          <a:xfrm flipV="1">
            <a:off x="1876698" y="3048000"/>
            <a:ext cx="104503" cy="975360"/>
          </a:xfrm>
          <a:prstGeom prst="straightConnector1">
            <a:avLst/>
          </a:prstGeom>
          <a:noFill/>
          <a:ln w="28575" algn="ctr">
            <a:solidFill>
              <a:schemeClr val="tx1"/>
            </a:solidFill>
            <a:prstDash val="sysDash"/>
            <a:round/>
            <a:headEnd/>
            <a:tailEnd type="stealth" w="lg" len="lg"/>
          </a:ln>
        </p:spPr>
      </p:cxnSp>
      <p:sp>
        <p:nvSpPr>
          <p:cNvPr id="165" name="Rectangle 164"/>
          <p:cNvSpPr/>
          <p:nvPr/>
        </p:nvSpPr>
        <p:spPr>
          <a:xfrm>
            <a:off x="3303600" y="5291016"/>
            <a:ext cx="1116000" cy="262800"/>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wrap="none"/>
          <a:lstStyle/>
          <a:p>
            <a:pPr algn="ctr">
              <a:defRPr/>
            </a:pPr>
            <a:r>
              <a:rPr lang="ru-RU" sz="1100" b="1" dirty="0">
                <a:solidFill>
                  <a:schemeClr val="bg1"/>
                </a:solidFill>
                <a:latin typeface="Century Gothic" panose="020B0502020202020204" pitchFamily="34" charset="0"/>
                <a:cs typeface="Arial" panose="020B0604020202020204" pitchFamily="34" charset="0"/>
                <a:sym typeface="Symbol"/>
              </a:rPr>
              <a:t>Меланин</a:t>
            </a:r>
            <a:endParaRPr lang="en-US" sz="1100" b="1" dirty="0">
              <a:solidFill>
                <a:schemeClr val="bg1"/>
              </a:solidFill>
              <a:latin typeface="Century Gothic" panose="020B0502020202020204" pitchFamily="34" charset="0"/>
              <a:cs typeface="Arial" panose="020B0604020202020204" pitchFamily="34" charset="0"/>
            </a:endParaRPr>
          </a:p>
        </p:txBody>
      </p:sp>
      <p:sp>
        <p:nvSpPr>
          <p:cNvPr id="37907" name="TextBox 74"/>
          <p:cNvSpPr txBox="1">
            <a:spLocks noChangeArrowheads="1"/>
          </p:cNvSpPr>
          <p:nvPr/>
        </p:nvSpPr>
        <p:spPr bwMode="auto">
          <a:xfrm>
            <a:off x="4412443" y="5263184"/>
            <a:ext cx="4800600" cy="400110"/>
          </a:xfrm>
          <a:prstGeom prst="rect">
            <a:avLst/>
          </a:prstGeom>
          <a:noFill/>
          <a:ln w="9525">
            <a:noFill/>
            <a:miter lim="800000"/>
            <a:headEnd/>
            <a:tailEnd/>
          </a:ln>
        </p:spPr>
        <p:txBody>
          <a:bodyPr wrap="square">
            <a:spAutoFit/>
          </a:bodyPr>
          <a:lstStyle/>
          <a:p>
            <a:r>
              <a:rPr lang="ru-RU" sz="1000" dirty="0">
                <a:solidFill>
                  <a:schemeClr val="accent5">
                    <a:lumMod val="50000"/>
                  </a:schemeClr>
                </a:solidFill>
                <a:latin typeface="Century Gothic" panose="020B0502020202020204" pitchFamily="34" charset="0"/>
              </a:rPr>
              <a:t>Природный пигмент, ответсвтенный за цвет волос, вырабатываемый меланоцитами и переносимый в кератиноциты. </a:t>
            </a:r>
            <a:endParaRPr lang="en-US" sz="1000" dirty="0">
              <a:solidFill>
                <a:schemeClr val="accent5">
                  <a:lumMod val="50000"/>
                </a:schemeClr>
              </a:solidFill>
              <a:latin typeface="Century Gothic" panose="020B0502020202020204" pitchFamily="34" charset="0"/>
            </a:endParaRPr>
          </a:p>
        </p:txBody>
      </p:sp>
      <p:sp>
        <p:nvSpPr>
          <p:cNvPr id="37910" name="TextBox 77"/>
          <p:cNvSpPr txBox="1">
            <a:spLocks noChangeArrowheads="1"/>
          </p:cNvSpPr>
          <p:nvPr/>
        </p:nvSpPr>
        <p:spPr bwMode="auto">
          <a:xfrm>
            <a:off x="3200400" y="1396426"/>
            <a:ext cx="6400798" cy="584775"/>
          </a:xfrm>
          <a:prstGeom prst="rect">
            <a:avLst/>
          </a:prstGeom>
          <a:noFill/>
          <a:ln w="9525">
            <a:noFill/>
            <a:miter lim="800000"/>
            <a:headEnd/>
            <a:tailEnd/>
          </a:ln>
        </p:spPr>
        <p:txBody>
          <a:bodyPr wrap="square">
            <a:spAutoFit/>
          </a:bodyPr>
          <a:lstStyle/>
          <a:p>
            <a:r>
              <a:rPr lang="ru-RU" sz="1600" b="1" dirty="0">
                <a:solidFill>
                  <a:schemeClr val="accent5">
                    <a:lumMod val="50000"/>
                  </a:schemeClr>
                </a:solidFill>
                <a:latin typeface="Century Gothic" panose="020B0502020202020204" pitchFamily="34" charset="0"/>
              </a:rPr>
              <a:t>Экстракт семян льна, </a:t>
            </a:r>
            <a:r>
              <a:rPr lang="ru-RU" sz="1600" dirty="0">
                <a:solidFill>
                  <a:schemeClr val="accent5">
                    <a:lumMod val="50000"/>
                  </a:schemeClr>
                </a:solidFill>
                <a:latin typeface="Century Gothic" panose="020B0502020202020204" pitchFamily="34" charset="0"/>
              </a:rPr>
              <a:t>на основе</a:t>
            </a:r>
            <a:r>
              <a:rPr lang="fr-FR" sz="1600" dirty="0">
                <a:solidFill>
                  <a:schemeClr val="accent5">
                    <a:lumMod val="50000"/>
                  </a:schemeClr>
                </a:solidFill>
                <a:latin typeface="Century Gothic" panose="020B0502020202020204" pitchFamily="34" charset="0"/>
              </a:rPr>
              <a:t> </a:t>
            </a:r>
            <a:r>
              <a:rPr lang="en-US" sz="1600" dirty="0">
                <a:solidFill>
                  <a:schemeClr val="accent5">
                    <a:lumMod val="50000"/>
                  </a:schemeClr>
                </a:solidFill>
                <a:latin typeface="Century Gothic" panose="020B0502020202020204" pitchFamily="34" charset="0"/>
              </a:rPr>
              <a:t>“</a:t>
            </a:r>
            <a:r>
              <a:rPr lang="fr-FR" sz="1600" b="1" dirty="0" err="1">
                <a:solidFill>
                  <a:schemeClr val="accent3"/>
                </a:solidFill>
                <a:latin typeface="Century Gothic" panose="020B0502020202020204" pitchFamily="34" charset="0"/>
              </a:rPr>
              <a:t>Hair</a:t>
            </a:r>
            <a:r>
              <a:rPr lang="fr-FR" sz="1600" b="1" dirty="0">
                <a:solidFill>
                  <a:schemeClr val="accent3"/>
                </a:solidFill>
                <a:latin typeface="Century Gothic" panose="020B0502020202020204" pitchFamily="34" charset="0"/>
              </a:rPr>
              <a:t> </a:t>
            </a:r>
            <a:r>
              <a:rPr lang="fr-FR" sz="1600" b="1" dirty="0" err="1">
                <a:solidFill>
                  <a:schemeClr val="accent3"/>
                </a:solidFill>
                <a:latin typeface="Century Gothic" panose="020B0502020202020204" pitchFamily="34" charset="0"/>
              </a:rPr>
              <a:t>Melanin</a:t>
            </a:r>
            <a:r>
              <a:rPr lang="fr-FR" sz="1600" b="1" dirty="0">
                <a:solidFill>
                  <a:schemeClr val="accent3"/>
                </a:solidFill>
                <a:latin typeface="Century Gothic" panose="020B0502020202020204" pitchFamily="34" charset="0"/>
              </a:rPr>
              <a:t> System</a:t>
            </a:r>
            <a:r>
              <a:rPr lang="fr-FR" sz="1600" b="1" dirty="0">
                <a:solidFill>
                  <a:schemeClr val="accent3"/>
                </a:solidFill>
                <a:latin typeface="Times New Roman" panose="02020603050405020304" pitchFamily="18" charset="0"/>
                <a:cs typeface="Times New Roman" panose="02020603050405020304" pitchFamily="18" charset="0"/>
              </a:rPr>
              <a:t>™</a:t>
            </a:r>
            <a:r>
              <a:rPr lang="en-US" sz="1600" dirty="0">
                <a:solidFill>
                  <a:schemeClr val="accent5">
                    <a:lumMod val="50000"/>
                  </a:schemeClr>
                </a:solidFill>
                <a:latin typeface="Century Gothic" panose="020B0502020202020204" pitchFamily="34" charset="0"/>
              </a:rPr>
              <a:t>”</a:t>
            </a:r>
            <a:r>
              <a:rPr lang="ru-RU" sz="1600" dirty="0">
                <a:solidFill>
                  <a:schemeClr val="accent5">
                    <a:lumMod val="50000"/>
                  </a:schemeClr>
                </a:solidFill>
                <a:latin typeface="Century Gothic" panose="020B0502020202020204" pitchFamily="34" charset="0"/>
              </a:rPr>
              <a:t>, помогает волосам сохранить свой природный цвет</a:t>
            </a:r>
            <a:endParaRPr lang="en-US" sz="1600" dirty="0">
              <a:solidFill>
                <a:schemeClr val="accent5">
                  <a:lumMod val="50000"/>
                </a:schemeClr>
              </a:solidFill>
              <a:latin typeface="Century Gothic" panose="020B0502020202020204" pitchFamily="34" charset="0"/>
            </a:endParaRPr>
          </a:p>
        </p:txBody>
      </p:sp>
      <p:sp>
        <p:nvSpPr>
          <p:cNvPr id="52" name="Rectangle 51"/>
          <p:cNvSpPr/>
          <p:nvPr/>
        </p:nvSpPr>
        <p:spPr>
          <a:xfrm>
            <a:off x="3303600" y="2667000"/>
            <a:ext cx="1116000" cy="2628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wrap="none"/>
          <a:lstStyle/>
          <a:p>
            <a:pPr algn="ctr">
              <a:defRPr/>
            </a:pPr>
            <a:r>
              <a:rPr lang="ru-RU" sz="1100" b="1" dirty="0">
                <a:solidFill>
                  <a:schemeClr val="accent5">
                    <a:lumMod val="50000"/>
                  </a:schemeClr>
                </a:solidFill>
                <a:latin typeface="Century Gothic" panose="020B0502020202020204" pitchFamily="34" charset="0"/>
                <a:cs typeface="Arial" panose="020B0604020202020204" pitchFamily="34" charset="0"/>
                <a:sym typeface="Symbol"/>
              </a:rPr>
              <a:t>Тирозиназа</a:t>
            </a:r>
            <a:endParaRPr lang="en-US" sz="1100" b="1" dirty="0">
              <a:solidFill>
                <a:schemeClr val="accent5">
                  <a:lumMod val="50000"/>
                </a:schemeClr>
              </a:solidFill>
              <a:latin typeface="Century Gothic" panose="020B0502020202020204" pitchFamily="34" charset="0"/>
              <a:cs typeface="Arial" panose="020B0604020202020204" pitchFamily="34" charset="0"/>
            </a:endParaRPr>
          </a:p>
        </p:txBody>
      </p:sp>
      <p:sp>
        <p:nvSpPr>
          <p:cNvPr id="53" name="Rectangle 52"/>
          <p:cNvSpPr/>
          <p:nvPr/>
        </p:nvSpPr>
        <p:spPr>
          <a:xfrm>
            <a:off x="3303600" y="3074404"/>
            <a:ext cx="1116000" cy="2628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wrap="none"/>
          <a:lstStyle/>
          <a:p>
            <a:pPr algn="ctr">
              <a:defRPr/>
            </a:pPr>
            <a:r>
              <a:rPr lang="en-US" sz="1100" b="1" dirty="0">
                <a:solidFill>
                  <a:schemeClr val="accent5">
                    <a:lumMod val="50000"/>
                  </a:schemeClr>
                </a:solidFill>
                <a:latin typeface="Century Gothic" panose="020B0502020202020204" pitchFamily="34" charset="0"/>
                <a:cs typeface="Arial" panose="020B0604020202020204" pitchFamily="34" charset="0"/>
                <a:sym typeface="Symbol"/>
              </a:rPr>
              <a:t>TRP-1</a:t>
            </a:r>
          </a:p>
        </p:txBody>
      </p:sp>
      <p:sp>
        <p:nvSpPr>
          <p:cNvPr id="54" name="Rectangle 53"/>
          <p:cNvSpPr/>
          <p:nvPr/>
        </p:nvSpPr>
        <p:spPr>
          <a:xfrm>
            <a:off x="3303600" y="3469500"/>
            <a:ext cx="1116000" cy="262800"/>
          </a:xfrm>
          <a:prstGeom prst="rect">
            <a:avLst/>
          </a:prstGeom>
          <a:solidFill>
            <a:schemeClr val="accent4"/>
          </a:solidFill>
          <a:ln/>
        </p:spPr>
        <p:style>
          <a:lnRef idx="2">
            <a:schemeClr val="accent1"/>
          </a:lnRef>
          <a:fillRef idx="1">
            <a:schemeClr val="lt1"/>
          </a:fillRef>
          <a:effectRef idx="0">
            <a:schemeClr val="accent1"/>
          </a:effectRef>
          <a:fontRef idx="minor">
            <a:schemeClr val="dk1"/>
          </a:fontRef>
        </p:style>
        <p:txBody>
          <a:bodyPr wrap="none"/>
          <a:lstStyle/>
          <a:p>
            <a:pPr algn="ctr">
              <a:defRPr/>
            </a:pPr>
            <a:r>
              <a:rPr lang="en-US" sz="1100" b="1" dirty="0">
                <a:solidFill>
                  <a:schemeClr val="accent5">
                    <a:lumMod val="50000"/>
                  </a:schemeClr>
                </a:solidFill>
                <a:latin typeface="Century Gothic" panose="020B0502020202020204" pitchFamily="34" charset="0"/>
                <a:cs typeface="Arial" panose="020B0604020202020204" pitchFamily="34" charset="0"/>
                <a:sym typeface="Symbol"/>
              </a:rPr>
              <a:t>MITF</a:t>
            </a:r>
          </a:p>
        </p:txBody>
      </p:sp>
      <p:sp>
        <p:nvSpPr>
          <p:cNvPr id="55" name="Rectangle 54"/>
          <p:cNvSpPr/>
          <p:nvPr/>
        </p:nvSpPr>
        <p:spPr>
          <a:xfrm>
            <a:off x="3303600" y="4396566"/>
            <a:ext cx="1116000" cy="262800"/>
          </a:xfrm>
          <a:prstGeom prst="rect">
            <a:avLst/>
          </a:prstGeom>
          <a:solidFill>
            <a:schemeClr val="accent3"/>
          </a:solidFill>
          <a:ln/>
        </p:spPr>
        <p:style>
          <a:lnRef idx="2">
            <a:schemeClr val="accent1"/>
          </a:lnRef>
          <a:fillRef idx="1">
            <a:schemeClr val="lt1"/>
          </a:fillRef>
          <a:effectRef idx="0">
            <a:schemeClr val="accent1"/>
          </a:effectRef>
          <a:fontRef idx="minor">
            <a:schemeClr val="dk1"/>
          </a:fontRef>
        </p:style>
        <p:txBody>
          <a:bodyPr wrap="none"/>
          <a:lstStyle/>
          <a:p>
            <a:pPr algn="ctr">
              <a:defRPr/>
            </a:pPr>
            <a:r>
              <a:rPr lang="en-US" sz="1100" b="1">
                <a:solidFill>
                  <a:schemeClr val="accent5">
                    <a:lumMod val="50000"/>
                  </a:schemeClr>
                </a:solidFill>
                <a:latin typeface="Century Gothic" panose="020B0502020202020204" pitchFamily="34" charset="0"/>
                <a:cs typeface="Arial" panose="020B0604020202020204" pitchFamily="34" charset="0"/>
                <a:sym typeface="Symbol"/>
              </a:rPr>
              <a:t>Pmel 17</a:t>
            </a:r>
          </a:p>
        </p:txBody>
      </p:sp>
      <p:sp>
        <p:nvSpPr>
          <p:cNvPr id="56" name="Rectangle 55"/>
          <p:cNvSpPr/>
          <p:nvPr/>
        </p:nvSpPr>
        <p:spPr>
          <a:xfrm>
            <a:off x="3303600" y="3898416"/>
            <a:ext cx="1116000" cy="262800"/>
          </a:xfrm>
          <a:prstGeom prst="rect">
            <a:avLst/>
          </a:prstGeom>
          <a:solidFill>
            <a:schemeClr val="accent4"/>
          </a:solidFill>
          <a:ln/>
        </p:spPr>
        <p:style>
          <a:lnRef idx="2">
            <a:schemeClr val="accent1"/>
          </a:lnRef>
          <a:fillRef idx="1">
            <a:schemeClr val="lt1"/>
          </a:fillRef>
          <a:effectRef idx="0">
            <a:schemeClr val="accent1"/>
          </a:effectRef>
          <a:fontRef idx="minor">
            <a:schemeClr val="dk1"/>
          </a:fontRef>
        </p:style>
        <p:txBody>
          <a:bodyPr wrap="none"/>
          <a:lstStyle/>
          <a:p>
            <a:pPr algn="ctr">
              <a:defRPr/>
            </a:pPr>
            <a:r>
              <a:rPr lang="en-US" sz="1100" b="1">
                <a:solidFill>
                  <a:schemeClr val="accent5">
                    <a:lumMod val="50000"/>
                  </a:schemeClr>
                </a:solidFill>
                <a:latin typeface="Century Gothic" panose="020B0502020202020204" pitchFamily="34" charset="0"/>
                <a:cs typeface="Arial" panose="020B0604020202020204" pitchFamily="34" charset="0"/>
                <a:sym typeface="Symbol"/>
              </a:rPr>
              <a:t>c-kit</a:t>
            </a:r>
          </a:p>
        </p:txBody>
      </p:sp>
      <p:sp>
        <p:nvSpPr>
          <p:cNvPr id="37938" name="TextBox 74"/>
          <p:cNvSpPr txBox="1">
            <a:spLocks noChangeArrowheads="1"/>
          </p:cNvSpPr>
          <p:nvPr/>
        </p:nvSpPr>
        <p:spPr bwMode="auto">
          <a:xfrm>
            <a:off x="4416380" y="3478591"/>
            <a:ext cx="4803820" cy="400110"/>
          </a:xfrm>
          <a:prstGeom prst="rect">
            <a:avLst/>
          </a:prstGeom>
          <a:noFill/>
          <a:ln w="9525">
            <a:noFill/>
            <a:miter lim="800000"/>
            <a:headEnd/>
            <a:tailEnd/>
          </a:ln>
        </p:spPr>
        <p:txBody>
          <a:bodyPr wrap="square">
            <a:spAutoFit/>
          </a:bodyPr>
          <a:lstStyle/>
          <a:p>
            <a:r>
              <a:rPr lang="ru-RU" sz="1000" dirty="0">
                <a:solidFill>
                  <a:schemeClr val="accent5">
                    <a:lumMod val="50000"/>
                  </a:schemeClr>
                </a:solidFill>
                <a:latin typeface="Century Gothic" panose="020B0502020202020204" pitchFamily="34" charset="0"/>
              </a:rPr>
              <a:t>Транскрипционный фактор </a:t>
            </a:r>
            <a:r>
              <a:rPr lang="en-US" sz="1000" dirty="0">
                <a:solidFill>
                  <a:schemeClr val="accent5">
                    <a:lumMod val="50000"/>
                  </a:schemeClr>
                </a:solidFill>
                <a:latin typeface="Century Gothic" panose="020B0502020202020204" pitchFamily="34" charset="0"/>
              </a:rPr>
              <a:t>MITF </a:t>
            </a:r>
            <a:r>
              <a:rPr lang="ru-RU" sz="1000" dirty="0">
                <a:solidFill>
                  <a:schemeClr val="accent5">
                    <a:lumMod val="50000"/>
                  </a:schemeClr>
                </a:solidFill>
                <a:latin typeface="Century Gothic" panose="020B0502020202020204" pitchFamily="34" charset="0"/>
              </a:rPr>
              <a:t> известен как главный регулятор меланоцитов</a:t>
            </a:r>
            <a:r>
              <a:rPr lang="en-US" sz="1000" dirty="0">
                <a:solidFill>
                  <a:schemeClr val="accent5">
                    <a:lumMod val="50000"/>
                  </a:schemeClr>
                </a:solidFill>
                <a:latin typeface="Century Gothic" panose="020B0502020202020204" pitchFamily="34" charset="0"/>
              </a:rPr>
              <a:t>.</a:t>
            </a:r>
          </a:p>
        </p:txBody>
      </p:sp>
      <p:sp>
        <p:nvSpPr>
          <p:cNvPr id="37939" name="TextBox 74"/>
          <p:cNvSpPr txBox="1">
            <a:spLocks noChangeArrowheads="1"/>
          </p:cNvSpPr>
          <p:nvPr/>
        </p:nvSpPr>
        <p:spPr bwMode="auto">
          <a:xfrm>
            <a:off x="4419601" y="2606900"/>
            <a:ext cx="4876799" cy="400110"/>
          </a:xfrm>
          <a:prstGeom prst="rect">
            <a:avLst/>
          </a:prstGeom>
          <a:noFill/>
          <a:ln w="9525">
            <a:noFill/>
            <a:miter lim="800000"/>
            <a:headEnd/>
            <a:tailEnd/>
          </a:ln>
        </p:spPr>
        <p:txBody>
          <a:bodyPr wrap="square">
            <a:spAutoFit/>
          </a:bodyPr>
          <a:lstStyle/>
          <a:p>
            <a:r>
              <a:rPr lang="ru-RU" sz="1000" dirty="0">
                <a:solidFill>
                  <a:schemeClr val="accent5">
                    <a:lumMod val="50000"/>
                  </a:schemeClr>
                </a:solidFill>
                <a:latin typeface="Century Gothic" panose="020B0502020202020204" pitchFamily="34" charset="0"/>
              </a:rPr>
              <a:t>Фермент, катализирующий продукцию меланина и других пигментов из тирозина</a:t>
            </a:r>
            <a:r>
              <a:rPr lang="en-US" sz="1000" dirty="0">
                <a:solidFill>
                  <a:schemeClr val="accent5">
                    <a:lumMod val="50000"/>
                  </a:schemeClr>
                </a:solidFill>
                <a:latin typeface="Century Gothic" panose="020B0502020202020204" pitchFamily="34" charset="0"/>
              </a:rPr>
              <a:t>.</a:t>
            </a:r>
          </a:p>
        </p:txBody>
      </p:sp>
      <p:sp>
        <p:nvSpPr>
          <p:cNvPr id="37940" name="TextBox 63"/>
          <p:cNvSpPr txBox="1">
            <a:spLocks noChangeArrowheads="1"/>
          </p:cNvSpPr>
          <p:nvPr/>
        </p:nvSpPr>
        <p:spPr bwMode="auto">
          <a:xfrm>
            <a:off x="4395960" y="3820628"/>
            <a:ext cx="4764375" cy="553998"/>
          </a:xfrm>
          <a:prstGeom prst="rect">
            <a:avLst/>
          </a:prstGeom>
          <a:noFill/>
          <a:ln w="9525">
            <a:noFill/>
            <a:miter lim="800000"/>
            <a:headEnd/>
            <a:tailEnd/>
          </a:ln>
        </p:spPr>
        <p:txBody>
          <a:bodyPr wrap="square">
            <a:spAutoFit/>
          </a:bodyPr>
          <a:lstStyle/>
          <a:p>
            <a:r>
              <a:rPr lang="ru-RU" sz="1000" dirty="0">
                <a:solidFill>
                  <a:schemeClr val="accent5">
                    <a:lumMod val="50000"/>
                  </a:schemeClr>
                </a:solidFill>
                <a:latin typeface="Century Gothic" panose="020B0502020202020204" pitchFamily="34" charset="0"/>
              </a:rPr>
              <a:t>Передача сигналов </a:t>
            </a:r>
            <a:r>
              <a:rPr lang="en-US" sz="1000" dirty="0">
                <a:solidFill>
                  <a:schemeClr val="accent5">
                    <a:lumMod val="50000"/>
                  </a:schemeClr>
                </a:solidFill>
                <a:latin typeface="Century Gothic" panose="020B0502020202020204" pitchFamily="34" charset="0"/>
              </a:rPr>
              <a:t>SCF/c-kit </a:t>
            </a:r>
            <a:r>
              <a:rPr lang="ru-RU" sz="1000" dirty="0">
                <a:solidFill>
                  <a:schemeClr val="accent5">
                    <a:lumMod val="50000"/>
                  </a:schemeClr>
                </a:solidFill>
                <a:latin typeface="Century Gothic" panose="020B0502020202020204" pitchFamily="34" charset="0"/>
              </a:rPr>
              <a:t>необходима для циклической регенерации блока пигментации волос и для репопуляции  производящих пигмент меланоцитов в волосяной луковице</a:t>
            </a:r>
            <a:r>
              <a:rPr lang="en-US" sz="1000" dirty="0">
                <a:solidFill>
                  <a:schemeClr val="accent5">
                    <a:lumMod val="50000"/>
                  </a:schemeClr>
                </a:solidFill>
                <a:latin typeface="Century Gothic" panose="020B0502020202020204" pitchFamily="34" charset="0"/>
              </a:rPr>
              <a:t>.</a:t>
            </a:r>
          </a:p>
        </p:txBody>
      </p:sp>
      <p:sp>
        <p:nvSpPr>
          <p:cNvPr id="37941" name="TextBox 64"/>
          <p:cNvSpPr txBox="1">
            <a:spLocks noChangeArrowheads="1"/>
          </p:cNvSpPr>
          <p:nvPr/>
        </p:nvSpPr>
        <p:spPr bwMode="auto">
          <a:xfrm>
            <a:off x="4365479" y="4298571"/>
            <a:ext cx="4778521" cy="553998"/>
          </a:xfrm>
          <a:prstGeom prst="rect">
            <a:avLst/>
          </a:prstGeom>
          <a:noFill/>
          <a:ln w="9525">
            <a:noFill/>
            <a:miter lim="800000"/>
            <a:headEnd/>
            <a:tailEnd/>
          </a:ln>
        </p:spPr>
        <p:txBody>
          <a:bodyPr wrap="square">
            <a:spAutoFit/>
          </a:bodyPr>
          <a:lstStyle/>
          <a:p>
            <a:r>
              <a:rPr lang="ru-RU" sz="1000" dirty="0">
                <a:solidFill>
                  <a:schemeClr val="accent5">
                    <a:lumMod val="50000"/>
                  </a:schemeClr>
                </a:solidFill>
                <a:latin typeface="Century Gothic" panose="020B0502020202020204" pitchFamily="34" charset="0"/>
              </a:rPr>
              <a:t>Компонент связанного с мембраной ферментного комплекса меланосомы, экспрессия которого коррелирует с содержанием меланина</a:t>
            </a:r>
            <a:r>
              <a:rPr lang="en-US" sz="1000" dirty="0">
                <a:solidFill>
                  <a:schemeClr val="accent5">
                    <a:lumMod val="50000"/>
                  </a:schemeClr>
                </a:solidFill>
                <a:latin typeface="Century Gothic" panose="020B0502020202020204" pitchFamily="34" charset="0"/>
              </a:rPr>
              <a:t>.</a:t>
            </a:r>
          </a:p>
        </p:txBody>
      </p:sp>
      <p:sp>
        <p:nvSpPr>
          <p:cNvPr id="37945" name="TextBox 74"/>
          <p:cNvSpPr txBox="1">
            <a:spLocks noChangeArrowheads="1"/>
          </p:cNvSpPr>
          <p:nvPr/>
        </p:nvSpPr>
        <p:spPr bwMode="auto">
          <a:xfrm>
            <a:off x="4434840" y="2985161"/>
            <a:ext cx="4800600" cy="553998"/>
          </a:xfrm>
          <a:prstGeom prst="rect">
            <a:avLst/>
          </a:prstGeom>
          <a:noFill/>
          <a:ln w="9525">
            <a:noFill/>
            <a:miter lim="800000"/>
            <a:headEnd/>
            <a:tailEnd/>
          </a:ln>
        </p:spPr>
        <p:txBody>
          <a:bodyPr wrap="square">
            <a:spAutoFit/>
          </a:bodyPr>
          <a:lstStyle/>
          <a:p>
            <a:r>
              <a:rPr lang="ru-RU" sz="1000" dirty="0">
                <a:solidFill>
                  <a:schemeClr val="accent5">
                    <a:lumMod val="50000"/>
                  </a:schemeClr>
                </a:solidFill>
                <a:latin typeface="Century Gothic" panose="020B0502020202020204" pitchFamily="34" charset="0"/>
              </a:rPr>
              <a:t>Связанный с тирозиназой белок</a:t>
            </a:r>
            <a:r>
              <a:rPr lang="en-US" sz="1000" dirty="0">
                <a:solidFill>
                  <a:schemeClr val="accent5">
                    <a:lumMod val="50000"/>
                  </a:schemeClr>
                </a:solidFill>
                <a:latin typeface="Century Gothic" panose="020B0502020202020204" pitchFamily="34" charset="0"/>
              </a:rPr>
              <a:t>-1 (TRP-1)</a:t>
            </a:r>
            <a:r>
              <a:rPr lang="ru-RU" sz="1000" dirty="0">
                <a:solidFill>
                  <a:schemeClr val="accent5">
                    <a:lumMod val="50000"/>
                  </a:schemeClr>
                </a:solidFill>
                <a:latin typeface="Century Gothic" panose="020B0502020202020204" pitchFamily="34" charset="0"/>
              </a:rPr>
              <a:t>, предствляет собой специфический для меланоцитов белок, участвующий в синтезе меланина</a:t>
            </a:r>
            <a:r>
              <a:rPr lang="en-US" sz="1000" dirty="0">
                <a:solidFill>
                  <a:schemeClr val="accent5">
                    <a:lumMod val="50000"/>
                  </a:schemeClr>
                </a:solidFill>
                <a:latin typeface="Century Gothic" panose="020B0502020202020204" pitchFamily="34" charset="0"/>
              </a:rPr>
              <a:t>.</a:t>
            </a:r>
          </a:p>
        </p:txBody>
      </p:sp>
      <p:sp>
        <p:nvSpPr>
          <p:cNvPr id="57" name="Rectangle 56"/>
          <p:cNvSpPr/>
          <p:nvPr/>
        </p:nvSpPr>
        <p:spPr>
          <a:xfrm>
            <a:off x="3303600" y="4843790"/>
            <a:ext cx="1116000" cy="262800"/>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a:spAutoFit/>
          </a:bodyPr>
          <a:lstStyle/>
          <a:p>
            <a:pPr algn="ctr">
              <a:defRPr/>
            </a:pPr>
            <a:r>
              <a:rPr lang="en-US" sz="1100" b="1" dirty="0">
                <a:solidFill>
                  <a:schemeClr val="accent5">
                    <a:lumMod val="50000"/>
                  </a:schemeClr>
                </a:solidFill>
                <a:latin typeface="Century Gothic" panose="020B0502020202020204" pitchFamily="34" charset="0"/>
                <a:cs typeface="Arial" panose="020B0604020202020204" pitchFamily="34" charset="0"/>
                <a:sym typeface="Symbol"/>
              </a:rPr>
              <a:t>PAR-2</a:t>
            </a:r>
            <a:endParaRPr lang="en-US" sz="1100" b="1" dirty="0">
              <a:solidFill>
                <a:schemeClr val="accent5">
                  <a:lumMod val="50000"/>
                </a:schemeClr>
              </a:solidFill>
              <a:latin typeface="Century Gothic" panose="020B0502020202020204" pitchFamily="34" charset="0"/>
              <a:cs typeface="Arial" panose="020B0604020202020204" pitchFamily="34" charset="0"/>
            </a:endParaRPr>
          </a:p>
        </p:txBody>
      </p:sp>
      <p:sp>
        <p:nvSpPr>
          <p:cNvPr id="37952" name="TextBox 77"/>
          <p:cNvSpPr txBox="1">
            <a:spLocks noChangeArrowheads="1"/>
          </p:cNvSpPr>
          <p:nvPr/>
        </p:nvSpPr>
        <p:spPr bwMode="auto">
          <a:xfrm>
            <a:off x="4395960" y="4776248"/>
            <a:ext cx="4762818" cy="553998"/>
          </a:xfrm>
          <a:prstGeom prst="rect">
            <a:avLst/>
          </a:prstGeom>
          <a:noFill/>
          <a:ln w="9525">
            <a:noFill/>
            <a:miter lim="800000"/>
            <a:headEnd/>
            <a:tailEnd/>
          </a:ln>
        </p:spPr>
        <p:txBody>
          <a:bodyPr wrap="square">
            <a:spAutoFit/>
          </a:bodyPr>
          <a:lstStyle/>
          <a:p>
            <a:r>
              <a:rPr lang="en-US" sz="1000" dirty="0">
                <a:solidFill>
                  <a:schemeClr val="accent5">
                    <a:lumMod val="50000"/>
                  </a:schemeClr>
                </a:solidFill>
                <a:latin typeface="Century Gothic" panose="020B0502020202020204" pitchFamily="34" charset="0"/>
              </a:rPr>
              <a:t>PAR-2 </a:t>
            </a:r>
            <a:r>
              <a:rPr lang="ru-RU" sz="1000" dirty="0">
                <a:solidFill>
                  <a:schemeClr val="accent5">
                    <a:lumMod val="50000"/>
                  </a:schemeClr>
                </a:solidFill>
                <a:latin typeface="Century Gothic" panose="020B0502020202020204" pitchFamily="34" charset="0"/>
              </a:rPr>
              <a:t>контролирует всасывание и фагоцитоз меланосом кератиноцитами</a:t>
            </a:r>
            <a:r>
              <a:rPr lang="en-US" sz="1000" dirty="0">
                <a:solidFill>
                  <a:schemeClr val="accent5">
                    <a:lumMod val="50000"/>
                  </a:schemeClr>
                </a:solidFill>
                <a:latin typeface="Century Gothic" panose="020B0502020202020204" pitchFamily="34" charset="0"/>
              </a:rPr>
              <a:t>. </a:t>
            </a:r>
            <a:r>
              <a:rPr lang="ru-RU" sz="1000" dirty="0">
                <a:solidFill>
                  <a:schemeClr val="accent5">
                    <a:lumMod val="50000"/>
                  </a:schemeClr>
                </a:solidFill>
                <a:latin typeface="Century Gothic" panose="020B0502020202020204" pitchFamily="34" charset="0"/>
              </a:rPr>
              <a:t>Повышенная активность </a:t>
            </a:r>
            <a:r>
              <a:rPr lang="en-US" sz="1000" dirty="0">
                <a:solidFill>
                  <a:schemeClr val="accent5">
                    <a:lumMod val="50000"/>
                  </a:schemeClr>
                </a:solidFill>
                <a:latin typeface="Century Gothic" panose="020B0502020202020204" pitchFamily="34" charset="0"/>
              </a:rPr>
              <a:t>PAR-2 </a:t>
            </a:r>
            <a:r>
              <a:rPr lang="ru-RU" sz="1000" dirty="0">
                <a:solidFill>
                  <a:schemeClr val="accent5">
                    <a:lumMod val="50000"/>
                  </a:schemeClr>
                </a:solidFill>
                <a:latin typeface="Century Gothic" panose="020B0502020202020204" pitchFamily="34" charset="0"/>
              </a:rPr>
              <a:t>может усилить перенос меланосом и увеличить пигментацию.</a:t>
            </a:r>
            <a:endParaRPr lang="en-US" sz="1000" dirty="0">
              <a:solidFill>
                <a:schemeClr val="accent5">
                  <a:lumMod val="50000"/>
                </a:schemeClr>
              </a:solidFill>
              <a:latin typeface="Century Gothic" panose="020B0502020202020204" pitchFamily="34" charset="0"/>
            </a:endParaRPr>
          </a:p>
        </p:txBody>
      </p:sp>
      <p:sp>
        <p:nvSpPr>
          <p:cNvPr id="2" name="Title 1"/>
          <p:cNvSpPr>
            <a:spLocks noGrp="1"/>
          </p:cNvSpPr>
          <p:nvPr>
            <p:ph type="title"/>
          </p:nvPr>
        </p:nvSpPr>
        <p:spPr>
          <a:xfrm>
            <a:off x="457198" y="102439"/>
            <a:ext cx="9144000" cy="833957"/>
          </a:xfrm>
        </p:spPr>
        <p:txBody>
          <a:bodyPr/>
          <a:lstStyle/>
          <a:p>
            <a:r>
              <a:rPr lang="en-US" dirty="0" err="1">
                <a:latin typeface="Century Gothic" panose="020B0502020202020204" pitchFamily="34" charset="0"/>
              </a:rPr>
              <a:t>Chromafend</a:t>
            </a:r>
            <a:r>
              <a:rPr lang="en-US" dirty="0">
                <a:latin typeface="Century Gothic" panose="020B0502020202020204" pitchFamily="34" charset="0"/>
              </a:rPr>
              <a:t>™</a:t>
            </a:r>
            <a:endParaRPr lang="en-GB" dirty="0">
              <a:latin typeface="Century Gothic" panose="020B0502020202020204" pitchFamily="34" charset="0"/>
            </a:endParaRPr>
          </a:p>
        </p:txBody>
      </p:sp>
    </p:spTree>
    <p:extLst>
      <p:ext uri="{BB962C8B-B14F-4D97-AF65-F5344CB8AC3E}">
        <p14:creationId xmlns:p14="http://schemas.microsoft.com/office/powerpoint/2010/main" val="4811935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descr="Dessin cheveu.jpg"/>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1088432" y="1524000"/>
            <a:ext cx="2395538" cy="4495800"/>
          </a:xfrm>
          <a:prstGeom prst="roundRect">
            <a:avLst>
              <a:gd name="adj" fmla="val 0"/>
            </a:avLst>
          </a:prstGeom>
          <a:ln w="38100">
            <a:solidFill>
              <a:srgbClr val="80A1B6"/>
            </a:solidFill>
            <a:prstDash val="solid"/>
          </a:ln>
          <a:effectLst/>
          <a:scene3d>
            <a:camera prst="orthographicFront"/>
            <a:lightRig rig="contrasting" dir="t">
              <a:rot lat="0" lon="0" rev="4200000"/>
            </a:lightRig>
          </a:scene3d>
          <a:sp3d prstMaterial="plastic">
            <a:contourClr>
              <a:srgbClr val="969696"/>
            </a:contourClr>
          </a:sp3d>
        </p:spPr>
      </p:pic>
      <p:sp>
        <p:nvSpPr>
          <p:cNvPr id="26630" name="Oval 25"/>
          <p:cNvSpPr>
            <a:spLocks noChangeArrowheads="1"/>
          </p:cNvSpPr>
          <p:nvPr/>
        </p:nvSpPr>
        <p:spPr bwMode="auto">
          <a:xfrm rot="249403">
            <a:off x="1836444" y="3434387"/>
            <a:ext cx="347442" cy="1301208"/>
          </a:xfrm>
          <a:custGeom>
            <a:avLst/>
            <a:gdLst>
              <a:gd name="connsiteX0" fmla="*/ 0 w 10000"/>
              <a:gd name="connsiteY0" fmla="*/ 1667 h 10000"/>
              <a:gd name="connsiteX1" fmla="*/ 4055 w 10000"/>
              <a:gd name="connsiteY1" fmla="*/ 30 h 10000"/>
              <a:gd name="connsiteX2" fmla="*/ 5945 w 10000"/>
              <a:gd name="connsiteY2" fmla="*/ 30 h 10000"/>
              <a:gd name="connsiteX3" fmla="*/ 10000 w 10000"/>
              <a:gd name="connsiteY3" fmla="*/ 1667 h 10000"/>
              <a:gd name="connsiteX4" fmla="*/ 10000 w 10000"/>
              <a:gd name="connsiteY4" fmla="*/ 8333 h 10000"/>
              <a:gd name="connsiteX5" fmla="*/ 5945 w 10000"/>
              <a:gd name="connsiteY5" fmla="*/ 9970 h 10000"/>
              <a:gd name="connsiteX6" fmla="*/ 4055 w 10000"/>
              <a:gd name="connsiteY6" fmla="*/ 9970 h 10000"/>
              <a:gd name="connsiteX7" fmla="*/ 0 w 10000"/>
              <a:gd name="connsiteY7" fmla="*/ 8333 h 10000"/>
              <a:gd name="connsiteX8" fmla="*/ 0 w 10000"/>
              <a:gd name="connsiteY8" fmla="*/ 1667 h 10000"/>
              <a:gd name="connsiteX0" fmla="*/ 10000 w 10000"/>
              <a:gd name="connsiteY0" fmla="*/ 1667 h 10000"/>
              <a:gd name="connsiteX1" fmla="*/ 5945 w 10000"/>
              <a:gd name="connsiteY1" fmla="*/ 3304 h 10000"/>
              <a:gd name="connsiteX2" fmla="*/ 4055 w 10000"/>
              <a:gd name="connsiteY2" fmla="*/ 3304 h 10000"/>
              <a:gd name="connsiteX3" fmla="*/ 0 w 10000"/>
              <a:gd name="connsiteY3" fmla="*/ 1667 h 10000"/>
              <a:gd name="connsiteX0" fmla="*/ 0 w 10000"/>
              <a:gd name="connsiteY0" fmla="*/ 1667 h 10000"/>
              <a:gd name="connsiteX1" fmla="*/ 4055 w 10000"/>
              <a:gd name="connsiteY1" fmla="*/ 30 h 10000"/>
              <a:gd name="connsiteX2" fmla="*/ 5945 w 10000"/>
              <a:gd name="connsiteY2" fmla="*/ 30 h 10000"/>
              <a:gd name="connsiteX3" fmla="*/ 10000 w 10000"/>
              <a:gd name="connsiteY3" fmla="*/ 1667 h 10000"/>
              <a:gd name="connsiteX4" fmla="*/ 10000 w 10000"/>
              <a:gd name="connsiteY4" fmla="*/ 8333 h 10000"/>
              <a:gd name="connsiteX5" fmla="*/ 5945 w 10000"/>
              <a:gd name="connsiteY5" fmla="*/ 9970 h 10000"/>
              <a:gd name="connsiteX6" fmla="*/ 4055 w 10000"/>
              <a:gd name="connsiteY6" fmla="*/ 9970 h 10000"/>
              <a:gd name="connsiteX7" fmla="*/ 0 w 10000"/>
              <a:gd name="connsiteY7" fmla="*/ 8333 h 10000"/>
              <a:gd name="connsiteX8" fmla="*/ 0 w 10000"/>
              <a:gd name="connsiteY8" fmla="*/ 1667 h 1000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945 w 10000"/>
              <a:gd name="connsiteY1" fmla="*/ 3314 h 10020"/>
              <a:gd name="connsiteX2" fmla="*/ 3855 w 10000"/>
              <a:gd name="connsiteY2" fmla="*/ 2902 h 10020"/>
              <a:gd name="connsiteX3" fmla="*/ 0 w 10000"/>
              <a:gd name="connsiteY3" fmla="*/ 1677 h 1002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855 w 10000"/>
              <a:gd name="connsiteY1" fmla="*/ 2860 h 10020"/>
              <a:gd name="connsiteX2" fmla="*/ 3855 w 10000"/>
              <a:gd name="connsiteY2" fmla="*/ 2902 h 10020"/>
              <a:gd name="connsiteX3" fmla="*/ 0 w 10000"/>
              <a:gd name="connsiteY3" fmla="*/ 1677 h 1002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855 w 10000"/>
              <a:gd name="connsiteY1" fmla="*/ 2860 h 10020"/>
              <a:gd name="connsiteX2" fmla="*/ 3855 w 10000"/>
              <a:gd name="connsiteY2" fmla="*/ 2902 h 10020"/>
              <a:gd name="connsiteX3" fmla="*/ 0 w 10000"/>
              <a:gd name="connsiteY3" fmla="*/ 1677 h 1002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855 w 10000"/>
              <a:gd name="connsiteY1" fmla="*/ 2860 h 10020"/>
              <a:gd name="connsiteX2" fmla="*/ 3855 w 10000"/>
              <a:gd name="connsiteY2" fmla="*/ 2902 h 10020"/>
              <a:gd name="connsiteX3" fmla="*/ 0 w 10000"/>
              <a:gd name="connsiteY3" fmla="*/ 1677 h 10020"/>
              <a:gd name="connsiteX0" fmla="*/ 0 w 10000"/>
              <a:gd name="connsiteY0" fmla="*/ 1677 h 10020"/>
              <a:gd name="connsiteX1" fmla="*/ 5273 w 10000"/>
              <a:gd name="connsiteY1" fmla="*/ 519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855 w 10000"/>
              <a:gd name="connsiteY1" fmla="*/ 2860 h 10020"/>
              <a:gd name="connsiteX2" fmla="*/ 3855 w 10000"/>
              <a:gd name="connsiteY2" fmla="*/ 2902 h 10020"/>
              <a:gd name="connsiteX3" fmla="*/ 0 w 10000"/>
              <a:gd name="connsiteY3" fmla="*/ 1677 h 10020"/>
              <a:gd name="connsiteX0" fmla="*/ 0 w 10000"/>
              <a:gd name="connsiteY0" fmla="*/ 1677 h 10020"/>
              <a:gd name="connsiteX1" fmla="*/ 5273 w 10000"/>
              <a:gd name="connsiteY1" fmla="*/ 519 h 10020"/>
              <a:gd name="connsiteX2" fmla="*/ 5273 w 10000"/>
              <a:gd name="connsiteY2" fmla="*/ 519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855 w 10000"/>
              <a:gd name="connsiteY1" fmla="*/ 2860 h 10020"/>
              <a:gd name="connsiteX2" fmla="*/ 3855 w 10000"/>
              <a:gd name="connsiteY2" fmla="*/ 2902 h 10020"/>
              <a:gd name="connsiteX3" fmla="*/ 0 w 10000"/>
              <a:gd name="connsiteY3" fmla="*/ 1677 h 10020"/>
              <a:gd name="connsiteX0" fmla="*/ 0 w 10000"/>
              <a:gd name="connsiteY0" fmla="*/ 1677 h 10020"/>
              <a:gd name="connsiteX1" fmla="*/ 5273 w 10000"/>
              <a:gd name="connsiteY1" fmla="*/ 519 h 10020"/>
              <a:gd name="connsiteX2" fmla="*/ 5273 w 10000"/>
              <a:gd name="connsiteY2" fmla="*/ 519 h 10020"/>
              <a:gd name="connsiteX3" fmla="*/ 10000 w 10000"/>
              <a:gd name="connsiteY3" fmla="*/ 1677 h 10020"/>
              <a:gd name="connsiteX4" fmla="*/ 10000 w 10000"/>
              <a:gd name="connsiteY4" fmla="*/ 8343 h 10020"/>
              <a:gd name="connsiteX5" fmla="*/ 5945 w 10000"/>
              <a:gd name="connsiteY5" fmla="*/ 9980 h 10020"/>
              <a:gd name="connsiteX6" fmla="*/ 3599 w 10000"/>
              <a:gd name="connsiteY6" fmla="*/ 9967 h 10020"/>
              <a:gd name="connsiteX7" fmla="*/ 0 w 10000"/>
              <a:gd name="connsiteY7" fmla="*/ 8343 h 10020"/>
              <a:gd name="connsiteX8" fmla="*/ 0 w 10000"/>
              <a:gd name="connsiteY8" fmla="*/ 1677 h 1002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855 w 10000"/>
              <a:gd name="connsiteY1" fmla="*/ 2860 h 10020"/>
              <a:gd name="connsiteX2" fmla="*/ 3855 w 10000"/>
              <a:gd name="connsiteY2" fmla="*/ 2902 h 10020"/>
              <a:gd name="connsiteX3" fmla="*/ 0 w 10000"/>
              <a:gd name="connsiteY3" fmla="*/ 1677 h 10020"/>
              <a:gd name="connsiteX0" fmla="*/ 0 w 10000"/>
              <a:gd name="connsiteY0" fmla="*/ 1677 h 10020"/>
              <a:gd name="connsiteX1" fmla="*/ 5273 w 10000"/>
              <a:gd name="connsiteY1" fmla="*/ 519 h 10020"/>
              <a:gd name="connsiteX2" fmla="*/ 5273 w 10000"/>
              <a:gd name="connsiteY2" fmla="*/ 519 h 10020"/>
              <a:gd name="connsiteX3" fmla="*/ 10000 w 10000"/>
              <a:gd name="connsiteY3" fmla="*/ 1677 h 10020"/>
              <a:gd name="connsiteX4" fmla="*/ 10000 w 10000"/>
              <a:gd name="connsiteY4" fmla="*/ 8343 h 10020"/>
              <a:gd name="connsiteX5" fmla="*/ 5599 w 10000"/>
              <a:gd name="connsiteY5" fmla="*/ 9925 h 10020"/>
              <a:gd name="connsiteX6" fmla="*/ 3599 w 10000"/>
              <a:gd name="connsiteY6" fmla="*/ 9967 h 10020"/>
              <a:gd name="connsiteX7" fmla="*/ 0 w 10000"/>
              <a:gd name="connsiteY7" fmla="*/ 8343 h 10020"/>
              <a:gd name="connsiteX8" fmla="*/ 0 w 10000"/>
              <a:gd name="connsiteY8" fmla="*/ 1677 h 1002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855 w 10000"/>
              <a:gd name="connsiteY1" fmla="*/ 2860 h 10020"/>
              <a:gd name="connsiteX2" fmla="*/ 3855 w 10000"/>
              <a:gd name="connsiteY2" fmla="*/ 2902 h 10020"/>
              <a:gd name="connsiteX3" fmla="*/ 0 w 10000"/>
              <a:gd name="connsiteY3" fmla="*/ 1677 h 10020"/>
              <a:gd name="connsiteX0" fmla="*/ 0 w 10000"/>
              <a:gd name="connsiteY0" fmla="*/ 1677 h 10020"/>
              <a:gd name="connsiteX1" fmla="*/ 5273 w 10000"/>
              <a:gd name="connsiteY1" fmla="*/ 519 h 10020"/>
              <a:gd name="connsiteX2" fmla="*/ 5273 w 10000"/>
              <a:gd name="connsiteY2" fmla="*/ 519 h 10020"/>
              <a:gd name="connsiteX3" fmla="*/ 10000 w 10000"/>
              <a:gd name="connsiteY3" fmla="*/ 1677 h 10020"/>
              <a:gd name="connsiteX4" fmla="*/ 10000 w 10000"/>
              <a:gd name="connsiteY4" fmla="*/ 8343 h 10020"/>
              <a:gd name="connsiteX5" fmla="*/ 5599 w 10000"/>
              <a:gd name="connsiteY5" fmla="*/ 9925 h 10020"/>
              <a:gd name="connsiteX6" fmla="*/ 3453 w 10000"/>
              <a:gd name="connsiteY6" fmla="*/ 9382 h 10020"/>
              <a:gd name="connsiteX7" fmla="*/ 0 w 10000"/>
              <a:gd name="connsiteY7" fmla="*/ 8343 h 10020"/>
              <a:gd name="connsiteX8" fmla="*/ 0 w 10000"/>
              <a:gd name="connsiteY8" fmla="*/ 1677 h 1002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855 w 10000"/>
              <a:gd name="connsiteY1" fmla="*/ 2860 h 10020"/>
              <a:gd name="connsiteX2" fmla="*/ 3855 w 10000"/>
              <a:gd name="connsiteY2" fmla="*/ 2902 h 10020"/>
              <a:gd name="connsiteX3" fmla="*/ 0 w 10000"/>
              <a:gd name="connsiteY3" fmla="*/ 1677 h 10020"/>
              <a:gd name="connsiteX0" fmla="*/ 0 w 10000"/>
              <a:gd name="connsiteY0" fmla="*/ 1677 h 10020"/>
              <a:gd name="connsiteX1" fmla="*/ 5273 w 10000"/>
              <a:gd name="connsiteY1" fmla="*/ 519 h 10020"/>
              <a:gd name="connsiteX2" fmla="*/ 5273 w 10000"/>
              <a:gd name="connsiteY2" fmla="*/ 519 h 10020"/>
              <a:gd name="connsiteX3" fmla="*/ 10000 w 10000"/>
              <a:gd name="connsiteY3" fmla="*/ 1677 h 10020"/>
              <a:gd name="connsiteX4" fmla="*/ 10000 w 10000"/>
              <a:gd name="connsiteY4" fmla="*/ 8343 h 10020"/>
              <a:gd name="connsiteX5" fmla="*/ 5453 w 10000"/>
              <a:gd name="connsiteY5" fmla="*/ 9340 h 10020"/>
              <a:gd name="connsiteX6" fmla="*/ 3453 w 10000"/>
              <a:gd name="connsiteY6" fmla="*/ 9382 h 10020"/>
              <a:gd name="connsiteX7" fmla="*/ 0 w 10000"/>
              <a:gd name="connsiteY7" fmla="*/ 8343 h 10020"/>
              <a:gd name="connsiteX8" fmla="*/ 0 w 10000"/>
              <a:gd name="connsiteY8" fmla="*/ 1677 h 1002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855 w 10000"/>
              <a:gd name="connsiteY1" fmla="*/ 2860 h 10020"/>
              <a:gd name="connsiteX2" fmla="*/ 3855 w 10000"/>
              <a:gd name="connsiteY2" fmla="*/ 2902 h 10020"/>
              <a:gd name="connsiteX3" fmla="*/ 0 w 10000"/>
              <a:gd name="connsiteY3" fmla="*/ 1677 h 10020"/>
              <a:gd name="connsiteX0" fmla="*/ 0 w 10000"/>
              <a:gd name="connsiteY0" fmla="*/ 1677 h 10020"/>
              <a:gd name="connsiteX1" fmla="*/ 5273 w 10000"/>
              <a:gd name="connsiteY1" fmla="*/ 519 h 10020"/>
              <a:gd name="connsiteX2" fmla="*/ 5273 w 10000"/>
              <a:gd name="connsiteY2" fmla="*/ 519 h 10020"/>
              <a:gd name="connsiteX3" fmla="*/ 10000 w 10000"/>
              <a:gd name="connsiteY3" fmla="*/ 1677 h 10020"/>
              <a:gd name="connsiteX4" fmla="*/ 10000 w 10000"/>
              <a:gd name="connsiteY4" fmla="*/ 8343 h 10020"/>
              <a:gd name="connsiteX5" fmla="*/ 5951 w 10000"/>
              <a:gd name="connsiteY5" fmla="*/ 9416 h 10020"/>
              <a:gd name="connsiteX6" fmla="*/ 3453 w 10000"/>
              <a:gd name="connsiteY6" fmla="*/ 9382 h 10020"/>
              <a:gd name="connsiteX7" fmla="*/ 0 w 10000"/>
              <a:gd name="connsiteY7" fmla="*/ 8343 h 10020"/>
              <a:gd name="connsiteX8" fmla="*/ 0 w 10000"/>
              <a:gd name="connsiteY8" fmla="*/ 1677 h 1002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855 w 10000"/>
              <a:gd name="connsiteY1" fmla="*/ 2860 h 10020"/>
              <a:gd name="connsiteX2" fmla="*/ 3855 w 10000"/>
              <a:gd name="connsiteY2" fmla="*/ 2902 h 10020"/>
              <a:gd name="connsiteX3" fmla="*/ 0 w 10000"/>
              <a:gd name="connsiteY3" fmla="*/ 1677 h 10020"/>
              <a:gd name="connsiteX0" fmla="*/ 0 w 10000"/>
              <a:gd name="connsiteY0" fmla="*/ 1677 h 10020"/>
              <a:gd name="connsiteX1" fmla="*/ 5273 w 10000"/>
              <a:gd name="connsiteY1" fmla="*/ 519 h 10020"/>
              <a:gd name="connsiteX2" fmla="*/ 5273 w 10000"/>
              <a:gd name="connsiteY2" fmla="*/ 519 h 10020"/>
              <a:gd name="connsiteX3" fmla="*/ 10000 w 10000"/>
              <a:gd name="connsiteY3" fmla="*/ 1677 h 10020"/>
              <a:gd name="connsiteX4" fmla="*/ 10000 w 10000"/>
              <a:gd name="connsiteY4" fmla="*/ 8343 h 10020"/>
              <a:gd name="connsiteX5" fmla="*/ 5951 w 10000"/>
              <a:gd name="connsiteY5" fmla="*/ 9416 h 10020"/>
              <a:gd name="connsiteX6" fmla="*/ 3689 w 10000"/>
              <a:gd name="connsiteY6" fmla="*/ 9442 h 10020"/>
              <a:gd name="connsiteX7" fmla="*/ 0 w 10000"/>
              <a:gd name="connsiteY7" fmla="*/ 8343 h 10020"/>
              <a:gd name="connsiteX8" fmla="*/ 0 w 10000"/>
              <a:gd name="connsiteY8" fmla="*/ 1677 h 1002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855 w 10000"/>
              <a:gd name="connsiteY1" fmla="*/ 2860 h 10020"/>
              <a:gd name="connsiteX2" fmla="*/ 3855 w 10000"/>
              <a:gd name="connsiteY2" fmla="*/ 2902 h 10020"/>
              <a:gd name="connsiteX3" fmla="*/ 0 w 10000"/>
              <a:gd name="connsiteY3" fmla="*/ 1677 h 10020"/>
              <a:gd name="connsiteX0" fmla="*/ 0 w 10000"/>
              <a:gd name="connsiteY0" fmla="*/ 1677 h 10020"/>
              <a:gd name="connsiteX1" fmla="*/ 5273 w 10000"/>
              <a:gd name="connsiteY1" fmla="*/ 519 h 10020"/>
              <a:gd name="connsiteX2" fmla="*/ 5273 w 10000"/>
              <a:gd name="connsiteY2" fmla="*/ 519 h 10020"/>
              <a:gd name="connsiteX3" fmla="*/ 10000 w 10000"/>
              <a:gd name="connsiteY3" fmla="*/ 1677 h 10020"/>
              <a:gd name="connsiteX4" fmla="*/ 10000 w 10000"/>
              <a:gd name="connsiteY4" fmla="*/ 8343 h 10020"/>
              <a:gd name="connsiteX5" fmla="*/ 6708 w 10000"/>
              <a:gd name="connsiteY5" fmla="*/ 9531 h 10020"/>
              <a:gd name="connsiteX6" fmla="*/ 3689 w 10000"/>
              <a:gd name="connsiteY6" fmla="*/ 9442 h 10020"/>
              <a:gd name="connsiteX7" fmla="*/ 0 w 10000"/>
              <a:gd name="connsiteY7" fmla="*/ 8343 h 10020"/>
              <a:gd name="connsiteX8" fmla="*/ 0 w 10000"/>
              <a:gd name="connsiteY8" fmla="*/ 1677 h 1002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855 w 10000"/>
              <a:gd name="connsiteY1" fmla="*/ 2860 h 10020"/>
              <a:gd name="connsiteX2" fmla="*/ 3855 w 10000"/>
              <a:gd name="connsiteY2" fmla="*/ 2902 h 10020"/>
              <a:gd name="connsiteX3" fmla="*/ 0 w 10000"/>
              <a:gd name="connsiteY3" fmla="*/ 1677 h 10020"/>
              <a:gd name="connsiteX0" fmla="*/ 0 w 10000"/>
              <a:gd name="connsiteY0" fmla="*/ 1677 h 10020"/>
              <a:gd name="connsiteX1" fmla="*/ 5273 w 10000"/>
              <a:gd name="connsiteY1" fmla="*/ 519 h 10020"/>
              <a:gd name="connsiteX2" fmla="*/ 5273 w 10000"/>
              <a:gd name="connsiteY2" fmla="*/ 519 h 10020"/>
              <a:gd name="connsiteX3" fmla="*/ 10000 w 10000"/>
              <a:gd name="connsiteY3" fmla="*/ 1677 h 10020"/>
              <a:gd name="connsiteX4" fmla="*/ 10000 w 10000"/>
              <a:gd name="connsiteY4" fmla="*/ 8343 h 10020"/>
              <a:gd name="connsiteX5" fmla="*/ 6708 w 10000"/>
              <a:gd name="connsiteY5" fmla="*/ 9531 h 10020"/>
              <a:gd name="connsiteX6" fmla="*/ 3518 w 10000"/>
              <a:gd name="connsiteY6" fmla="*/ 9704 h 10020"/>
              <a:gd name="connsiteX7" fmla="*/ 0 w 10000"/>
              <a:gd name="connsiteY7" fmla="*/ 8343 h 10020"/>
              <a:gd name="connsiteX8" fmla="*/ 0 w 10000"/>
              <a:gd name="connsiteY8" fmla="*/ 1677 h 10020"/>
              <a:gd name="connsiteX0" fmla="*/ 0 w 10000"/>
              <a:gd name="connsiteY0" fmla="*/ 1677 h 10020"/>
              <a:gd name="connsiteX1" fmla="*/ 4055 w 10000"/>
              <a:gd name="connsiteY1" fmla="*/ 40 h 10020"/>
              <a:gd name="connsiteX2" fmla="*/ 5945 w 10000"/>
              <a:gd name="connsiteY2" fmla="*/ 40 h 10020"/>
              <a:gd name="connsiteX3" fmla="*/ 10000 w 10000"/>
              <a:gd name="connsiteY3" fmla="*/ 1677 h 10020"/>
              <a:gd name="connsiteX4" fmla="*/ 10000 w 10000"/>
              <a:gd name="connsiteY4" fmla="*/ 8343 h 10020"/>
              <a:gd name="connsiteX5" fmla="*/ 5945 w 10000"/>
              <a:gd name="connsiteY5" fmla="*/ 9980 h 10020"/>
              <a:gd name="connsiteX6" fmla="*/ 4055 w 10000"/>
              <a:gd name="connsiteY6" fmla="*/ 9980 h 10020"/>
              <a:gd name="connsiteX7" fmla="*/ 0 w 10000"/>
              <a:gd name="connsiteY7" fmla="*/ 8343 h 10020"/>
              <a:gd name="connsiteX8" fmla="*/ 0 w 10000"/>
              <a:gd name="connsiteY8" fmla="*/ 1677 h 10020"/>
              <a:gd name="connsiteX0" fmla="*/ 10000 w 10000"/>
              <a:gd name="connsiteY0" fmla="*/ 1677 h 10020"/>
              <a:gd name="connsiteX1" fmla="*/ 5855 w 10000"/>
              <a:gd name="connsiteY1" fmla="*/ 2860 h 10020"/>
              <a:gd name="connsiteX2" fmla="*/ 3855 w 10000"/>
              <a:gd name="connsiteY2" fmla="*/ 2902 h 10020"/>
              <a:gd name="connsiteX3" fmla="*/ 0 w 10000"/>
              <a:gd name="connsiteY3" fmla="*/ 1677 h 10020"/>
              <a:gd name="connsiteX0" fmla="*/ 0 w 10000"/>
              <a:gd name="connsiteY0" fmla="*/ 1677 h 10020"/>
              <a:gd name="connsiteX1" fmla="*/ 5273 w 10000"/>
              <a:gd name="connsiteY1" fmla="*/ 519 h 10020"/>
              <a:gd name="connsiteX2" fmla="*/ 5273 w 10000"/>
              <a:gd name="connsiteY2" fmla="*/ 519 h 10020"/>
              <a:gd name="connsiteX3" fmla="*/ 10000 w 10000"/>
              <a:gd name="connsiteY3" fmla="*/ 1677 h 10020"/>
              <a:gd name="connsiteX4" fmla="*/ 10000 w 10000"/>
              <a:gd name="connsiteY4" fmla="*/ 8343 h 10020"/>
              <a:gd name="connsiteX5" fmla="*/ 6708 w 10000"/>
              <a:gd name="connsiteY5" fmla="*/ 9531 h 10020"/>
              <a:gd name="connsiteX6" fmla="*/ 3947 w 10000"/>
              <a:gd name="connsiteY6" fmla="*/ 9501 h 10020"/>
              <a:gd name="connsiteX7" fmla="*/ 0 w 10000"/>
              <a:gd name="connsiteY7" fmla="*/ 8343 h 10020"/>
              <a:gd name="connsiteX8" fmla="*/ 0 w 10000"/>
              <a:gd name="connsiteY8" fmla="*/ 1677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20" stroke="0" extrusionOk="0">
                <a:moveTo>
                  <a:pt x="0" y="1677"/>
                </a:moveTo>
                <a:cubicBezTo>
                  <a:pt x="0" y="878"/>
                  <a:pt x="1701" y="191"/>
                  <a:pt x="4055" y="40"/>
                </a:cubicBezTo>
                <a:cubicBezTo>
                  <a:pt x="4679" y="0"/>
                  <a:pt x="5321" y="0"/>
                  <a:pt x="5945" y="40"/>
                </a:cubicBezTo>
                <a:cubicBezTo>
                  <a:pt x="8299" y="191"/>
                  <a:pt x="10000" y="878"/>
                  <a:pt x="10000" y="1677"/>
                </a:cubicBezTo>
                <a:lnTo>
                  <a:pt x="10000" y="8343"/>
                </a:lnTo>
                <a:cubicBezTo>
                  <a:pt x="10000" y="9142"/>
                  <a:pt x="8299" y="9829"/>
                  <a:pt x="5945" y="9980"/>
                </a:cubicBezTo>
                <a:cubicBezTo>
                  <a:pt x="5321" y="10020"/>
                  <a:pt x="4679" y="10020"/>
                  <a:pt x="4055" y="9980"/>
                </a:cubicBezTo>
                <a:cubicBezTo>
                  <a:pt x="1701" y="9829"/>
                  <a:pt x="0" y="9142"/>
                  <a:pt x="0" y="8343"/>
                </a:cubicBezTo>
                <a:lnTo>
                  <a:pt x="0" y="1677"/>
                </a:lnTo>
                <a:close/>
              </a:path>
              <a:path w="10000" h="10020" fill="none" extrusionOk="0">
                <a:moveTo>
                  <a:pt x="10000" y="1677"/>
                </a:moveTo>
                <a:cubicBezTo>
                  <a:pt x="10000" y="2476"/>
                  <a:pt x="8209" y="2709"/>
                  <a:pt x="5855" y="2860"/>
                </a:cubicBezTo>
                <a:cubicBezTo>
                  <a:pt x="5231" y="2900"/>
                  <a:pt x="4479" y="2942"/>
                  <a:pt x="3855" y="2902"/>
                </a:cubicBezTo>
                <a:cubicBezTo>
                  <a:pt x="1501" y="2751"/>
                  <a:pt x="0" y="2476"/>
                  <a:pt x="0" y="1677"/>
                </a:cubicBezTo>
              </a:path>
              <a:path w="10000" h="10020" fill="none">
                <a:moveTo>
                  <a:pt x="0" y="1677"/>
                </a:moveTo>
                <a:cubicBezTo>
                  <a:pt x="0" y="878"/>
                  <a:pt x="2919" y="670"/>
                  <a:pt x="5273" y="519"/>
                </a:cubicBezTo>
                <a:lnTo>
                  <a:pt x="5273" y="519"/>
                </a:lnTo>
                <a:cubicBezTo>
                  <a:pt x="7627" y="670"/>
                  <a:pt x="10000" y="878"/>
                  <a:pt x="10000" y="1677"/>
                </a:cubicBezTo>
                <a:lnTo>
                  <a:pt x="10000" y="8343"/>
                </a:lnTo>
                <a:cubicBezTo>
                  <a:pt x="10000" y="9142"/>
                  <a:pt x="9062" y="9380"/>
                  <a:pt x="6708" y="9531"/>
                </a:cubicBezTo>
                <a:cubicBezTo>
                  <a:pt x="6084" y="9571"/>
                  <a:pt x="4571" y="9541"/>
                  <a:pt x="3947" y="9501"/>
                </a:cubicBezTo>
                <a:cubicBezTo>
                  <a:pt x="1593" y="9350"/>
                  <a:pt x="0" y="9142"/>
                  <a:pt x="0" y="8343"/>
                </a:cubicBezTo>
                <a:lnTo>
                  <a:pt x="0" y="1677"/>
                </a:lnTo>
                <a:close/>
              </a:path>
            </a:pathLst>
          </a:custGeom>
          <a:noFill/>
          <a:ln w="38100">
            <a:solidFill>
              <a:schemeClr val="accent3"/>
            </a:solidFill>
            <a:prstDash val="solid"/>
            <a:round/>
            <a:headEnd/>
            <a:tailEnd/>
          </a:ln>
        </p:spPr>
        <p:txBody>
          <a:bodyPr anchor="ctr"/>
          <a:lstStyle/>
          <a:p>
            <a:pPr algn="ctr"/>
            <a:endParaRPr lang="en-US"/>
          </a:p>
        </p:txBody>
      </p:sp>
      <p:sp>
        <p:nvSpPr>
          <p:cNvPr id="26633" name="Rectangle 54"/>
          <p:cNvSpPr>
            <a:spLocks noChangeArrowheads="1"/>
          </p:cNvSpPr>
          <p:nvPr/>
        </p:nvSpPr>
        <p:spPr bwMode="auto">
          <a:xfrm>
            <a:off x="3657600" y="1428004"/>
            <a:ext cx="5580002" cy="584775"/>
          </a:xfrm>
          <a:prstGeom prst="rect">
            <a:avLst/>
          </a:prstGeom>
          <a:solidFill>
            <a:schemeClr val="bg1"/>
          </a:solidFill>
          <a:ln w="9525">
            <a:noFill/>
            <a:miter lim="800000"/>
            <a:headEnd/>
            <a:tailEnd/>
          </a:ln>
        </p:spPr>
        <p:txBody>
          <a:bodyPr wrap="square">
            <a:spAutoFit/>
          </a:bodyPr>
          <a:lstStyle/>
          <a:p>
            <a:r>
              <a:rPr lang="ru-RU" sz="1600" b="1" dirty="0">
                <a:solidFill>
                  <a:schemeClr val="accent5">
                    <a:lumMod val="75000"/>
                  </a:schemeClr>
                </a:solidFill>
                <a:latin typeface="Century Gothic" panose="020B0502020202020204" pitchFamily="34" charset="0"/>
              </a:rPr>
              <a:t>Экстракт дрожжей </a:t>
            </a:r>
            <a:r>
              <a:rPr lang="en-US" sz="1600" b="1" dirty="0">
                <a:solidFill>
                  <a:schemeClr val="accent5">
                    <a:lumMod val="75000"/>
                  </a:schemeClr>
                </a:solidFill>
                <a:latin typeface="Century Gothic" panose="020B0502020202020204" pitchFamily="34" charset="0"/>
              </a:rPr>
              <a:t> </a:t>
            </a:r>
            <a:r>
              <a:rPr lang="ru-RU" sz="1600" dirty="0">
                <a:solidFill>
                  <a:schemeClr val="accent5">
                    <a:lumMod val="75000"/>
                  </a:schemeClr>
                </a:solidFill>
                <a:latin typeface="Century Gothic" panose="020B0502020202020204" pitchFamily="34" charset="0"/>
              </a:rPr>
              <a:t>на основе </a:t>
            </a:r>
            <a:r>
              <a:rPr lang="en-US" sz="1600" dirty="0">
                <a:solidFill>
                  <a:schemeClr val="accent5">
                    <a:lumMod val="75000"/>
                  </a:schemeClr>
                </a:solidFill>
                <a:latin typeface="Century Gothic" panose="020B0502020202020204" pitchFamily="34" charset="0"/>
              </a:rPr>
              <a:t>“</a:t>
            </a:r>
            <a:r>
              <a:rPr lang="en-US" sz="1600" b="1" dirty="0">
                <a:solidFill>
                  <a:schemeClr val="accent3"/>
                </a:solidFill>
                <a:latin typeface="Century Gothic" panose="020B0502020202020204" pitchFamily="34" charset="0"/>
              </a:rPr>
              <a:t>Hair Keratin System™</a:t>
            </a:r>
            <a:r>
              <a:rPr lang="en-US" sz="1600" b="1" dirty="0">
                <a:solidFill>
                  <a:schemeClr val="accent5">
                    <a:lumMod val="75000"/>
                  </a:schemeClr>
                </a:solidFill>
                <a:latin typeface="Century Gothic" panose="020B0502020202020204" pitchFamily="34" charset="0"/>
              </a:rPr>
              <a:t>” </a:t>
            </a:r>
            <a:r>
              <a:rPr lang="ru-RU" sz="1600" dirty="0">
                <a:solidFill>
                  <a:schemeClr val="accent5">
                    <a:lumMod val="75000"/>
                  </a:schemeClr>
                </a:solidFill>
                <a:latin typeface="Century Gothic" panose="020B0502020202020204" pitchFamily="34" charset="0"/>
              </a:rPr>
              <a:t>для сильных и здоровых волос</a:t>
            </a:r>
            <a:r>
              <a:rPr lang="en-US" sz="1600" dirty="0">
                <a:solidFill>
                  <a:schemeClr val="accent5">
                    <a:lumMod val="75000"/>
                  </a:schemeClr>
                </a:solidFill>
                <a:latin typeface="Century Gothic" panose="020B0502020202020204" pitchFamily="34" charset="0"/>
              </a:rPr>
              <a:t>.</a:t>
            </a:r>
            <a:r>
              <a:rPr lang="en-US" sz="1600" b="1" dirty="0">
                <a:solidFill>
                  <a:schemeClr val="accent5">
                    <a:lumMod val="75000"/>
                  </a:schemeClr>
                </a:solidFill>
                <a:latin typeface="Century Gothic" panose="020B0502020202020204" pitchFamily="34" charset="0"/>
              </a:rPr>
              <a:t> </a:t>
            </a:r>
            <a:endParaRPr lang="en-US" sz="1600" dirty="0">
              <a:solidFill>
                <a:schemeClr val="accent5">
                  <a:lumMod val="75000"/>
                </a:schemeClr>
              </a:solidFill>
              <a:latin typeface="Century Gothic" panose="020B0502020202020204" pitchFamily="34" charset="0"/>
            </a:endParaRPr>
          </a:p>
        </p:txBody>
      </p:sp>
      <p:pic>
        <p:nvPicPr>
          <p:cNvPr id="91" name="Picture 1">
            <a:hlinkClick r:id="rId3" action="ppaction://hlinksldjump"/>
          </p:cNvPr>
          <p:cNvPicPr>
            <a:picLocks noChangeAspect="1" noChangeArrowheads="1"/>
          </p:cNvPicPr>
          <p:nvPr/>
        </p:nvPicPr>
        <p:blipFill>
          <a:blip r:embed="rId4" cstate="email">
            <a:grayscl/>
            <a:extLst>
              <a:ext uri="{28A0092B-C50C-407E-A947-70E740481C1C}">
                <a14:useLocalDpi xmlns:a14="http://schemas.microsoft.com/office/drawing/2010/main" val="0"/>
              </a:ext>
            </a:extLst>
          </a:blip>
          <a:srcRect/>
          <a:stretch>
            <a:fillRect/>
          </a:stretch>
        </p:blipFill>
        <p:spPr bwMode="auto">
          <a:xfrm>
            <a:off x="2536233" y="4648200"/>
            <a:ext cx="1292225" cy="1240536"/>
          </a:xfrm>
          <a:prstGeom prst="roundRect">
            <a:avLst>
              <a:gd name="adj" fmla="val 50000"/>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6" name="Flowchart: Connector 35"/>
          <p:cNvSpPr/>
          <p:nvPr/>
        </p:nvSpPr>
        <p:spPr bwMode="auto">
          <a:xfrm flipH="1">
            <a:off x="2519517" y="2133601"/>
            <a:ext cx="1235916" cy="1166661"/>
          </a:xfrm>
          <a:prstGeom prst="flowChartConnector">
            <a:avLst/>
          </a:prstGeom>
          <a:blipFill dpi="0" rotWithShape="1">
            <a:blip r:embed="rId5" cstate="email">
              <a:grayscl/>
              <a:extLst>
                <a:ext uri="{28A0092B-C50C-407E-A947-70E740481C1C}">
                  <a14:useLocalDpi xmlns:a14="http://schemas.microsoft.com/office/drawing/2010/main" val="0"/>
                </a:ext>
              </a:extLst>
            </a:blip>
            <a:srcRect/>
            <a:stretch>
              <a:fillRect l="-20000" t="-6000" r="-35000" b="-4000"/>
            </a:stretch>
          </a:blipFill>
          <a:ln w="9525" cap="flat" cmpd="sng" algn="ctr">
            <a:noFill/>
            <a:prstDash val="solid"/>
            <a:round/>
            <a:headEnd type="none" w="med" len="med"/>
            <a:tailEnd type="none" w="med" len="med"/>
          </a:ln>
          <a:effectLst/>
          <a:scene3d>
            <a:camera prst="orthographicFront"/>
            <a:lightRig rig="contrasting" dir="t">
              <a:rot lat="0" lon="0" rev="4200000"/>
            </a:lightRig>
          </a:scene3d>
          <a:sp3d prstMaterial="plastic">
            <a:bevelT w="381000" h="114300" prst="relaxedInset"/>
          </a:sp3d>
        </p:spPr>
        <p:txBody>
          <a:bodyPr/>
          <a:lstStyle/>
          <a:p>
            <a:pPr eaLnBrk="0" hangingPunct="0">
              <a:defRPr/>
            </a:pPr>
            <a:endParaRPr lang="en-US" sz="2400">
              <a:latin typeface="Arial" charset="0"/>
              <a:ea typeface="ヒラギノ角ゴ Pro W3" pitchFamily="48" charset="-128"/>
              <a:cs typeface="Arial" charset="0"/>
            </a:endParaRPr>
          </a:p>
        </p:txBody>
      </p:sp>
      <p:sp>
        <p:nvSpPr>
          <p:cNvPr id="90" name="TextBox 52"/>
          <p:cNvSpPr txBox="1">
            <a:spLocks noChangeArrowheads="1"/>
          </p:cNvSpPr>
          <p:nvPr/>
        </p:nvSpPr>
        <p:spPr bwMode="auto">
          <a:xfrm rot="16200000">
            <a:off x="2172086" y="2525194"/>
            <a:ext cx="533400" cy="261937"/>
          </a:xfrm>
          <a:prstGeom prst="rect">
            <a:avLst/>
          </a:prstGeom>
          <a:solidFill>
            <a:schemeClr val="bg1"/>
          </a:solidFill>
          <a:ln w="9525">
            <a:solidFill>
              <a:schemeClr val="bg1">
                <a:lumMod val="50000"/>
              </a:schemeClr>
            </a:solidFill>
            <a:miter lim="800000"/>
            <a:headEnd/>
            <a:tailEnd/>
          </a:ln>
        </p:spPr>
        <p:txBody>
          <a:bodyPr anchor="ctr">
            <a:spAutoFit/>
          </a:bodyPr>
          <a:lstStyle/>
          <a:p>
            <a:pPr algn="ctr">
              <a:spcBef>
                <a:spcPct val="20000"/>
              </a:spcBef>
              <a:defRPr/>
            </a:pPr>
            <a:r>
              <a:rPr lang="en-US" sz="1100" dirty="0">
                <a:latin typeface="Arial" charset="0"/>
                <a:cs typeface="Arial" charset="0"/>
              </a:rPr>
              <a:t>IRS</a:t>
            </a:r>
          </a:p>
        </p:txBody>
      </p:sp>
      <p:sp>
        <p:nvSpPr>
          <p:cNvPr id="40" name="Flowchart: Connector 39"/>
          <p:cNvSpPr/>
          <p:nvPr/>
        </p:nvSpPr>
        <p:spPr bwMode="auto">
          <a:xfrm>
            <a:off x="2592118" y="3348509"/>
            <a:ext cx="1196653" cy="1247152"/>
          </a:xfrm>
          <a:prstGeom prst="flowChartConnector">
            <a:avLst/>
          </a:prstGeom>
          <a:blipFill dpi="0" rotWithShape="1">
            <a:blip r:embed="rId6" cstate="email">
              <a:grayscl/>
              <a:extLst>
                <a:ext uri="{28A0092B-C50C-407E-A947-70E740481C1C}">
                  <a14:useLocalDpi xmlns:a14="http://schemas.microsoft.com/office/drawing/2010/main" val="0"/>
                </a:ext>
              </a:extLst>
            </a:blip>
            <a:srcRect/>
            <a:stretch>
              <a:fillRect l="-52000" t="-6000" r="-15000" b="-4000"/>
            </a:stretch>
          </a:blipFill>
          <a:ln w="9525" cap="flat" cmpd="sng" algn="ctr">
            <a:noFill/>
            <a:prstDash val="solid"/>
            <a:round/>
            <a:headEnd type="none" w="med" len="med"/>
            <a:tailEnd type="none" w="med" len="med"/>
          </a:ln>
          <a:effectLst/>
          <a:scene3d>
            <a:camera prst="orthographicFront"/>
            <a:lightRig rig="contrasting" dir="t">
              <a:rot lat="0" lon="0" rev="4200000"/>
            </a:lightRig>
          </a:scene3d>
          <a:sp3d prstMaterial="plastic">
            <a:bevelT w="381000" h="114300" prst="relaxedInset"/>
          </a:sp3d>
        </p:spPr>
        <p:txBody>
          <a:bodyPr/>
          <a:lstStyle/>
          <a:p>
            <a:pPr eaLnBrk="0" hangingPunct="0">
              <a:defRPr/>
            </a:pPr>
            <a:endParaRPr lang="en-US" sz="2400">
              <a:latin typeface="Arial" charset="0"/>
              <a:ea typeface="ヒラギノ角ゴ Pro W3" pitchFamily="48" charset="-128"/>
              <a:cs typeface="Arial" charset="0"/>
            </a:endParaRPr>
          </a:p>
        </p:txBody>
      </p:sp>
      <p:cxnSp>
        <p:nvCxnSpPr>
          <p:cNvPr id="26646" name="Straight Arrow Connector 33"/>
          <p:cNvCxnSpPr>
            <a:cxnSpLocks noChangeShapeType="1"/>
          </p:cNvCxnSpPr>
          <p:nvPr/>
        </p:nvCxnSpPr>
        <p:spPr bwMode="auto">
          <a:xfrm flipV="1">
            <a:off x="2917232" y="2640288"/>
            <a:ext cx="396000" cy="3175"/>
          </a:xfrm>
          <a:prstGeom prst="straightConnector1">
            <a:avLst/>
          </a:prstGeom>
          <a:noFill/>
          <a:ln w="57150">
            <a:solidFill>
              <a:schemeClr val="accent3"/>
            </a:solidFill>
            <a:prstDash val="solid"/>
            <a:round/>
            <a:headEnd/>
            <a:tailEnd/>
          </a:ln>
        </p:spPr>
      </p:cxnSp>
      <p:cxnSp>
        <p:nvCxnSpPr>
          <p:cNvPr id="26647" name="Straight Arrow Connector 36"/>
          <p:cNvCxnSpPr>
            <a:cxnSpLocks noChangeShapeType="1"/>
          </p:cNvCxnSpPr>
          <p:nvPr/>
        </p:nvCxnSpPr>
        <p:spPr bwMode="auto">
          <a:xfrm flipV="1">
            <a:off x="2891432" y="4021123"/>
            <a:ext cx="864000" cy="4762"/>
          </a:xfrm>
          <a:prstGeom prst="straightConnector1">
            <a:avLst/>
          </a:prstGeom>
          <a:noFill/>
          <a:ln w="57150" algn="ctr">
            <a:solidFill>
              <a:schemeClr val="accent4"/>
            </a:solidFill>
            <a:round/>
            <a:headEnd type="triangle" w="sm" len="sm"/>
            <a:tailEnd type="triangle" w="sm" len="sm"/>
          </a:ln>
        </p:spPr>
      </p:cxnSp>
      <p:sp>
        <p:nvSpPr>
          <p:cNvPr id="26649" name="Freeform 56"/>
          <p:cNvSpPr>
            <a:spLocks/>
          </p:cNvSpPr>
          <p:nvPr/>
        </p:nvSpPr>
        <p:spPr bwMode="auto">
          <a:xfrm>
            <a:off x="2634660" y="4901767"/>
            <a:ext cx="1037363" cy="860701"/>
          </a:xfrm>
          <a:custGeom>
            <a:avLst/>
            <a:gdLst>
              <a:gd name="T0" fmla="*/ 1151553 w 1178278"/>
              <a:gd name="T1" fmla="*/ 25628 h 958144"/>
              <a:gd name="T2" fmla="*/ 1168425 w 1178278"/>
              <a:gd name="T3" fmla="*/ 461259 h 958144"/>
              <a:gd name="T4" fmla="*/ 1117807 w 1178278"/>
              <a:gd name="T5" fmla="*/ 760224 h 958144"/>
              <a:gd name="T6" fmla="*/ 898462 w 1178278"/>
              <a:gd name="T7" fmla="*/ 922518 h 958144"/>
              <a:gd name="T8" fmla="*/ 662246 w 1178278"/>
              <a:gd name="T9" fmla="*/ 871268 h 958144"/>
              <a:gd name="T10" fmla="*/ 636940 w 1178278"/>
              <a:gd name="T11" fmla="*/ 657722 h 958144"/>
              <a:gd name="T12" fmla="*/ 687556 w 1178278"/>
              <a:gd name="T13" fmla="*/ 461259 h 958144"/>
              <a:gd name="T14" fmla="*/ 577886 w 1178278"/>
              <a:gd name="T15" fmla="*/ 256255 h 958144"/>
              <a:gd name="T16" fmla="*/ 485083 w 1178278"/>
              <a:gd name="T17" fmla="*/ 392923 h 958144"/>
              <a:gd name="T18" fmla="*/ 476651 w 1178278"/>
              <a:gd name="T19" fmla="*/ 529594 h 958144"/>
              <a:gd name="T20" fmla="*/ 535701 w 1178278"/>
              <a:gd name="T21" fmla="*/ 632095 h 958144"/>
              <a:gd name="T22" fmla="*/ 544142 w 1178278"/>
              <a:gd name="T23" fmla="*/ 820016 h 958144"/>
              <a:gd name="T24" fmla="*/ 451340 w 1178278"/>
              <a:gd name="T25" fmla="*/ 948145 h 958144"/>
              <a:gd name="T26" fmla="*/ 257309 w 1178278"/>
              <a:gd name="T27" fmla="*/ 931062 h 958144"/>
              <a:gd name="T28" fmla="*/ 80145 w 1178278"/>
              <a:gd name="T29" fmla="*/ 743140 h 958144"/>
              <a:gd name="T30" fmla="*/ 4221 w 1178278"/>
              <a:gd name="T31" fmla="*/ 444175 h 958144"/>
              <a:gd name="T32" fmla="*/ 54841 w 1178278"/>
              <a:gd name="T33" fmla="*/ 0 h 9581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78278"/>
              <a:gd name="T52" fmla="*/ 0 h 958144"/>
              <a:gd name="T53" fmla="*/ 1178278 w 1178278"/>
              <a:gd name="T54" fmla="*/ 958144 h 958144"/>
              <a:gd name="connsiteX0" fmla="*/ 1155700 w 1178278"/>
              <a:gd name="connsiteY0" fmla="*/ 25400 h 935566"/>
              <a:gd name="connsiteX1" fmla="*/ 1172633 w 1178278"/>
              <a:gd name="connsiteY1" fmla="*/ 457200 h 935566"/>
              <a:gd name="connsiteX2" fmla="*/ 1121833 w 1178278"/>
              <a:gd name="connsiteY2" fmla="*/ 753533 h 935566"/>
              <a:gd name="connsiteX3" fmla="*/ 901700 w 1178278"/>
              <a:gd name="connsiteY3" fmla="*/ 914400 h 935566"/>
              <a:gd name="connsiteX4" fmla="*/ 664633 w 1178278"/>
              <a:gd name="connsiteY4" fmla="*/ 863600 h 935566"/>
              <a:gd name="connsiteX5" fmla="*/ 639233 w 1178278"/>
              <a:gd name="connsiteY5" fmla="*/ 651933 h 935566"/>
              <a:gd name="connsiteX6" fmla="*/ 690033 w 1178278"/>
              <a:gd name="connsiteY6" fmla="*/ 457200 h 935566"/>
              <a:gd name="connsiteX7" fmla="*/ 579967 w 1178278"/>
              <a:gd name="connsiteY7" fmla="*/ 254000 h 935566"/>
              <a:gd name="connsiteX8" fmla="*/ 486833 w 1178278"/>
              <a:gd name="connsiteY8" fmla="*/ 389466 h 935566"/>
              <a:gd name="connsiteX9" fmla="*/ 478367 w 1178278"/>
              <a:gd name="connsiteY9" fmla="*/ 524933 h 935566"/>
              <a:gd name="connsiteX10" fmla="*/ 537633 w 1178278"/>
              <a:gd name="connsiteY10" fmla="*/ 626533 h 935566"/>
              <a:gd name="connsiteX11" fmla="*/ 546100 w 1178278"/>
              <a:gd name="connsiteY11" fmla="*/ 812800 h 935566"/>
              <a:gd name="connsiteX12" fmla="*/ 258233 w 1178278"/>
              <a:gd name="connsiteY12" fmla="*/ 922866 h 935566"/>
              <a:gd name="connsiteX13" fmla="*/ 80433 w 1178278"/>
              <a:gd name="connsiteY13" fmla="*/ 736600 h 935566"/>
              <a:gd name="connsiteX14" fmla="*/ 4233 w 1178278"/>
              <a:gd name="connsiteY14" fmla="*/ 440266 h 935566"/>
              <a:gd name="connsiteX15" fmla="*/ 55033 w 1178278"/>
              <a:gd name="connsiteY15" fmla="*/ 0 h 935566"/>
              <a:gd name="connsiteX0" fmla="*/ 1155700 w 1178278"/>
              <a:gd name="connsiteY0" fmla="*/ 25400 h 932744"/>
              <a:gd name="connsiteX1" fmla="*/ 1172633 w 1178278"/>
              <a:gd name="connsiteY1" fmla="*/ 457200 h 932744"/>
              <a:gd name="connsiteX2" fmla="*/ 1121833 w 1178278"/>
              <a:gd name="connsiteY2" fmla="*/ 753533 h 932744"/>
              <a:gd name="connsiteX3" fmla="*/ 901700 w 1178278"/>
              <a:gd name="connsiteY3" fmla="*/ 914400 h 932744"/>
              <a:gd name="connsiteX4" fmla="*/ 664633 w 1178278"/>
              <a:gd name="connsiteY4" fmla="*/ 863600 h 932744"/>
              <a:gd name="connsiteX5" fmla="*/ 639233 w 1178278"/>
              <a:gd name="connsiteY5" fmla="*/ 651933 h 932744"/>
              <a:gd name="connsiteX6" fmla="*/ 690033 w 1178278"/>
              <a:gd name="connsiteY6" fmla="*/ 457200 h 932744"/>
              <a:gd name="connsiteX7" fmla="*/ 579967 w 1178278"/>
              <a:gd name="connsiteY7" fmla="*/ 254000 h 932744"/>
              <a:gd name="connsiteX8" fmla="*/ 486833 w 1178278"/>
              <a:gd name="connsiteY8" fmla="*/ 389466 h 932744"/>
              <a:gd name="connsiteX9" fmla="*/ 478367 w 1178278"/>
              <a:gd name="connsiteY9" fmla="*/ 524933 h 932744"/>
              <a:gd name="connsiteX10" fmla="*/ 537633 w 1178278"/>
              <a:gd name="connsiteY10" fmla="*/ 626533 h 932744"/>
              <a:gd name="connsiteX11" fmla="*/ 546100 w 1178278"/>
              <a:gd name="connsiteY11" fmla="*/ 812800 h 932744"/>
              <a:gd name="connsiteX12" fmla="*/ 258233 w 1178278"/>
              <a:gd name="connsiteY12" fmla="*/ 922866 h 932744"/>
              <a:gd name="connsiteX13" fmla="*/ 80433 w 1178278"/>
              <a:gd name="connsiteY13" fmla="*/ 736600 h 932744"/>
              <a:gd name="connsiteX14" fmla="*/ 4233 w 1178278"/>
              <a:gd name="connsiteY14" fmla="*/ 440266 h 932744"/>
              <a:gd name="connsiteX15" fmla="*/ 55033 w 1178278"/>
              <a:gd name="connsiteY15" fmla="*/ 0 h 932744"/>
              <a:gd name="connsiteX0" fmla="*/ 1155700 w 1178278"/>
              <a:gd name="connsiteY0" fmla="*/ 25400 h 932744"/>
              <a:gd name="connsiteX1" fmla="*/ 1172633 w 1178278"/>
              <a:gd name="connsiteY1" fmla="*/ 457200 h 932744"/>
              <a:gd name="connsiteX2" fmla="*/ 1121833 w 1178278"/>
              <a:gd name="connsiteY2" fmla="*/ 753533 h 932744"/>
              <a:gd name="connsiteX3" fmla="*/ 901700 w 1178278"/>
              <a:gd name="connsiteY3" fmla="*/ 914400 h 932744"/>
              <a:gd name="connsiteX4" fmla="*/ 664633 w 1178278"/>
              <a:gd name="connsiteY4" fmla="*/ 863600 h 932744"/>
              <a:gd name="connsiteX5" fmla="*/ 639233 w 1178278"/>
              <a:gd name="connsiteY5" fmla="*/ 651933 h 932744"/>
              <a:gd name="connsiteX6" fmla="*/ 690033 w 1178278"/>
              <a:gd name="connsiteY6" fmla="*/ 457200 h 932744"/>
              <a:gd name="connsiteX7" fmla="*/ 579967 w 1178278"/>
              <a:gd name="connsiteY7" fmla="*/ 254000 h 932744"/>
              <a:gd name="connsiteX8" fmla="*/ 486833 w 1178278"/>
              <a:gd name="connsiteY8" fmla="*/ 389466 h 932744"/>
              <a:gd name="connsiteX9" fmla="*/ 478367 w 1178278"/>
              <a:gd name="connsiteY9" fmla="*/ 524933 h 932744"/>
              <a:gd name="connsiteX10" fmla="*/ 546100 w 1178278"/>
              <a:gd name="connsiteY10" fmla="*/ 812800 h 932744"/>
              <a:gd name="connsiteX11" fmla="*/ 258233 w 1178278"/>
              <a:gd name="connsiteY11" fmla="*/ 922866 h 932744"/>
              <a:gd name="connsiteX12" fmla="*/ 80433 w 1178278"/>
              <a:gd name="connsiteY12" fmla="*/ 736600 h 932744"/>
              <a:gd name="connsiteX13" fmla="*/ 4233 w 1178278"/>
              <a:gd name="connsiteY13" fmla="*/ 440266 h 932744"/>
              <a:gd name="connsiteX14" fmla="*/ 55033 w 1178278"/>
              <a:gd name="connsiteY14" fmla="*/ 0 h 932744"/>
              <a:gd name="connsiteX0" fmla="*/ 1151901 w 1170336"/>
              <a:gd name="connsiteY0" fmla="*/ 25400 h 922866"/>
              <a:gd name="connsiteX1" fmla="*/ 1168834 w 1170336"/>
              <a:gd name="connsiteY1" fmla="*/ 457200 h 922866"/>
              <a:gd name="connsiteX2" fmla="*/ 1118034 w 1170336"/>
              <a:gd name="connsiteY2" fmla="*/ 753533 h 922866"/>
              <a:gd name="connsiteX3" fmla="*/ 897901 w 1170336"/>
              <a:gd name="connsiteY3" fmla="*/ 914400 h 922866"/>
              <a:gd name="connsiteX4" fmla="*/ 660834 w 1170336"/>
              <a:gd name="connsiteY4" fmla="*/ 863600 h 922866"/>
              <a:gd name="connsiteX5" fmla="*/ 635434 w 1170336"/>
              <a:gd name="connsiteY5" fmla="*/ 651933 h 922866"/>
              <a:gd name="connsiteX6" fmla="*/ 686234 w 1170336"/>
              <a:gd name="connsiteY6" fmla="*/ 457200 h 922866"/>
              <a:gd name="connsiteX7" fmla="*/ 616623 w 1170336"/>
              <a:gd name="connsiteY7" fmla="*/ 157599 h 922866"/>
              <a:gd name="connsiteX8" fmla="*/ 483034 w 1170336"/>
              <a:gd name="connsiteY8" fmla="*/ 389466 h 922866"/>
              <a:gd name="connsiteX9" fmla="*/ 474568 w 1170336"/>
              <a:gd name="connsiteY9" fmla="*/ 524933 h 922866"/>
              <a:gd name="connsiteX10" fmla="*/ 542301 w 1170336"/>
              <a:gd name="connsiteY10" fmla="*/ 812800 h 922866"/>
              <a:gd name="connsiteX11" fmla="*/ 254434 w 1170336"/>
              <a:gd name="connsiteY11" fmla="*/ 922866 h 922866"/>
              <a:gd name="connsiteX12" fmla="*/ 76634 w 1170336"/>
              <a:gd name="connsiteY12" fmla="*/ 736600 h 922866"/>
              <a:gd name="connsiteX13" fmla="*/ 434 w 1170336"/>
              <a:gd name="connsiteY13" fmla="*/ 440266 h 922866"/>
              <a:gd name="connsiteX14" fmla="*/ 51234 w 1170336"/>
              <a:gd name="connsiteY14" fmla="*/ 0 h 922866"/>
              <a:gd name="connsiteX0" fmla="*/ 1151901 w 1170335"/>
              <a:gd name="connsiteY0" fmla="*/ 25400 h 922866"/>
              <a:gd name="connsiteX1" fmla="*/ 1168834 w 1170335"/>
              <a:gd name="connsiteY1" fmla="*/ 457200 h 922866"/>
              <a:gd name="connsiteX2" fmla="*/ 1118034 w 1170335"/>
              <a:gd name="connsiteY2" fmla="*/ 753533 h 922866"/>
              <a:gd name="connsiteX3" fmla="*/ 897901 w 1170335"/>
              <a:gd name="connsiteY3" fmla="*/ 914400 h 922866"/>
              <a:gd name="connsiteX4" fmla="*/ 660834 w 1170335"/>
              <a:gd name="connsiteY4" fmla="*/ 863600 h 922866"/>
              <a:gd name="connsiteX5" fmla="*/ 635434 w 1170335"/>
              <a:gd name="connsiteY5" fmla="*/ 651933 h 922866"/>
              <a:gd name="connsiteX6" fmla="*/ 686234 w 1170335"/>
              <a:gd name="connsiteY6" fmla="*/ 457200 h 922866"/>
              <a:gd name="connsiteX7" fmla="*/ 616623 w 1170335"/>
              <a:gd name="connsiteY7" fmla="*/ 157599 h 922866"/>
              <a:gd name="connsiteX8" fmla="*/ 483034 w 1170335"/>
              <a:gd name="connsiteY8" fmla="*/ 389466 h 922866"/>
              <a:gd name="connsiteX9" fmla="*/ 474568 w 1170335"/>
              <a:gd name="connsiteY9" fmla="*/ 524933 h 922866"/>
              <a:gd name="connsiteX10" fmla="*/ 542301 w 1170335"/>
              <a:gd name="connsiteY10" fmla="*/ 812800 h 922866"/>
              <a:gd name="connsiteX11" fmla="*/ 305004 w 1170335"/>
              <a:gd name="connsiteY11" fmla="*/ 922866 h 922866"/>
              <a:gd name="connsiteX12" fmla="*/ 76634 w 1170335"/>
              <a:gd name="connsiteY12" fmla="*/ 736600 h 922866"/>
              <a:gd name="connsiteX13" fmla="*/ 434 w 1170335"/>
              <a:gd name="connsiteY13" fmla="*/ 440266 h 922866"/>
              <a:gd name="connsiteX14" fmla="*/ 51234 w 1170335"/>
              <a:gd name="connsiteY14" fmla="*/ 0 h 922866"/>
              <a:gd name="connsiteX0" fmla="*/ 1151901 w 1170335"/>
              <a:gd name="connsiteY0" fmla="*/ 25400 h 925538"/>
              <a:gd name="connsiteX1" fmla="*/ 1168834 w 1170335"/>
              <a:gd name="connsiteY1" fmla="*/ 457200 h 925538"/>
              <a:gd name="connsiteX2" fmla="*/ 1118034 w 1170335"/>
              <a:gd name="connsiteY2" fmla="*/ 753533 h 925538"/>
              <a:gd name="connsiteX3" fmla="*/ 897901 w 1170335"/>
              <a:gd name="connsiteY3" fmla="*/ 914400 h 925538"/>
              <a:gd name="connsiteX4" fmla="*/ 681062 w 1170335"/>
              <a:gd name="connsiteY4" fmla="*/ 882880 h 925538"/>
              <a:gd name="connsiteX5" fmla="*/ 635434 w 1170335"/>
              <a:gd name="connsiteY5" fmla="*/ 651933 h 925538"/>
              <a:gd name="connsiteX6" fmla="*/ 686234 w 1170335"/>
              <a:gd name="connsiteY6" fmla="*/ 457200 h 925538"/>
              <a:gd name="connsiteX7" fmla="*/ 616623 w 1170335"/>
              <a:gd name="connsiteY7" fmla="*/ 157599 h 925538"/>
              <a:gd name="connsiteX8" fmla="*/ 483034 w 1170335"/>
              <a:gd name="connsiteY8" fmla="*/ 389466 h 925538"/>
              <a:gd name="connsiteX9" fmla="*/ 474568 w 1170335"/>
              <a:gd name="connsiteY9" fmla="*/ 524933 h 925538"/>
              <a:gd name="connsiteX10" fmla="*/ 542301 w 1170335"/>
              <a:gd name="connsiteY10" fmla="*/ 812800 h 925538"/>
              <a:gd name="connsiteX11" fmla="*/ 305004 w 1170335"/>
              <a:gd name="connsiteY11" fmla="*/ 922866 h 925538"/>
              <a:gd name="connsiteX12" fmla="*/ 76634 w 1170335"/>
              <a:gd name="connsiteY12" fmla="*/ 736600 h 925538"/>
              <a:gd name="connsiteX13" fmla="*/ 434 w 1170335"/>
              <a:gd name="connsiteY13" fmla="*/ 440266 h 925538"/>
              <a:gd name="connsiteX14" fmla="*/ 51234 w 1170335"/>
              <a:gd name="connsiteY14" fmla="*/ 0 h 92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70335" h="925538">
                <a:moveTo>
                  <a:pt x="1151901" y="25400"/>
                </a:moveTo>
                <a:cubicBezTo>
                  <a:pt x="1163190" y="180622"/>
                  <a:pt x="1174479" y="335844"/>
                  <a:pt x="1168834" y="457200"/>
                </a:cubicBezTo>
                <a:cubicBezTo>
                  <a:pt x="1163189" y="578556"/>
                  <a:pt x="1163189" y="677333"/>
                  <a:pt x="1118034" y="753533"/>
                </a:cubicBezTo>
                <a:cubicBezTo>
                  <a:pt x="1072879" y="829733"/>
                  <a:pt x="970730" y="892842"/>
                  <a:pt x="897901" y="914400"/>
                </a:cubicBezTo>
                <a:cubicBezTo>
                  <a:pt x="825072" y="935958"/>
                  <a:pt x="724806" y="926624"/>
                  <a:pt x="681062" y="882880"/>
                </a:cubicBezTo>
                <a:cubicBezTo>
                  <a:pt x="637318" y="839136"/>
                  <a:pt x="634572" y="722880"/>
                  <a:pt x="635434" y="651933"/>
                </a:cubicBezTo>
                <a:cubicBezTo>
                  <a:pt x="636296" y="580986"/>
                  <a:pt x="689369" y="539589"/>
                  <a:pt x="686234" y="457200"/>
                </a:cubicBezTo>
                <a:cubicBezTo>
                  <a:pt x="683099" y="374811"/>
                  <a:pt x="650490" y="168888"/>
                  <a:pt x="616623" y="157599"/>
                </a:cubicBezTo>
                <a:cubicBezTo>
                  <a:pt x="582756" y="146310"/>
                  <a:pt x="506710" y="328244"/>
                  <a:pt x="483034" y="389466"/>
                </a:cubicBezTo>
                <a:cubicBezTo>
                  <a:pt x="459358" y="450688"/>
                  <a:pt x="464690" y="454377"/>
                  <a:pt x="474568" y="524933"/>
                </a:cubicBezTo>
                <a:cubicBezTo>
                  <a:pt x="484446" y="595489"/>
                  <a:pt x="578990" y="746478"/>
                  <a:pt x="542301" y="812800"/>
                </a:cubicBezTo>
                <a:cubicBezTo>
                  <a:pt x="495734" y="862189"/>
                  <a:pt x="491615" y="918276"/>
                  <a:pt x="305004" y="922866"/>
                </a:cubicBezTo>
                <a:cubicBezTo>
                  <a:pt x="227393" y="910166"/>
                  <a:pt x="127396" y="817033"/>
                  <a:pt x="76634" y="736600"/>
                </a:cubicBezTo>
                <a:cubicBezTo>
                  <a:pt x="25872" y="656167"/>
                  <a:pt x="4667" y="563033"/>
                  <a:pt x="434" y="440266"/>
                </a:cubicBezTo>
                <a:cubicBezTo>
                  <a:pt x="-3799" y="317499"/>
                  <a:pt x="23717" y="158749"/>
                  <a:pt x="51234" y="0"/>
                </a:cubicBezTo>
              </a:path>
            </a:pathLst>
          </a:custGeom>
          <a:noFill/>
          <a:ln w="28575" cap="flat" cmpd="sng" algn="ctr">
            <a:solidFill>
              <a:schemeClr val="accent2"/>
            </a:solidFill>
            <a:prstDash val="solid"/>
            <a:round/>
            <a:headEnd type="triangle" w="sm" len="sm"/>
            <a:tailEnd type="triangle" w="sm" len="sm"/>
          </a:ln>
        </p:spPr>
        <p:txBody>
          <a:bodyPr/>
          <a:lstStyle/>
          <a:p>
            <a:endParaRPr lang="en-US"/>
          </a:p>
        </p:txBody>
      </p:sp>
      <p:sp>
        <p:nvSpPr>
          <p:cNvPr id="41" name="Rectangle 40"/>
          <p:cNvSpPr/>
          <p:nvPr/>
        </p:nvSpPr>
        <p:spPr>
          <a:xfrm>
            <a:off x="3907832" y="2057400"/>
            <a:ext cx="5159968" cy="3886200"/>
          </a:xfrm>
          <a:prstGeom prst="rect">
            <a:avLst/>
          </a:prstGeom>
          <a:solidFill>
            <a:srgbClr val="80A1B6">
              <a:alpha val="10000"/>
            </a:srgbClr>
          </a:solidFill>
          <a:ln>
            <a:solidFill>
              <a:srgbClr val="80A1B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26650" name="Rectangle 60"/>
          <p:cNvSpPr>
            <a:spLocks noChangeArrowheads="1"/>
          </p:cNvSpPr>
          <p:nvPr/>
        </p:nvSpPr>
        <p:spPr bwMode="auto">
          <a:xfrm>
            <a:off x="4953000" y="4604686"/>
            <a:ext cx="4173599" cy="424732"/>
          </a:xfrm>
          <a:prstGeom prst="rect">
            <a:avLst/>
          </a:prstGeom>
          <a:noFill/>
          <a:ln w="9525">
            <a:noFill/>
            <a:miter lim="800000"/>
            <a:headEnd/>
            <a:tailEnd/>
          </a:ln>
        </p:spPr>
        <p:txBody>
          <a:bodyPr wrap="square">
            <a:spAutoFit/>
          </a:bodyPr>
          <a:lstStyle/>
          <a:p>
            <a:pPr marL="0" lvl="1">
              <a:lnSpc>
                <a:spcPct val="90000"/>
              </a:lnSpc>
              <a:spcBef>
                <a:spcPts val="388"/>
              </a:spcBef>
            </a:pPr>
            <a:r>
              <a:rPr lang="ru-RU" sz="1200" dirty="0">
                <a:latin typeface="Century Gothic" panose="020B0502020202020204" pitchFamily="34" charset="0"/>
              </a:rPr>
              <a:t>Коллагенообразующая сеть. Ключевой маркер  для связи и укрепления волос в кожной капсуле.</a:t>
            </a:r>
            <a:endParaRPr lang="en-US" sz="1200" dirty="0">
              <a:latin typeface="Century Gothic" panose="020B0502020202020204" pitchFamily="34" charset="0"/>
            </a:endParaRPr>
          </a:p>
        </p:txBody>
      </p:sp>
      <p:sp>
        <p:nvSpPr>
          <p:cNvPr id="26651" name="TextBox 67"/>
          <p:cNvSpPr txBox="1">
            <a:spLocks noChangeArrowheads="1"/>
          </p:cNvSpPr>
          <p:nvPr/>
        </p:nvSpPr>
        <p:spPr bwMode="auto">
          <a:xfrm>
            <a:off x="4936567" y="3101370"/>
            <a:ext cx="4030068" cy="600164"/>
          </a:xfrm>
          <a:prstGeom prst="rect">
            <a:avLst/>
          </a:prstGeom>
          <a:noFill/>
          <a:ln w="9525">
            <a:noFill/>
            <a:miter lim="800000"/>
            <a:headEnd/>
            <a:tailEnd/>
          </a:ln>
        </p:spPr>
        <p:txBody>
          <a:bodyPr wrap="square">
            <a:spAutoFit/>
          </a:bodyPr>
          <a:lstStyle/>
          <a:p>
            <a:pPr>
              <a:spcBef>
                <a:spcPct val="20000"/>
              </a:spcBef>
            </a:pPr>
            <a:r>
              <a:rPr lang="ru-RU" sz="1100" dirty="0">
                <a:latin typeface="Century Gothic" panose="020B0502020202020204" pitchFamily="34" charset="0"/>
              </a:rPr>
              <a:t>Многофункциональный белок с вертикально-перекрестными связями, связанный с формой и структурой стержня волоса. </a:t>
            </a:r>
            <a:endParaRPr lang="en-US" sz="1100" dirty="0">
              <a:latin typeface="Century Gothic" panose="020B0502020202020204" pitchFamily="34" charset="0"/>
            </a:endParaRPr>
          </a:p>
        </p:txBody>
      </p:sp>
      <p:sp>
        <p:nvSpPr>
          <p:cNvPr id="26652" name="TextBox 67"/>
          <p:cNvSpPr txBox="1">
            <a:spLocks noChangeArrowheads="1"/>
          </p:cNvSpPr>
          <p:nvPr/>
        </p:nvSpPr>
        <p:spPr bwMode="auto">
          <a:xfrm>
            <a:off x="4913233" y="3621792"/>
            <a:ext cx="4114800" cy="461665"/>
          </a:xfrm>
          <a:prstGeom prst="rect">
            <a:avLst/>
          </a:prstGeom>
          <a:noFill/>
          <a:ln w="9525">
            <a:noFill/>
            <a:miter lim="800000"/>
            <a:headEnd/>
            <a:tailEnd/>
          </a:ln>
        </p:spPr>
        <p:txBody>
          <a:bodyPr wrap="square">
            <a:spAutoFit/>
          </a:bodyPr>
          <a:lstStyle/>
          <a:p>
            <a:pPr>
              <a:spcBef>
                <a:spcPct val="20000"/>
              </a:spcBef>
            </a:pPr>
            <a:r>
              <a:rPr lang="ru-RU" sz="1200" dirty="0">
                <a:latin typeface="Century Gothic" panose="020B0502020202020204" pitchFamily="34" charset="0"/>
              </a:rPr>
              <a:t>Кератин, участвует в ранних процессах кератинизиции.</a:t>
            </a:r>
            <a:endParaRPr lang="en-US" sz="1200" dirty="0">
              <a:latin typeface="Century Gothic" panose="020B0502020202020204" pitchFamily="34" charset="0"/>
            </a:endParaRPr>
          </a:p>
        </p:txBody>
      </p:sp>
      <p:sp>
        <p:nvSpPr>
          <p:cNvPr id="26653" name="TextBox 67"/>
          <p:cNvSpPr txBox="1">
            <a:spLocks noChangeArrowheads="1"/>
          </p:cNvSpPr>
          <p:nvPr/>
        </p:nvSpPr>
        <p:spPr bwMode="auto">
          <a:xfrm>
            <a:off x="4953000" y="4034136"/>
            <a:ext cx="4030068" cy="646331"/>
          </a:xfrm>
          <a:prstGeom prst="rect">
            <a:avLst/>
          </a:prstGeom>
          <a:noFill/>
          <a:ln w="9525">
            <a:noFill/>
            <a:miter lim="800000"/>
            <a:headEnd/>
            <a:tailEnd/>
          </a:ln>
        </p:spPr>
        <p:txBody>
          <a:bodyPr wrap="square">
            <a:spAutoFit/>
          </a:bodyPr>
          <a:lstStyle/>
          <a:p>
            <a:pPr>
              <a:spcBef>
                <a:spcPct val="20000"/>
              </a:spcBef>
            </a:pPr>
            <a:r>
              <a:rPr lang="ru-RU" sz="1200" dirty="0">
                <a:latin typeface="Century Gothic" panose="020B0502020202020204" pitchFamily="34" charset="0"/>
              </a:rPr>
              <a:t>Кератин участвует в поздних процессах кератинизации. Известно, что он связан с прочностью/хрупкостью волосяного стержня</a:t>
            </a:r>
            <a:r>
              <a:rPr lang="en-US" sz="1200" dirty="0">
                <a:latin typeface="Century Gothic" panose="020B0502020202020204" pitchFamily="34" charset="0"/>
              </a:rPr>
              <a:t>.</a:t>
            </a:r>
          </a:p>
        </p:txBody>
      </p:sp>
      <p:sp>
        <p:nvSpPr>
          <p:cNvPr id="26654" name="TextBox 38"/>
          <p:cNvSpPr txBox="1">
            <a:spLocks noChangeArrowheads="1"/>
          </p:cNvSpPr>
          <p:nvPr/>
        </p:nvSpPr>
        <p:spPr bwMode="auto">
          <a:xfrm>
            <a:off x="4936567" y="2459951"/>
            <a:ext cx="4173599" cy="769441"/>
          </a:xfrm>
          <a:prstGeom prst="rect">
            <a:avLst/>
          </a:prstGeom>
          <a:noFill/>
          <a:ln w="9525">
            <a:noFill/>
            <a:miter lim="800000"/>
            <a:headEnd/>
            <a:tailEnd/>
          </a:ln>
        </p:spPr>
        <p:txBody>
          <a:bodyPr wrap="square">
            <a:spAutoFit/>
          </a:bodyPr>
          <a:lstStyle/>
          <a:p>
            <a:pPr>
              <a:spcBef>
                <a:spcPct val="20000"/>
              </a:spcBef>
            </a:pPr>
            <a:r>
              <a:rPr lang="ru-RU" sz="1100" dirty="0">
                <a:latin typeface="Century Gothic" panose="020B0502020202020204" pitchFamily="34" charset="0"/>
              </a:rPr>
              <a:t>Ключ к построению архитектуры волосяного фолликула</a:t>
            </a:r>
            <a:r>
              <a:rPr lang="en-US" sz="1100" dirty="0">
                <a:latin typeface="Century Gothic" panose="020B0502020202020204" pitchFamily="34" charset="0"/>
              </a:rPr>
              <a:t>. </a:t>
            </a:r>
            <a:r>
              <a:rPr lang="ru-RU" sz="1100" dirty="0">
                <a:latin typeface="Century Gothic" panose="020B0502020202020204" pitchFamily="34" charset="0"/>
              </a:rPr>
              <a:t>Подавление транскрипции гена </a:t>
            </a:r>
            <a:r>
              <a:rPr lang="en-US" sz="1100" dirty="0">
                <a:latin typeface="Century Gothic" panose="020B0502020202020204" pitchFamily="34" charset="0"/>
              </a:rPr>
              <a:t>K71 </a:t>
            </a:r>
            <a:r>
              <a:rPr lang="ru-RU" sz="1100" dirty="0">
                <a:latin typeface="Century Gothic" panose="020B0502020202020204" pitchFamily="34" charset="0"/>
              </a:rPr>
              <a:t>приводит к ослаблению волосяной луковицы и выпадению волос. </a:t>
            </a:r>
            <a:endParaRPr lang="en-US" sz="1100" dirty="0">
              <a:latin typeface="Century Gothic" panose="020B0502020202020204" pitchFamily="34" charset="0"/>
            </a:endParaRPr>
          </a:p>
        </p:txBody>
      </p:sp>
      <p:sp>
        <p:nvSpPr>
          <p:cNvPr id="26655" name="Rectangle 40"/>
          <p:cNvSpPr>
            <a:spLocks noChangeArrowheads="1"/>
          </p:cNvSpPr>
          <p:nvPr/>
        </p:nvSpPr>
        <p:spPr bwMode="auto">
          <a:xfrm>
            <a:off x="4931771" y="5480978"/>
            <a:ext cx="4114800" cy="424732"/>
          </a:xfrm>
          <a:prstGeom prst="rect">
            <a:avLst/>
          </a:prstGeom>
          <a:noFill/>
          <a:ln w="9525">
            <a:noFill/>
            <a:miter lim="800000"/>
            <a:headEnd/>
            <a:tailEnd/>
          </a:ln>
        </p:spPr>
        <p:txBody>
          <a:bodyPr wrap="square">
            <a:spAutoFit/>
          </a:bodyPr>
          <a:lstStyle/>
          <a:p>
            <a:pPr marL="0" lvl="1">
              <a:lnSpc>
                <a:spcPct val="90000"/>
              </a:lnSpc>
              <a:spcBef>
                <a:spcPts val="388"/>
              </a:spcBef>
            </a:pPr>
            <a:r>
              <a:rPr lang="en-US" sz="1200" dirty="0">
                <a:latin typeface="Century Gothic" panose="020B0502020202020204" pitchFamily="34" charset="0"/>
              </a:rPr>
              <a:t>CD34 </a:t>
            </a:r>
            <a:r>
              <a:rPr lang="ru-RU" sz="1200" dirty="0">
                <a:latin typeface="Century Gothic" panose="020B0502020202020204" pitchFamily="34" charset="0"/>
              </a:rPr>
              <a:t>связан с питанием волос, благодаря его присутствию в эндотелиоцитах</a:t>
            </a:r>
            <a:r>
              <a:rPr lang="en-US" sz="1200" dirty="0">
                <a:latin typeface="Century Gothic" panose="020B0502020202020204" pitchFamily="34" charset="0"/>
              </a:rPr>
              <a:t>.</a:t>
            </a:r>
          </a:p>
        </p:txBody>
      </p:sp>
      <p:sp>
        <p:nvSpPr>
          <p:cNvPr id="26656" name="Rectangle 60"/>
          <p:cNvSpPr>
            <a:spLocks noChangeArrowheads="1"/>
          </p:cNvSpPr>
          <p:nvPr/>
        </p:nvSpPr>
        <p:spPr bwMode="auto">
          <a:xfrm>
            <a:off x="4953000" y="5075468"/>
            <a:ext cx="3725164" cy="424732"/>
          </a:xfrm>
          <a:prstGeom prst="rect">
            <a:avLst/>
          </a:prstGeom>
          <a:noFill/>
          <a:ln w="9525">
            <a:noFill/>
            <a:miter lim="800000"/>
            <a:headEnd/>
            <a:tailEnd/>
          </a:ln>
        </p:spPr>
        <p:txBody>
          <a:bodyPr wrap="square">
            <a:spAutoFit/>
          </a:bodyPr>
          <a:lstStyle/>
          <a:p>
            <a:pPr marL="0" lvl="1">
              <a:lnSpc>
                <a:spcPct val="90000"/>
              </a:lnSpc>
              <a:spcBef>
                <a:spcPts val="388"/>
              </a:spcBef>
            </a:pPr>
            <a:r>
              <a:rPr lang="ru-RU" sz="1200" dirty="0">
                <a:latin typeface="Century Gothic" panose="020B0502020202020204" pitchFamily="34" charset="0"/>
              </a:rPr>
              <a:t>Ключевой маркер для укрепления и роста волос</a:t>
            </a:r>
            <a:r>
              <a:rPr lang="en-US" sz="1200" dirty="0">
                <a:latin typeface="Century Gothic" panose="020B0502020202020204" pitchFamily="34" charset="0"/>
              </a:rPr>
              <a:t>. </a:t>
            </a:r>
          </a:p>
        </p:txBody>
      </p:sp>
      <p:cxnSp>
        <p:nvCxnSpPr>
          <p:cNvPr id="75" name="Straight Arrow Connector 74"/>
          <p:cNvCxnSpPr/>
          <p:nvPr/>
        </p:nvCxnSpPr>
        <p:spPr>
          <a:xfrm rot="10800000" flipV="1">
            <a:off x="3966632" y="5355799"/>
            <a:ext cx="1008000" cy="152400"/>
          </a:xfrm>
          <a:prstGeom prst="straightConnector1">
            <a:avLst/>
          </a:prstGeom>
          <a:ln>
            <a:noFill/>
            <a:tailEnd type="arrow"/>
          </a:ln>
        </p:spPr>
        <p:style>
          <a:lnRef idx="2">
            <a:schemeClr val="accent1"/>
          </a:lnRef>
          <a:fillRef idx="1">
            <a:schemeClr val="lt1"/>
          </a:fillRef>
          <a:effectRef idx="0">
            <a:schemeClr val="accent1"/>
          </a:effectRef>
          <a:fontRef idx="minor">
            <a:schemeClr val="dk1"/>
          </a:fontRef>
        </p:style>
      </p:cxnSp>
      <p:sp>
        <p:nvSpPr>
          <p:cNvPr id="76" name="Rectangle 75">
            <a:hlinkClick r:id="rId7" action="ppaction://hlinksldjump"/>
          </p:cNvPr>
          <p:cNvSpPr/>
          <p:nvPr/>
        </p:nvSpPr>
        <p:spPr>
          <a:xfrm>
            <a:off x="3966631" y="2667001"/>
            <a:ext cx="1008000" cy="307777"/>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wrap="none">
            <a:noAutofit/>
          </a:bodyPr>
          <a:lstStyle/>
          <a:p>
            <a:pPr algn="ctr">
              <a:defRPr/>
            </a:pPr>
            <a:r>
              <a:rPr lang="en-US" sz="1100" b="1" dirty="0">
                <a:solidFill>
                  <a:schemeClr val="accent5">
                    <a:lumMod val="75000"/>
                  </a:schemeClr>
                </a:solidFill>
                <a:latin typeface="Century Gothic" panose="020B0502020202020204" pitchFamily="34" charset="0"/>
                <a:cs typeface="Arial" panose="020B0604020202020204" pitchFamily="34" charset="0"/>
                <a:sym typeface="Symbol"/>
              </a:rPr>
              <a:t>Keratin 71</a:t>
            </a:r>
            <a:endParaRPr lang="en-US" sz="1100" b="1" dirty="0">
              <a:solidFill>
                <a:schemeClr val="accent5">
                  <a:lumMod val="75000"/>
                </a:schemeClr>
              </a:solidFill>
              <a:latin typeface="Century Gothic" panose="020B0502020202020204" pitchFamily="34" charset="0"/>
              <a:cs typeface="Arial" panose="020B0604020202020204" pitchFamily="34" charset="0"/>
            </a:endParaRPr>
          </a:p>
        </p:txBody>
      </p:sp>
      <p:sp>
        <p:nvSpPr>
          <p:cNvPr id="77" name="Rectangle 76">
            <a:hlinkClick r:id="rId8" action="ppaction://hlinksldjump"/>
          </p:cNvPr>
          <p:cNvSpPr/>
          <p:nvPr/>
        </p:nvSpPr>
        <p:spPr>
          <a:xfrm>
            <a:off x="3966631" y="3621966"/>
            <a:ext cx="1008000" cy="307777"/>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wrap="none">
            <a:noAutofit/>
          </a:bodyPr>
          <a:lstStyle/>
          <a:p>
            <a:pPr algn="ctr">
              <a:defRPr/>
            </a:pPr>
            <a:r>
              <a:rPr lang="en-US" sz="1100" b="1" dirty="0">
                <a:solidFill>
                  <a:schemeClr val="accent5">
                    <a:lumMod val="75000"/>
                  </a:schemeClr>
                </a:solidFill>
                <a:latin typeface="Century Gothic" panose="020B0502020202020204" pitchFamily="34" charset="0"/>
                <a:cs typeface="Arial" panose="020B0604020202020204" pitchFamily="34" charset="0"/>
                <a:sym typeface="Symbol"/>
              </a:rPr>
              <a:t>Keratin 14</a:t>
            </a:r>
          </a:p>
        </p:txBody>
      </p:sp>
      <p:sp>
        <p:nvSpPr>
          <p:cNvPr id="78" name="Rectangle 77">
            <a:hlinkClick r:id="rId9" action="ppaction://hlinksldjump"/>
          </p:cNvPr>
          <p:cNvSpPr/>
          <p:nvPr/>
        </p:nvSpPr>
        <p:spPr>
          <a:xfrm>
            <a:off x="3966631" y="5084309"/>
            <a:ext cx="1008000" cy="307777"/>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wrap="none">
            <a:noAutofit/>
          </a:bodyPr>
          <a:lstStyle/>
          <a:p>
            <a:pPr algn="ctr">
              <a:defRPr/>
            </a:pPr>
            <a:r>
              <a:rPr lang="en-US" sz="1100" b="1" dirty="0">
                <a:solidFill>
                  <a:schemeClr val="accent5">
                    <a:lumMod val="75000"/>
                  </a:schemeClr>
                </a:solidFill>
                <a:latin typeface="Century Gothic" panose="020B0502020202020204" pitchFamily="34" charset="0"/>
                <a:cs typeface="Arial" panose="020B0604020202020204" pitchFamily="34" charset="0"/>
                <a:sym typeface="Symbol"/>
              </a:rPr>
              <a:t>Collagen I</a:t>
            </a:r>
          </a:p>
        </p:txBody>
      </p:sp>
      <p:sp>
        <p:nvSpPr>
          <p:cNvPr id="80" name="Rectangle 79">
            <a:hlinkClick r:id="" action="ppaction://noaction"/>
          </p:cNvPr>
          <p:cNvSpPr/>
          <p:nvPr/>
        </p:nvSpPr>
        <p:spPr>
          <a:xfrm>
            <a:off x="3966631" y="5563091"/>
            <a:ext cx="1008000" cy="307777"/>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wrap="none">
            <a:noAutofit/>
          </a:bodyPr>
          <a:lstStyle/>
          <a:p>
            <a:pPr algn="ctr">
              <a:defRPr/>
            </a:pPr>
            <a:r>
              <a:rPr lang="en-US" sz="1100" b="1" dirty="0">
                <a:solidFill>
                  <a:schemeClr val="accent5">
                    <a:lumMod val="75000"/>
                  </a:schemeClr>
                </a:solidFill>
                <a:latin typeface="Century Gothic" panose="020B0502020202020204" pitchFamily="34" charset="0"/>
                <a:cs typeface="Arial" panose="020B0604020202020204" pitchFamily="34" charset="0"/>
                <a:sym typeface="Symbol"/>
              </a:rPr>
              <a:t>CD34</a:t>
            </a:r>
          </a:p>
        </p:txBody>
      </p:sp>
      <p:sp>
        <p:nvSpPr>
          <p:cNvPr id="81" name="Rectangle 80">
            <a:hlinkClick r:id="rId10" action="ppaction://hlinksldjump"/>
          </p:cNvPr>
          <p:cNvSpPr/>
          <p:nvPr/>
        </p:nvSpPr>
        <p:spPr>
          <a:xfrm>
            <a:off x="3966631" y="4114800"/>
            <a:ext cx="1008000" cy="307777"/>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wrap="none">
            <a:noAutofit/>
          </a:bodyPr>
          <a:lstStyle/>
          <a:p>
            <a:pPr algn="ctr">
              <a:defRPr/>
            </a:pPr>
            <a:r>
              <a:rPr lang="en-US" sz="1100" b="1" dirty="0">
                <a:solidFill>
                  <a:schemeClr val="accent5">
                    <a:lumMod val="75000"/>
                  </a:schemeClr>
                </a:solidFill>
                <a:latin typeface="Century Gothic" panose="020B0502020202020204" pitchFamily="34" charset="0"/>
                <a:cs typeface="Arial" panose="020B0604020202020204" pitchFamily="34" charset="0"/>
                <a:sym typeface="Symbol"/>
              </a:rPr>
              <a:t>Keratin 17</a:t>
            </a:r>
          </a:p>
        </p:txBody>
      </p:sp>
      <p:sp>
        <p:nvSpPr>
          <p:cNvPr id="82" name="Rectangle 81">
            <a:hlinkClick r:id="rId7" action="ppaction://hlinksldjump"/>
          </p:cNvPr>
          <p:cNvSpPr/>
          <p:nvPr/>
        </p:nvSpPr>
        <p:spPr>
          <a:xfrm>
            <a:off x="3966631" y="4613245"/>
            <a:ext cx="1008000" cy="307777"/>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wrap="none">
            <a:noAutofit/>
          </a:bodyPr>
          <a:lstStyle/>
          <a:p>
            <a:pPr algn="ctr">
              <a:defRPr/>
            </a:pPr>
            <a:r>
              <a:rPr lang="en-US" sz="1100" b="1">
                <a:solidFill>
                  <a:schemeClr val="accent5">
                    <a:lumMod val="75000"/>
                  </a:schemeClr>
                </a:solidFill>
                <a:latin typeface="Century Gothic" panose="020B0502020202020204" pitchFamily="34" charset="0"/>
                <a:cs typeface="Arial" panose="020B0604020202020204" pitchFamily="34" charset="0"/>
                <a:sym typeface="Symbol"/>
              </a:rPr>
              <a:t>Collagen IV</a:t>
            </a:r>
          </a:p>
        </p:txBody>
      </p:sp>
      <p:sp>
        <p:nvSpPr>
          <p:cNvPr id="83" name="Rectangle 82">
            <a:hlinkClick r:id="rId7" action="ppaction://hlinksldjump"/>
          </p:cNvPr>
          <p:cNvSpPr/>
          <p:nvPr/>
        </p:nvSpPr>
        <p:spPr>
          <a:xfrm>
            <a:off x="3966631" y="3119439"/>
            <a:ext cx="1008000" cy="307777"/>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wrap="none">
            <a:noAutofit/>
          </a:bodyPr>
          <a:lstStyle/>
          <a:p>
            <a:pPr algn="ctr">
              <a:defRPr/>
            </a:pPr>
            <a:r>
              <a:rPr lang="en-US" sz="1100" b="1" dirty="0" err="1">
                <a:solidFill>
                  <a:schemeClr val="accent5">
                    <a:lumMod val="75000"/>
                  </a:schemeClr>
                </a:solidFill>
                <a:latin typeface="Century Gothic" panose="020B0502020202020204" pitchFamily="34" charset="0"/>
                <a:cs typeface="Arial" panose="020B0604020202020204" pitchFamily="34" charset="0"/>
                <a:sym typeface="Symbol"/>
              </a:rPr>
              <a:t>Trichohyalin</a:t>
            </a:r>
            <a:endParaRPr lang="en-US" sz="1100" b="1" dirty="0">
              <a:solidFill>
                <a:schemeClr val="accent5">
                  <a:lumMod val="75000"/>
                </a:schemeClr>
              </a:solidFill>
              <a:latin typeface="Century Gothic" panose="020B0502020202020204" pitchFamily="34" charset="0"/>
              <a:cs typeface="Arial" panose="020B0604020202020204" pitchFamily="34" charset="0"/>
              <a:sym typeface="Symbol"/>
            </a:endParaRPr>
          </a:p>
        </p:txBody>
      </p:sp>
      <p:sp>
        <p:nvSpPr>
          <p:cNvPr id="42" name="Rectangle 41"/>
          <p:cNvSpPr/>
          <p:nvPr/>
        </p:nvSpPr>
        <p:spPr>
          <a:xfrm>
            <a:off x="3920532" y="2209800"/>
            <a:ext cx="5147268" cy="304800"/>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wrap="none">
            <a:noAutofit/>
          </a:bodyPr>
          <a:lstStyle/>
          <a:p>
            <a:pPr>
              <a:defRPr/>
            </a:pPr>
            <a:r>
              <a:rPr lang="en-US" sz="1200" b="1" dirty="0">
                <a:solidFill>
                  <a:schemeClr val="bg1"/>
                </a:solidFill>
                <a:latin typeface="Century Gothic" panose="020B0502020202020204" pitchFamily="34" charset="0"/>
                <a:cs typeface="Arial" panose="020B0604020202020204" pitchFamily="34" charset="0"/>
                <a:sym typeface="Symbol"/>
              </a:rPr>
              <a:t>The Hair Keratin System™ </a:t>
            </a:r>
            <a:r>
              <a:rPr lang="ru-RU" sz="1200" b="1" dirty="0">
                <a:solidFill>
                  <a:schemeClr val="bg1"/>
                </a:solidFill>
                <a:latin typeface="Century Gothic" panose="020B0502020202020204" pitchFamily="34" charset="0"/>
                <a:cs typeface="Arial" panose="020B0604020202020204" pitchFamily="34" charset="0"/>
                <a:sym typeface="Symbol"/>
              </a:rPr>
              <a:t>связана со следующими маркерами</a:t>
            </a:r>
            <a:r>
              <a:rPr lang="en-US" sz="1200" b="1" dirty="0">
                <a:solidFill>
                  <a:schemeClr val="bg1"/>
                </a:solidFill>
                <a:latin typeface="Century Gothic" panose="020B0502020202020204" pitchFamily="34" charset="0"/>
                <a:cs typeface="Arial" panose="020B0604020202020204" pitchFamily="34" charset="0"/>
                <a:sym typeface="Symbol"/>
              </a:rPr>
              <a:t>:</a:t>
            </a:r>
          </a:p>
        </p:txBody>
      </p:sp>
      <p:sp>
        <p:nvSpPr>
          <p:cNvPr id="33" name="Oval 25"/>
          <p:cNvSpPr>
            <a:spLocks noChangeArrowheads="1"/>
          </p:cNvSpPr>
          <p:nvPr/>
        </p:nvSpPr>
        <p:spPr bwMode="auto">
          <a:xfrm rot="249403">
            <a:off x="1661224" y="3362533"/>
            <a:ext cx="714207" cy="1795545"/>
          </a:xfrm>
          <a:prstGeom prst="flowChartMagneticDisk">
            <a:avLst/>
          </a:prstGeom>
          <a:noFill/>
          <a:ln w="38100">
            <a:solidFill>
              <a:schemeClr val="accent4"/>
            </a:solidFill>
            <a:prstDash val="solid"/>
            <a:round/>
            <a:headEnd/>
            <a:tailEnd/>
          </a:ln>
        </p:spPr>
        <p:txBody>
          <a:bodyPr anchor="ctr"/>
          <a:lstStyle/>
          <a:p>
            <a:pPr algn="ctr">
              <a:defRPr/>
            </a:pPr>
            <a:endParaRPr lang="en-US">
              <a:latin typeface="Arial" charset="0"/>
            </a:endParaRPr>
          </a:p>
        </p:txBody>
      </p:sp>
      <p:sp>
        <p:nvSpPr>
          <p:cNvPr id="26628" name="Oval 25"/>
          <p:cNvSpPr>
            <a:spLocks noChangeArrowheads="1"/>
          </p:cNvSpPr>
          <p:nvPr/>
        </p:nvSpPr>
        <p:spPr bwMode="auto">
          <a:xfrm rot="249403">
            <a:off x="1497203" y="3239161"/>
            <a:ext cx="1018973" cy="2571080"/>
          </a:xfrm>
          <a:prstGeom prst="flowChartMagneticDisk">
            <a:avLst/>
          </a:prstGeom>
          <a:noFill/>
          <a:ln w="38100">
            <a:solidFill>
              <a:schemeClr val="accent2"/>
            </a:solidFill>
            <a:prstDash val="solid"/>
            <a:round/>
            <a:headEnd/>
            <a:tailEnd/>
          </a:ln>
        </p:spPr>
        <p:txBody>
          <a:bodyPr anchor="ctr"/>
          <a:lstStyle/>
          <a:p>
            <a:pPr algn="ctr"/>
            <a:endParaRPr lang="en-US"/>
          </a:p>
        </p:txBody>
      </p:sp>
      <p:sp>
        <p:nvSpPr>
          <p:cNvPr id="85" name="TextBox 84"/>
          <p:cNvSpPr txBox="1"/>
          <p:nvPr/>
        </p:nvSpPr>
        <p:spPr>
          <a:xfrm rot="16200000">
            <a:off x="2226383" y="3846400"/>
            <a:ext cx="439095" cy="276999"/>
          </a:xfrm>
          <a:prstGeom prst="rect">
            <a:avLst/>
          </a:prstGeom>
          <a:solidFill>
            <a:schemeClr val="bg1"/>
          </a:solidFill>
          <a:ln>
            <a:solidFill>
              <a:schemeClr val="bg1">
                <a:lumMod val="50000"/>
              </a:schemeClr>
            </a:solidFill>
          </a:ln>
        </p:spPr>
        <p:txBody>
          <a:bodyPr wrap="none" anchor="ctr">
            <a:spAutoFit/>
          </a:bodyPr>
          <a:lstStyle/>
          <a:p>
            <a:pPr marL="342900" indent="-342900" algn="ctr">
              <a:spcBef>
                <a:spcPct val="20000"/>
              </a:spcBef>
              <a:defRPr/>
            </a:pPr>
            <a:r>
              <a:rPr lang="en-US" sz="1200" dirty="0">
                <a:cs typeface="Arial" pitchFamily="34" charset="0"/>
              </a:rPr>
              <a:t>ORS</a:t>
            </a:r>
          </a:p>
        </p:txBody>
      </p:sp>
      <p:cxnSp>
        <p:nvCxnSpPr>
          <p:cNvPr id="71" name="Straight Connector 70"/>
          <p:cNvCxnSpPr>
            <a:endCxn id="26630" idx="0"/>
          </p:cNvCxnSpPr>
          <p:nvPr/>
        </p:nvCxnSpPr>
        <p:spPr>
          <a:xfrm flipH="1">
            <a:off x="1868275" y="2716930"/>
            <a:ext cx="427743" cy="923780"/>
          </a:xfrm>
          <a:prstGeom prst="line">
            <a:avLst/>
          </a:prstGeom>
          <a:noFill/>
          <a:ln w="19050">
            <a:solidFill>
              <a:schemeClr val="bg1"/>
            </a:solidFill>
            <a:prstDash val="sysDash"/>
            <a:round/>
            <a:headEnd/>
            <a:tailEnd type="triangle"/>
          </a:ln>
          <a:effectLst>
            <a:outerShdw blurRad="50800" dist="38100" dir="2700000" algn="tl" rotWithShape="0">
              <a:prstClr val="black">
                <a:alpha val="75000"/>
              </a:prstClr>
            </a:outerShdw>
          </a:effectLst>
        </p:spPr>
      </p:cxnSp>
      <p:sp>
        <p:nvSpPr>
          <p:cNvPr id="92" name="TextBox 91"/>
          <p:cNvSpPr txBox="1"/>
          <p:nvPr/>
        </p:nvSpPr>
        <p:spPr>
          <a:xfrm rot="16200000">
            <a:off x="1891653" y="5100252"/>
            <a:ext cx="1108187" cy="276999"/>
          </a:xfrm>
          <a:prstGeom prst="rect">
            <a:avLst/>
          </a:prstGeom>
          <a:solidFill>
            <a:schemeClr val="bg1"/>
          </a:solidFill>
          <a:ln>
            <a:solidFill>
              <a:schemeClr val="bg1">
                <a:lumMod val="50000"/>
              </a:schemeClr>
            </a:solidFill>
          </a:ln>
        </p:spPr>
        <p:txBody>
          <a:bodyPr wrap="none" anchor="ctr">
            <a:spAutoFit/>
          </a:bodyPr>
          <a:lstStyle/>
          <a:p>
            <a:pPr marL="342900" indent="-342900" algn="ctr">
              <a:spcBef>
                <a:spcPct val="20000"/>
              </a:spcBef>
              <a:defRPr/>
            </a:pPr>
            <a:r>
              <a:rPr lang="en-US" sz="1200" dirty="0">
                <a:cs typeface="Arial" pitchFamily="34" charset="0"/>
              </a:rPr>
              <a:t>Dermal Sheath</a:t>
            </a:r>
          </a:p>
        </p:txBody>
      </p:sp>
      <p:cxnSp>
        <p:nvCxnSpPr>
          <p:cNvPr id="74" name="Straight Connector 73"/>
          <p:cNvCxnSpPr>
            <a:stCxn id="92" idx="0"/>
            <a:endCxn id="26628" idx="3"/>
          </p:cNvCxnSpPr>
          <p:nvPr/>
        </p:nvCxnSpPr>
        <p:spPr>
          <a:xfrm flipH="1">
            <a:off x="1913508" y="5238751"/>
            <a:ext cx="393739" cy="568109"/>
          </a:xfrm>
          <a:prstGeom prst="line">
            <a:avLst/>
          </a:prstGeom>
          <a:noFill/>
          <a:ln w="19050">
            <a:solidFill>
              <a:schemeClr val="bg1"/>
            </a:solidFill>
            <a:prstDash val="sysDash"/>
            <a:round/>
            <a:headEnd/>
            <a:tailEnd type="triangle"/>
          </a:ln>
          <a:effectLst>
            <a:outerShdw blurRad="50800" dist="38100" dir="2700000" algn="tl" rotWithShape="0">
              <a:prstClr val="black">
                <a:alpha val="75000"/>
              </a:prstClr>
            </a:outerShdw>
          </a:effectLst>
        </p:spPr>
      </p:cxnSp>
      <p:cxnSp>
        <p:nvCxnSpPr>
          <p:cNvPr id="67" name="Straight Connector 66"/>
          <p:cNvCxnSpPr>
            <a:stCxn id="85" idx="0"/>
          </p:cNvCxnSpPr>
          <p:nvPr/>
        </p:nvCxnSpPr>
        <p:spPr>
          <a:xfrm flipH="1">
            <a:off x="1657692" y="3984899"/>
            <a:ext cx="649739" cy="416773"/>
          </a:xfrm>
          <a:prstGeom prst="line">
            <a:avLst/>
          </a:prstGeom>
          <a:noFill/>
          <a:ln w="19050">
            <a:solidFill>
              <a:schemeClr val="bg1"/>
            </a:solidFill>
            <a:prstDash val="sysDash"/>
            <a:round/>
            <a:headEnd/>
            <a:tailEnd type="triangle"/>
          </a:ln>
          <a:effectLst>
            <a:outerShdw blurRad="50800" dist="38100" dir="2700000" algn="tl" rotWithShape="0">
              <a:prstClr val="black">
                <a:alpha val="75000"/>
              </a:prstClr>
            </a:outerShdw>
          </a:effectLst>
        </p:spPr>
      </p:cxnSp>
      <p:sp>
        <p:nvSpPr>
          <p:cNvPr id="2" name="Title 1"/>
          <p:cNvSpPr>
            <a:spLocks noGrp="1"/>
          </p:cNvSpPr>
          <p:nvPr>
            <p:ph type="title"/>
          </p:nvPr>
        </p:nvSpPr>
        <p:spPr/>
        <p:txBody>
          <a:bodyPr/>
          <a:lstStyle/>
          <a:p>
            <a:r>
              <a:rPr lang="en-US" dirty="0">
                <a:latin typeface="Century Gothic" panose="020B0502020202020204" pitchFamily="34" charset="0"/>
              </a:rPr>
              <a:t>Dynagen™</a:t>
            </a:r>
            <a:endParaRPr lang="en-GB" dirty="0">
              <a:latin typeface="Century Gothic" panose="020B0502020202020204" pitchFamily="34" charset="0"/>
            </a:endParaRPr>
          </a:p>
        </p:txBody>
      </p:sp>
    </p:spTree>
    <p:extLst>
      <p:ext uri="{BB962C8B-B14F-4D97-AF65-F5344CB8AC3E}">
        <p14:creationId xmlns:p14="http://schemas.microsoft.com/office/powerpoint/2010/main" val="2408915776"/>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1393B01-7800-434A-B836-B3320A3476BB}" type="slidenum">
              <a:rPr kumimoji="0" lang="en-US" sz="1200" b="1"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Rectangle 5"/>
          <p:cNvSpPr/>
          <p:nvPr/>
        </p:nvSpPr>
        <p:spPr>
          <a:xfrm>
            <a:off x="0" y="0"/>
            <a:ext cx="10058400" cy="53062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4950" marR="0" lvl="0" indent="0" algn="l" defTabSz="914400" rtl="0" eaLnBrk="1" fontAlgn="auto" latinLnBrk="0" hangingPunct="1">
              <a:lnSpc>
                <a:spcPct val="100000"/>
              </a:lnSpc>
              <a:spcBef>
                <a:spcPts val="0"/>
              </a:spcBef>
              <a:spcAft>
                <a:spcPts val="0"/>
              </a:spcAft>
              <a:buClrTx/>
              <a:buSzTx/>
              <a:buFontTx/>
              <a:buNone/>
              <a:tabLst/>
              <a:defRPr/>
            </a:pPr>
            <a:r>
              <a:rPr lang="ru-RU" sz="4200" b="1" dirty="0">
                <a:solidFill>
                  <a:prstClr val="white"/>
                </a:solidFill>
                <a:latin typeface="Century Gothic"/>
              </a:rPr>
              <a:t>Укрепление волос изнутри</a:t>
            </a:r>
            <a:endParaRPr kumimoji="0" lang="en-US" sz="4200" b="1" i="0" u="none" strike="noStrike" kern="1200" cap="none" spc="0" normalizeH="0" baseline="0" noProof="0" dirty="0">
              <a:ln>
                <a:noFill/>
              </a:ln>
              <a:solidFill>
                <a:prstClr val="white"/>
              </a:solidFill>
              <a:effectLst/>
              <a:uLnTx/>
              <a:uFillTx/>
              <a:latin typeface="Century Gothic"/>
              <a:ea typeface="+mn-ea"/>
              <a:cs typeface="+mn-cs"/>
            </a:endParaRPr>
          </a:p>
        </p:txBody>
      </p:sp>
    </p:spTree>
    <p:extLst>
      <p:ext uri="{BB962C8B-B14F-4D97-AF65-F5344CB8AC3E}">
        <p14:creationId xmlns:p14="http://schemas.microsoft.com/office/powerpoint/2010/main" val="18817762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a:latin typeface="Century Gothic Pro" panose="020B0502020202020204" pitchFamily="34" charset="0"/>
              </a:rPr>
              <a:t/>
            </a:r>
            <a:br>
              <a:rPr lang="en-US" dirty="0">
                <a:latin typeface="Century Gothic Pro" panose="020B0502020202020204" pitchFamily="34" charset="0"/>
              </a:rPr>
            </a:br>
            <a:endParaRPr lang="en-US" dirty="0">
              <a:latin typeface="Century Gothic Pro" panose="020B0502020202020204" pitchFamily="34" charset="0"/>
            </a:endParaRPr>
          </a:p>
        </p:txBody>
      </p:sp>
      <p:sp>
        <p:nvSpPr>
          <p:cNvPr id="2" name="Slide Number Placeholder 1"/>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1393B01-7800-434A-B836-B3320A3476BB}" type="slidenum">
              <a:rPr kumimoji="0" lang="en-US" sz="1200" b="1"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 name="Content Placeholder 3"/>
          <p:cNvSpPr>
            <a:spLocks noGrp="1"/>
          </p:cNvSpPr>
          <p:nvPr>
            <p:ph idx="1"/>
          </p:nvPr>
        </p:nvSpPr>
        <p:spPr>
          <a:xfrm>
            <a:off x="457199" y="2123109"/>
            <a:ext cx="4114802" cy="4329543"/>
          </a:xfrm>
        </p:spPr>
        <p:txBody>
          <a:bodyPr>
            <a:noAutofit/>
          </a:bodyPr>
          <a:lstStyle/>
          <a:p>
            <a:pPr marL="0" indent="0">
              <a:buNone/>
            </a:pPr>
            <a:r>
              <a:rPr lang="ru-RU" sz="1800" b="1" dirty="0">
                <a:latin typeface="Century Gothic Pro" panose="020B0502020202020204" pitchFamily="34" charset="0"/>
              </a:rPr>
              <a:t>Что такое слабые волосы</a:t>
            </a:r>
            <a:r>
              <a:rPr lang="nl-NL" sz="1800" b="1" dirty="0">
                <a:latin typeface="Century Gothic Pro" panose="020B0502020202020204" pitchFamily="34" charset="0"/>
              </a:rPr>
              <a:t>? </a:t>
            </a:r>
          </a:p>
          <a:p>
            <a:pPr marL="0" indent="0">
              <a:buNone/>
            </a:pPr>
            <a:r>
              <a:rPr lang="ru-RU" sz="1800" dirty="0">
                <a:latin typeface="Century Gothic Pro" panose="020B0502020202020204" pitchFamily="34" charset="0"/>
              </a:rPr>
              <a:t>Волосы, которые легко ломаются, пористые, курчавятся и трудно поддаются укладке</a:t>
            </a:r>
            <a:endParaRPr lang="nl-NL" sz="1800" dirty="0">
              <a:latin typeface="Century Gothic Pro" panose="020B0502020202020204" pitchFamily="34" charset="0"/>
            </a:endParaRPr>
          </a:p>
          <a:p>
            <a:pPr marL="0" indent="0">
              <a:buNone/>
            </a:pPr>
            <a:r>
              <a:rPr lang="ru-RU" sz="1800" b="1" dirty="0">
                <a:latin typeface="Century Gothic Pro" panose="020B0502020202020204" pitchFamily="34" charset="0"/>
              </a:rPr>
              <a:t>Что происходит со слабыми волосами</a:t>
            </a:r>
            <a:r>
              <a:rPr lang="nl-NL" sz="1800" b="1" dirty="0">
                <a:latin typeface="Century Gothic Pro" panose="020B0502020202020204" pitchFamily="34" charset="0"/>
              </a:rPr>
              <a:t>? </a:t>
            </a:r>
          </a:p>
          <a:p>
            <a:pPr marL="0" indent="0">
              <a:buNone/>
            </a:pPr>
            <a:r>
              <a:rPr lang="ru-RU" sz="1800" dirty="0">
                <a:latin typeface="Century Gothic Pro" panose="020B0502020202020204" pitchFamily="34" charset="0"/>
              </a:rPr>
              <a:t>Внутренние связи нарушены и повреждены</a:t>
            </a:r>
            <a:endParaRPr lang="nl-NL" sz="1800" dirty="0">
              <a:latin typeface="Century Gothic Pro" panose="020B0502020202020204" pitchFamily="34" charset="0"/>
            </a:endParaRPr>
          </a:p>
          <a:p>
            <a:pPr marL="0" indent="0">
              <a:buNone/>
            </a:pPr>
            <a:r>
              <a:rPr lang="ru-RU" sz="1800" b="1" dirty="0">
                <a:latin typeface="Century Gothic Pro" panose="020B0502020202020204" pitchFamily="34" charset="0"/>
              </a:rPr>
              <a:t>Что приводит к ослаблению и истончению волос</a:t>
            </a:r>
            <a:r>
              <a:rPr lang="nl-NL" sz="1800" b="1" dirty="0">
                <a:latin typeface="Century Gothic Pro" panose="020B0502020202020204" pitchFamily="34" charset="0"/>
              </a:rPr>
              <a:t>? </a:t>
            </a:r>
          </a:p>
          <a:p>
            <a:pPr marL="0" indent="0">
              <a:buNone/>
            </a:pPr>
            <a:r>
              <a:rPr lang="nl-NL" sz="1600" dirty="0">
                <a:latin typeface="Century Gothic Pro" panose="020B0502020202020204" pitchFamily="34" charset="0"/>
              </a:rPr>
              <a:t>     </a:t>
            </a:r>
            <a:r>
              <a:rPr lang="ru-RU" sz="1600" dirty="0">
                <a:latin typeface="Century Gothic Pro" panose="020B0502020202020204" pitchFamily="34" charset="0"/>
              </a:rPr>
              <a:t>процессы старения, химическое и термическое воздействие, окружающая среда</a:t>
            </a:r>
            <a:endParaRPr lang="en-GB" sz="1400" dirty="0"/>
          </a:p>
        </p:txBody>
      </p:sp>
      <p:sp>
        <p:nvSpPr>
          <p:cNvPr id="5" name="Title 1"/>
          <p:cNvSpPr txBox="1">
            <a:spLocks/>
          </p:cNvSpPr>
          <p:nvPr/>
        </p:nvSpPr>
        <p:spPr>
          <a:xfrm>
            <a:off x="457198" y="190927"/>
            <a:ext cx="91440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accent3"/>
                </a:solidFill>
                <a:latin typeface="Arial" pitchFamily="34" charset="0"/>
                <a:ea typeface="+mj-ea"/>
                <a:cs typeface="Arial"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200" b="0" i="0" u="none" strike="noStrike" kern="1200" cap="none" spc="0" normalizeH="0" baseline="0" noProof="0" dirty="0">
                <a:ln>
                  <a:noFill/>
                </a:ln>
                <a:solidFill>
                  <a:srgbClr val="4CCEDE"/>
                </a:solidFill>
                <a:effectLst/>
                <a:uLnTx/>
                <a:uFillTx/>
                <a:latin typeface="Century Gothic Pro" panose="020B0502020202020204" pitchFamily="34" charset="0"/>
                <a:ea typeface="+mj-ea"/>
                <a:cs typeface="Arial" pitchFamily="34" charset="0"/>
              </a:rPr>
              <a:t>fiberHance™ bm </a:t>
            </a:r>
            <a:r>
              <a:rPr lang="ru-RU" sz="3200" dirty="0">
                <a:solidFill>
                  <a:srgbClr val="4CCEDE"/>
                </a:solidFill>
                <a:latin typeface="Century Gothic Pro" panose="020B0502020202020204" pitchFamily="34" charset="0"/>
              </a:rPr>
              <a:t>раствор</a:t>
            </a:r>
            <a:endParaRPr kumimoji="0" lang="en-GB" sz="3200" b="0" i="0" u="none" strike="noStrike" kern="1200" cap="none" spc="0" normalizeH="0" baseline="0" noProof="0" dirty="0">
              <a:ln>
                <a:noFill/>
              </a:ln>
              <a:solidFill>
                <a:srgbClr val="4CCEDE"/>
              </a:solidFill>
              <a:effectLst/>
              <a:uLnTx/>
              <a:uFillTx/>
              <a:latin typeface="Century Gothic Pro" panose="020B0502020202020204" pitchFamily="34" charset="0"/>
              <a:ea typeface="+mj-ea"/>
              <a:cs typeface="Arial" pitchFamily="34" charset="0"/>
            </a:endParaRPr>
          </a:p>
        </p:txBody>
      </p:sp>
      <p:sp>
        <p:nvSpPr>
          <p:cNvPr id="3" name="TextBox 2"/>
          <p:cNvSpPr txBox="1"/>
          <p:nvPr/>
        </p:nvSpPr>
        <p:spPr>
          <a:xfrm>
            <a:off x="457198" y="1560983"/>
            <a:ext cx="4976042"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2400" noProof="0" dirty="0">
                <a:solidFill>
                  <a:srgbClr val="4CCEDE"/>
                </a:solidFill>
                <a:latin typeface="Century Gothic"/>
              </a:rPr>
              <a:t>Причина для укрепления волос</a:t>
            </a:r>
            <a:endParaRPr kumimoji="0" lang="en-US" sz="2400" b="0" i="0" u="none" strike="noStrike" kern="1200" cap="none" spc="0" normalizeH="0" baseline="0" noProof="0" dirty="0">
              <a:ln>
                <a:noFill/>
              </a:ln>
              <a:solidFill>
                <a:srgbClr val="4CCEDE"/>
              </a:solidFill>
              <a:effectLst/>
              <a:uLnTx/>
              <a:uFillTx/>
              <a:latin typeface="Century Gothic"/>
              <a:ea typeface="+mn-ea"/>
              <a:cs typeface="+mn-cs"/>
            </a:endParaRPr>
          </a:p>
        </p:txBody>
      </p:sp>
      <p:sp>
        <p:nvSpPr>
          <p:cNvPr id="7" name="Content Placeholder 3"/>
          <p:cNvSpPr txBox="1">
            <a:spLocks/>
          </p:cNvSpPr>
          <p:nvPr/>
        </p:nvSpPr>
        <p:spPr>
          <a:xfrm>
            <a:off x="5200372" y="2123109"/>
            <a:ext cx="3442184" cy="3242278"/>
          </a:xfrm>
          <a:prstGeom prst="rect">
            <a:avLst/>
          </a:prstGeom>
        </p:spPr>
        <p:txBody>
          <a:bodyPr vert="horz" lIns="91440" tIns="45720" rIns="91440" bIns="45720" rtlCol="0">
            <a:noAutofit/>
          </a:bodyPr>
          <a:lstStyle>
            <a:lvl1pPr marL="339725" indent="-339725" algn="l" defTabSz="914400" rtl="0" eaLnBrk="1" latinLnBrk="0" hangingPunct="1">
              <a:lnSpc>
                <a:spcPct val="90000"/>
              </a:lnSpc>
              <a:spcBef>
                <a:spcPts val="1000"/>
              </a:spcBef>
              <a:buClrTx/>
              <a:buFont typeface="Arial" pitchFamily="34" charset="0"/>
              <a:buChar char="−"/>
              <a:defRPr sz="2400" kern="1200">
                <a:solidFill>
                  <a:schemeClr val="tx1">
                    <a:lumMod val="50000"/>
                    <a:lumOff val="50000"/>
                  </a:schemeClr>
                </a:solidFill>
                <a:latin typeface="Arial" pitchFamily="34" charset="0"/>
                <a:ea typeface="+mn-ea"/>
                <a:cs typeface="Arial" pitchFamily="34" charset="0"/>
              </a:defRPr>
            </a:lvl1pPr>
            <a:lvl2pPr marL="339725" indent="-339725" algn="l" defTabSz="914400" rtl="0" eaLnBrk="1" latinLnBrk="0" hangingPunct="1">
              <a:lnSpc>
                <a:spcPct val="90000"/>
              </a:lnSpc>
              <a:spcBef>
                <a:spcPts val="500"/>
              </a:spcBef>
              <a:buClrTx/>
              <a:buFont typeface="Arial" pitchFamily="34" charset="0"/>
              <a:buChar char="−"/>
              <a:defRPr sz="2400" kern="1200">
                <a:solidFill>
                  <a:schemeClr val="tx1">
                    <a:lumMod val="50000"/>
                    <a:lumOff val="50000"/>
                  </a:schemeClr>
                </a:solidFill>
                <a:latin typeface="Arial" pitchFamily="34" charset="0"/>
                <a:ea typeface="+mn-ea"/>
                <a:cs typeface="Arial" pitchFamily="34" charset="0"/>
              </a:defRPr>
            </a:lvl2pPr>
            <a:lvl3pPr marL="339725" indent="-339725" algn="l" defTabSz="914400" rtl="0" eaLnBrk="1" latinLnBrk="0" hangingPunct="1">
              <a:lnSpc>
                <a:spcPct val="90000"/>
              </a:lnSpc>
              <a:spcBef>
                <a:spcPts val="500"/>
              </a:spcBef>
              <a:buClrTx/>
              <a:buFont typeface="Arial" pitchFamily="34" charset="0"/>
              <a:buChar char="−"/>
              <a:defRPr sz="2400" kern="1200">
                <a:solidFill>
                  <a:schemeClr val="tx1">
                    <a:lumMod val="50000"/>
                    <a:lumOff val="50000"/>
                  </a:schemeClr>
                </a:solidFill>
                <a:latin typeface="Arial" pitchFamily="34" charset="0"/>
                <a:ea typeface="+mn-ea"/>
                <a:cs typeface="Arial" pitchFamily="34" charset="0"/>
              </a:defRPr>
            </a:lvl3pPr>
            <a:lvl4pPr marL="339725" indent="-339725" algn="l" defTabSz="914400" rtl="0" eaLnBrk="1" latinLnBrk="0" hangingPunct="1">
              <a:lnSpc>
                <a:spcPct val="90000"/>
              </a:lnSpc>
              <a:spcBef>
                <a:spcPts val="500"/>
              </a:spcBef>
              <a:buClrTx/>
              <a:buFont typeface="Arial" pitchFamily="34" charset="0"/>
              <a:buChar char="−"/>
              <a:defRPr sz="2400" kern="1200">
                <a:solidFill>
                  <a:schemeClr val="tx1">
                    <a:lumMod val="50000"/>
                    <a:lumOff val="50000"/>
                  </a:schemeClr>
                </a:solidFill>
                <a:latin typeface="Arial" pitchFamily="34" charset="0"/>
                <a:ea typeface="+mn-ea"/>
                <a:cs typeface="Arial" pitchFamily="34" charset="0"/>
              </a:defRPr>
            </a:lvl4pPr>
            <a:lvl5pPr marL="339725" indent="-339725" algn="l" defTabSz="914400" rtl="0" eaLnBrk="1" latinLnBrk="0" hangingPunct="1">
              <a:lnSpc>
                <a:spcPct val="90000"/>
              </a:lnSpc>
              <a:spcBef>
                <a:spcPts val="500"/>
              </a:spcBef>
              <a:buClrTx/>
              <a:buFont typeface="Arial" pitchFamily="34" charset="0"/>
              <a:buChar char="−"/>
              <a:defRPr sz="2400" kern="1200">
                <a:solidFill>
                  <a:schemeClr val="tx1">
                    <a:lumMod val="50000"/>
                    <a:lumOff val="50000"/>
                  </a:schemeClr>
                </a:solidFill>
                <a:latin typeface="Arial" pitchFamily="34" charset="0"/>
                <a:ea typeface="+mn-ea"/>
                <a:cs typeface="Arial"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itchFamily="34" charset="0"/>
              <a:buNone/>
              <a:tabLst/>
              <a:defRPr/>
            </a:pPr>
            <a:r>
              <a:rPr kumimoji="0" lang="ru-RU" sz="1800" b="1" i="0" u="none" strike="noStrike" kern="1200" cap="none" spc="0" normalizeH="0" baseline="0" noProof="0" dirty="0">
                <a:ln>
                  <a:noFill/>
                </a:ln>
                <a:solidFill>
                  <a:prstClr val="black">
                    <a:lumMod val="50000"/>
                    <a:lumOff val="50000"/>
                  </a:prstClr>
                </a:solidFill>
                <a:effectLst/>
                <a:uLnTx/>
                <a:uFillTx/>
                <a:latin typeface="Century Gothic Pro" panose="020B0502020202020204" pitchFamily="34" charset="0"/>
                <a:ea typeface="+mn-ea"/>
                <a:cs typeface="Arial" pitchFamily="34" charset="0"/>
              </a:rPr>
              <a:t>Какие решения доступны для укрепления</a:t>
            </a:r>
            <a:r>
              <a:rPr kumimoji="0" lang="ru-RU" sz="1800" b="1" i="0" u="none" strike="noStrike" kern="1200" cap="none" spc="0" normalizeH="0" noProof="0" dirty="0">
                <a:ln>
                  <a:noFill/>
                </a:ln>
                <a:solidFill>
                  <a:prstClr val="black">
                    <a:lumMod val="50000"/>
                    <a:lumOff val="50000"/>
                  </a:prstClr>
                </a:solidFill>
                <a:effectLst/>
                <a:uLnTx/>
                <a:uFillTx/>
                <a:latin typeface="Century Gothic Pro" panose="020B0502020202020204" pitchFamily="34" charset="0"/>
                <a:ea typeface="+mn-ea"/>
                <a:cs typeface="Arial" pitchFamily="34" charset="0"/>
              </a:rPr>
              <a:t> волос</a:t>
            </a:r>
            <a:r>
              <a:rPr kumimoji="0" lang="nl-NL" sz="1800" b="1" i="0" u="none" strike="noStrike" kern="1200" cap="none" spc="0" normalizeH="0" baseline="0" noProof="0" dirty="0">
                <a:ln>
                  <a:noFill/>
                </a:ln>
                <a:solidFill>
                  <a:prstClr val="black">
                    <a:lumMod val="50000"/>
                    <a:lumOff val="50000"/>
                  </a:prstClr>
                </a:solidFill>
                <a:effectLst/>
                <a:uLnTx/>
                <a:uFillTx/>
                <a:latin typeface="Century Gothic Pro" panose="020B0502020202020204" pitchFamily="34" charset="0"/>
                <a:ea typeface="+mn-ea"/>
                <a:cs typeface="Arial" pitchFamily="34" charset="0"/>
              </a:rPr>
              <a:t>?</a:t>
            </a:r>
          </a:p>
          <a:p>
            <a:pPr marL="0" marR="0" lvl="0" indent="0" defTabSz="914400" rtl="0" eaLnBrk="1" fontAlgn="auto" latinLnBrk="0" hangingPunct="1">
              <a:lnSpc>
                <a:spcPct val="90000"/>
              </a:lnSpc>
              <a:spcBef>
                <a:spcPts val="1000"/>
              </a:spcBef>
              <a:spcAft>
                <a:spcPts val="0"/>
              </a:spcAft>
              <a:buClrTx/>
              <a:buSzTx/>
              <a:buFont typeface="Arial" pitchFamily="34" charset="0"/>
              <a:buNone/>
              <a:tabLst/>
              <a:defRPr/>
            </a:pPr>
            <a:r>
              <a:rPr kumimoji="0" lang="ru-RU" sz="1800" b="0" i="0" u="none" strike="noStrike" kern="1200" cap="none" spc="0" normalizeH="0" baseline="0" noProof="0" dirty="0">
                <a:ln>
                  <a:noFill/>
                </a:ln>
                <a:solidFill>
                  <a:prstClr val="black">
                    <a:lumMod val="50000"/>
                    <a:lumOff val="50000"/>
                  </a:prstClr>
                </a:solidFill>
                <a:effectLst/>
                <a:uLnTx/>
                <a:uFillTx/>
                <a:latin typeface="Century Gothic Pro" panose="020B0502020202020204" pitchFamily="34" charset="0"/>
                <a:ea typeface="+mn-ea"/>
                <a:cs typeface="Arial" pitchFamily="34" charset="0"/>
              </a:rPr>
              <a:t>Большинство</a:t>
            </a:r>
            <a:r>
              <a:rPr kumimoji="0" lang="ru-RU" sz="1800" b="0" i="0" u="none" strike="noStrike" kern="1200" cap="none" spc="0" normalizeH="0" noProof="0" dirty="0">
                <a:ln>
                  <a:noFill/>
                </a:ln>
                <a:solidFill>
                  <a:prstClr val="black">
                    <a:lumMod val="50000"/>
                    <a:lumOff val="50000"/>
                  </a:prstClr>
                </a:solidFill>
                <a:effectLst/>
                <a:uLnTx/>
                <a:uFillTx/>
                <a:latin typeface="Century Gothic Pro" panose="020B0502020202020204" pitchFamily="34" charset="0"/>
                <a:ea typeface="+mn-ea"/>
                <a:cs typeface="Arial" pitchFamily="34" charset="0"/>
              </a:rPr>
              <a:t> предлагаемых способов действует на поверхности волос, </a:t>
            </a:r>
            <a:r>
              <a:rPr lang="ru-RU" sz="1800" dirty="0">
                <a:solidFill>
                  <a:prstClr val="black">
                    <a:lumMod val="50000"/>
                    <a:lumOff val="50000"/>
                  </a:prstClr>
                </a:solidFill>
                <a:latin typeface="Century Gothic Pro" panose="020B0502020202020204" pitchFamily="34" charset="0"/>
              </a:rPr>
              <a:t>путем обволакивания волос</a:t>
            </a:r>
            <a:r>
              <a:rPr kumimoji="0" lang="ru-RU" sz="1800" b="0" i="0" u="none" strike="noStrike" kern="1200" cap="none" spc="0" normalizeH="0" noProof="0" dirty="0">
                <a:ln>
                  <a:noFill/>
                </a:ln>
                <a:solidFill>
                  <a:prstClr val="black">
                    <a:lumMod val="50000"/>
                    <a:lumOff val="50000"/>
                  </a:prstClr>
                </a:solidFill>
                <a:effectLst/>
                <a:uLnTx/>
                <a:uFillTx/>
                <a:latin typeface="Century Gothic Pro" panose="020B0502020202020204" pitchFamily="34" charset="0"/>
                <a:ea typeface="+mn-ea"/>
                <a:cs typeface="Arial" pitchFamily="34" charset="0"/>
              </a:rPr>
              <a:t>, чаще всего используются белки, но для длительной эффективности необходимо восстановление внутренней структуры волос</a:t>
            </a:r>
            <a:endParaRPr kumimoji="0" lang="en-GB" sz="1400" b="0" i="0" u="none" strike="noStrike" kern="1200" cap="none" spc="0" normalizeH="0" baseline="0" noProof="0" dirty="0">
              <a:ln>
                <a:noFill/>
              </a:ln>
              <a:solidFill>
                <a:prstClr val="black">
                  <a:lumMod val="50000"/>
                  <a:lumOff val="50000"/>
                </a:prstClr>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2097069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tRNjiu9_EGMn4PL5U37NA"/>
</p:tagLst>
</file>

<file path=ppt/theme/theme1.xml><?xml version="1.0" encoding="utf-8"?>
<a:theme xmlns:a="http://schemas.openxmlformats.org/drawingml/2006/main" name="Office Theme">
  <a:themeElements>
    <a:clrScheme name="Ashland Always Solving">
      <a:dk1>
        <a:sysClr val="windowText" lastClr="000000"/>
      </a:dk1>
      <a:lt1>
        <a:sysClr val="window" lastClr="FFFFFF"/>
      </a:lt1>
      <a:dk2>
        <a:srgbClr val="1F497D"/>
      </a:dk2>
      <a:lt2>
        <a:srgbClr val="EEECE1"/>
      </a:lt2>
      <a:accent1>
        <a:srgbClr val="867F7C"/>
      </a:accent1>
      <a:accent2>
        <a:srgbClr val="BAD739"/>
      </a:accent2>
      <a:accent3>
        <a:srgbClr val="4CCEDE"/>
      </a:accent3>
      <a:accent4>
        <a:srgbClr val="48C1AC"/>
      </a:accent4>
      <a:accent5>
        <a:srgbClr val="867F7C"/>
      </a:accent5>
      <a:accent6>
        <a:srgbClr val="BAD739"/>
      </a:accent6>
      <a:hlink>
        <a:srgbClr val="4CCEDE"/>
      </a:hlink>
      <a:folHlink>
        <a:srgbClr val="48C1AC"/>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1_Office Theme">
  <a:themeElements>
    <a:clrScheme name="Ashland Always Solving">
      <a:dk1>
        <a:sysClr val="windowText" lastClr="000000"/>
      </a:dk1>
      <a:lt1>
        <a:sysClr val="window" lastClr="FFFFFF"/>
      </a:lt1>
      <a:dk2>
        <a:srgbClr val="1F497D"/>
      </a:dk2>
      <a:lt2>
        <a:srgbClr val="EEECE1"/>
      </a:lt2>
      <a:accent1>
        <a:srgbClr val="867F7C"/>
      </a:accent1>
      <a:accent2>
        <a:srgbClr val="BAD739"/>
      </a:accent2>
      <a:accent3>
        <a:srgbClr val="4CCEDE"/>
      </a:accent3>
      <a:accent4>
        <a:srgbClr val="48C1AC"/>
      </a:accent4>
      <a:accent5>
        <a:srgbClr val="867F7C"/>
      </a:accent5>
      <a:accent6>
        <a:srgbClr val="BAD739"/>
      </a:accent6>
      <a:hlink>
        <a:srgbClr val="4CCEDE"/>
      </a:hlink>
      <a:folHlink>
        <a:srgbClr val="48C1AC"/>
      </a:folHlink>
    </a:clrScheme>
    <a:fontScheme name="Custom 14">
      <a:majorFont>
        <a:latin typeface="Century Gothic"/>
        <a:ea typeface=""/>
        <a:cs typeface=""/>
      </a:majorFont>
      <a:minorFont>
        <a:latin typeface="Century Gothic"/>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2_Office Theme">
  <a:themeElements>
    <a:clrScheme name="Ashland Always Solving">
      <a:dk1>
        <a:sysClr val="windowText" lastClr="000000"/>
      </a:dk1>
      <a:lt1>
        <a:sysClr val="window" lastClr="FFFFFF"/>
      </a:lt1>
      <a:dk2>
        <a:srgbClr val="1F497D"/>
      </a:dk2>
      <a:lt2>
        <a:srgbClr val="EEECE1"/>
      </a:lt2>
      <a:accent1>
        <a:srgbClr val="867F7C"/>
      </a:accent1>
      <a:accent2>
        <a:srgbClr val="BAD739"/>
      </a:accent2>
      <a:accent3>
        <a:srgbClr val="4CCEDE"/>
      </a:accent3>
      <a:accent4>
        <a:srgbClr val="48C1AC"/>
      </a:accent4>
      <a:accent5>
        <a:srgbClr val="867F7C"/>
      </a:accent5>
      <a:accent6>
        <a:srgbClr val="BAD739"/>
      </a:accent6>
      <a:hlink>
        <a:srgbClr val="4CCEDE"/>
      </a:hlink>
      <a:folHlink>
        <a:srgbClr val="48C1AC"/>
      </a:folHlink>
    </a:clrScheme>
    <a:fontScheme name="Custom 8">
      <a:majorFont>
        <a:latin typeface="Century Gothic Pro"/>
        <a:ea typeface=""/>
        <a:cs typeface=""/>
      </a:majorFont>
      <a:minorFont>
        <a:latin typeface="Century Gothic Pr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a:tailEnd type="triangle"/>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Office Theme</Template>
  <TotalTime>512</TotalTime>
  <Words>2558</Words>
  <Application>Microsoft Office PowerPoint</Application>
  <PresentationFormat>Произвольный</PresentationFormat>
  <Paragraphs>512</Paragraphs>
  <Slides>34</Slides>
  <Notes>10</Notes>
  <HiddenSlides>0</HiddenSlides>
  <MMClips>0</MMClips>
  <ScaleCrop>false</ScaleCrop>
  <HeadingPairs>
    <vt:vector size="6" baseType="variant">
      <vt:variant>
        <vt:lpstr>Тема</vt:lpstr>
      </vt:variant>
      <vt:variant>
        <vt:i4>3</vt:i4>
      </vt:variant>
      <vt:variant>
        <vt:lpstr>Внедренные серверы OLE</vt:lpstr>
      </vt:variant>
      <vt:variant>
        <vt:i4>2</vt:i4>
      </vt:variant>
      <vt:variant>
        <vt:lpstr>Заголовки слайдов</vt:lpstr>
      </vt:variant>
      <vt:variant>
        <vt:i4>34</vt:i4>
      </vt:variant>
    </vt:vector>
  </HeadingPairs>
  <TitlesOfParts>
    <vt:vector size="39" baseType="lpstr">
      <vt:lpstr>Office Theme</vt:lpstr>
      <vt:lpstr>1_Office Theme</vt:lpstr>
      <vt:lpstr>2_Office Theme</vt:lpstr>
      <vt:lpstr>CS ChemDraw Drawing</vt:lpstr>
      <vt:lpstr>Worksheet</vt:lpstr>
      <vt:lpstr>Новые сырьевые компоненты для средств по уходу за волосами от компании Ashland</vt:lpstr>
      <vt:lpstr>Мега тренды и тенденции рынка ухода за волосами</vt:lpstr>
      <vt:lpstr>Презентация PowerPoint</vt:lpstr>
      <vt:lpstr>BiotHAIRapy™ платформа</vt:lpstr>
      <vt:lpstr>Capauxein ™ На основе “Hair Fullness System™” связанной с плотностью волос</vt:lpstr>
      <vt:lpstr>Chromafend™</vt:lpstr>
      <vt:lpstr>Dynagen™</vt:lpstr>
      <vt:lpstr>Презентация PowerPoint</vt:lpstr>
      <vt:lpstr> </vt:lpstr>
      <vt:lpstr>fiberHance™ bm solution - chemistry</vt:lpstr>
      <vt:lpstr>fiberHance™ bm solution –  механизм действия</vt:lpstr>
      <vt:lpstr>fiberHance™ bm solution – проникновение внутрь волоса</vt:lpstr>
      <vt:lpstr>fiberHance™ bm обеспечивает превосходное укрепление волос в тестовом шампуне(ref Z351-18A) </vt:lpstr>
      <vt:lpstr>fiberHance™ bm solution – предлагает новую“plex” – подобную защиту окращенных волос</vt:lpstr>
      <vt:lpstr>Презентация PowerPoint</vt:lpstr>
      <vt:lpstr> ChromoHance™ 113 полимер </vt:lpstr>
      <vt:lpstr>ChromoHance™ 113 polymer – работа в фокус-группе, информация о потребителях</vt:lpstr>
      <vt:lpstr>chromoHance™ 113 полимер – структура</vt:lpstr>
      <vt:lpstr>ChromoHance™ 113 полимер - эффективность: защита цвета волос от вымывания</vt:lpstr>
      <vt:lpstr>Превосходное кондиционирование в синергизме с полимером Clearhance </vt:lpstr>
      <vt:lpstr>Презентация PowerPoint</vt:lpstr>
      <vt:lpstr>ClearHance™  - С предпосылки создания</vt:lpstr>
      <vt:lpstr>ClearHance ™ c  -  представление продукта</vt:lpstr>
      <vt:lpstr>ClearHance ™ c – ключевые особенности и преимущества</vt:lpstr>
      <vt:lpstr>ClearHance™ C –  химическая структура </vt:lpstr>
      <vt:lpstr>clearHance™ c – превосходная прозрачность</vt:lpstr>
      <vt:lpstr>clearHance™ c – превосходная прозрачность</vt:lpstr>
      <vt:lpstr>clearHance™ c – превосходное кондиционирование</vt:lpstr>
      <vt:lpstr>Презентация PowerPoint</vt:lpstr>
      <vt:lpstr>Style Fusion™  complex 1– химия</vt:lpstr>
      <vt:lpstr>Метод восстановления секущихся кончиков</vt:lpstr>
      <vt:lpstr>Сыворотка для восстановления секущихся кончиков Formula #: 11110-61B</vt:lpstr>
      <vt:lpstr>Disclaimer</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lanie Wiesenthal</dc:creator>
  <cp:lastModifiedBy>User</cp:lastModifiedBy>
  <cp:revision>411</cp:revision>
  <cp:lastPrinted>2017-09-06T07:48:54Z</cp:lastPrinted>
  <dcterms:created xsi:type="dcterms:W3CDTF">2016-06-20T17:13:13Z</dcterms:created>
  <dcterms:modified xsi:type="dcterms:W3CDTF">2017-09-18T18:35:43Z</dcterms:modified>
</cp:coreProperties>
</file>